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notesSlides/notesSlide7.xml" ContentType="application/vnd.openxmlformats-officedocument.presentationml.notesSlide+xml"/>
  <Override PartName="/ppt/tags/tag37.xml" ContentType="application/vnd.openxmlformats-officedocument.presentationml.tags+xml"/>
  <Override PartName="/ppt/notesSlides/notesSlide8.xml" ContentType="application/vnd.openxmlformats-officedocument.presentationml.notesSlide+xml"/>
  <Override PartName="/ppt/tags/tag38.xml" ContentType="application/vnd.openxmlformats-officedocument.presentationml.tags+xml"/>
  <Override PartName="/ppt/notesSlides/notesSlide9.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0.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1.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12.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13.xml" ContentType="application/vnd.openxmlformats-officedocument.presentationml.notesSlide+xml"/>
  <Override PartName="/ppt/tags/tag114.xml" ContentType="application/vnd.openxmlformats-officedocument.presentationml.tags+xml"/>
  <Override PartName="/ppt/notesSlides/notesSlide14.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notesSlides/notesSlide15.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16.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17.xml" ContentType="application/vnd.openxmlformats-officedocument.presentationml.notesSlide+xml"/>
  <Override PartName="/ppt/tags/tag168.xml" ContentType="application/vnd.openxmlformats-officedocument.presentationml.tags+xml"/>
  <Override PartName="/ppt/notesSlides/notesSlide18.xml" ContentType="application/vnd.openxmlformats-officedocument.presentationml.notesSlide+xml"/>
  <Override PartName="/ppt/tags/tag169.xml" ContentType="application/vnd.openxmlformats-officedocument.presentationml.tags+xml"/>
  <Override PartName="/ppt/notesSlides/notesSlide19.xml" ContentType="application/vnd.openxmlformats-officedocument.presentationml.notesSlide+xml"/>
  <Override PartName="/ppt/tags/tag170.xml" ContentType="application/vnd.openxmlformats-officedocument.presentationml.tags+xml"/>
  <Override PartName="/ppt/notesSlides/notesSlide20.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notesSlides/notesSlide21.xml" ContentType="application/vnd.openxmlformats-officedocument.presentationml.notesSlide+xml"/>
  <Override PartName="/ppt/tags/tag173.xml" ContentType="application/vnd.openxmlformats-officedocument.presentationml.tags+xml"/>
  <Override PartName="/ppt/notesSlides/notesSlide22.xml" ContentType="application/vnd.openxmlformats-officedocument.presentationml.notesSlide+xml"/>
  <Override PartName="/ppt/tags/tag174.xml" ContentType="application/vnd.openxmlformats-officedocument.presentationml.tags+xml"/>
  <Override PartName="/ppt/notesSlides/notesSlide23.xml" ContentType="application/vnd.openxmlformats-officedocument.presentationml.notesSlide+xml"/>
  <Override PartName="/ppt/tags/tag175.xml" ContentType="application/vnd.openxmlformats-officedocument.presentationml.tags+xml"/>
  <Override PartName="/ppt/notesSlides/notesSlide24.xml" ContentType="application/vnd.openxmlformats-officedocument.presentationml.notesSlide+xml"/>
  <Override PartName="/ppt/tags/tag176.xml" ContentType="application/vnd.openxmlformats-officedocument.presentationml.tags+xml"/>
  <Override PartName="/ppt/notesSlides/notesSlide25.xml" ContentType="application/vnd.openxmlformats-officedocument.presentationml.notesSlide+xml"/>
  <Override PartName="/ppt/tags/tag177.xml" ContentType="application/vnd.openxmlformats-officedocument.presentationml.tags+xml"/>
  <Override PartName="/ppt/notesSlides/notesSlide26.xml" ContentType="application/vnd.openxmlformats-officedocument.presentationml.notesSlide+xml"/>
  <Override PartName="/ppt/tags/tag178.xml" ContentType="application/vnd.openxmlformats-officedocument.presentationml.tags+xml"/>
  <Override PartName="/ppt/notesSlides/notesSlide27.xml" ContentType="application/vnd.openxmlformats-officedocument.presentationml.notesSlide+xml"/>
  <Override PartName="/ppt/tags/tag179.xml" ContentType="application/vnd.openxmlformats-officedocument.presentationml.tags+xml"/>
  <Override PartName="/ppt/notesSlides/notesSlide28.xml" ContentType="application/vnd.openxmlformats-officedocument.presentationml.notesSlide+xml"/>
  <Override PartName="/ppt/tags/tag180.xml" ContentType="application/vnd.openxmlformats-officedocument.presentationml.tags+xml"/>
  <Override PartName="/ppt/notesSlides/notesSlide29.xml" ContentType="application/vnd.openxmlformats-officedocument.presentationml.notesSlide+xml"/>
  <Override PartName="/ppt/tags/tag181.xml" ContentType="application/vnd.openxmlformats-officedocument.presentationml.tags+xml"/>
  <Override PartName="/ppt/notesSlides/notesSlide30.xml" ContentType="application/vnd.openxmlformats-officedocument.presentationml.notesSlide+xml"/>
  <Override PartName="/ppt/ink/ink1.xml" ContentType="application/inkml+xml"/>
  <Override PartName="/ppt/tags/tag182.xml" ContentType="application/vnd.openxmlformats-officedocument.presentationml.tags+xml"/>
  <Override PartName="/ppt/notesSlides/notesSlide31.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notesSlides/notesSlide32.xml" ContentType="application/vnd.openxmlformats-officedocument.presentationml.notesSlid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notesSlides/notesSlide33.xml" ContentType="application/vnd.openxmlformats-officedocument.presentationml.notesSlide+xml"/>
  <Override PartName="/ppt/tags/tag302.xml" ContentType="application/vnd.openxmlformats-officedocument.presentationml.tags+xml"/>
  <Override PartName="/ppt/notesSlides/notesSlide34.xml" ContentType="application/vnd.openxmlformats-officedocument.presentationml.notesSlide+xml"/>
  <Override PartName="/ppt/tags/tag303.xml" ContentType="application/vnd.openxmlformats-officedocument.presentationml.tags+xml"/>
  <Override PartName="/ppt/notesSlides/notesSlide35.xml" ContentType="application/vnd.openxmlformats-officedocument.presentationml.notesSlide+xml"/>
  <Override PartName="/ppt/tags/tag304.xml" ContentType="application/vnd.openxmlformats-officedocument.presentationml.tags+xml"/>
  <Override PartName="/ppt/notesSlides/notesSlide36.xml" ContentType="application/vnd.openxmlformats-officedocument.presentationml.notesSlide+xml"/>
  <Override PartName="/ppt/tags/tag305.xml" ContentType="application/vnd.openxmlformats-officedocument.presentationml.tags+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6"/>
  </p:sldMasterIdLst>
  <p:notesMasterIdLst>
    <p:notesMasterId r:id="rId58"/>
  </p:notesMasterIdLst>
  <p:handoutMasterIdLst>
    <p:handoutMasterId r:id="rId59"/>
  </p:handoutMasterIdLst>
  <p:sldIdLst>
    <p:sldId id="464" r:id="rId7"/>
    <p:sldId id="550" r:id="rId8"/>
    <p:sldId id="569" r:id="rId9"/>
    <p:sldId id="545" r:id="rId10"/>
    <p:sldId id="546" r:id="rId11"/>
    <p:sldId id="443" r:id="rId12"/>
    <p:sldId id="556" r:id="rId13"/>
    <p:sldId id="557" r:id="rId14"/>
    <p:sldId id="558" r:id="rId15"/>
    <p:sldId id="567" r:id="rId16"/>
    <p:sldId id="559" r:id="rId17"/>
    <p:sldId id="505" r:id="rId18"/>
    <p:sldId id="442" r:id="rId19"/>
    <p:sldId id="441" r:id="rId20"/>
    <p:sldId id="560" r:id="rId21"/>
    <p:sldId id="521" r:id="rId22"/>
    <p:sldId id="527" r:id="rId23"/>
    <p:sldId id="547" r:id="rId24"/>
    <p:sldId id="561" r:id="rId25"/>
    <p:sldId id="537" r:id="rId26"/>
    <p:sldId id="422" r:id="rId27"/>
    <p:sldId id="456" r:id="rId28"/>
    <p:sldId id="548" r:id="rId29"/>
    <p:sldId id="539" r:id="rId30"/>
    <p:sldId id="540" r:id="rId31"/>
    <p:sldId id="541" r:id="rId32"/>
    <p:sldId id="542" r:id="rId33"/>
    <p:sldId id="544" r:id="rId34"/>
    <p:sldId id="448" r:id="rId35"/>
    <p:sldId id="507" r:id="rId36"/>
    <p:sldId id="525" r:id="rId37"/>
    <p:sldId id="496" r:id="rId38"/>
    <p:sldId id="468" r:id="rId39"/>
    <p:sldId id="466" r:id="rId40"/>
    <p:sldId id="469" r:id="rId41"/>
    <p:sldId id="467" r:id="rId42"/>
    <p:sldId id="474" r:id="rId43"/>
    <p:sldId id="470" r:id="rId44"/>
    <p:sldId id="471" r:id="rId45"/>
    <p:sldId id="472" r:id="rId46"/>
    <p:sldId id="473" r:id="rId47"/>
    <p:sldId id="562" r:id="rId48"/>
    <p:sldId id="563" r:id="rId49"/>
    <p:sldId id="564" r:id="rId50"/>
    <p:sldId id="565" r:id="rId51"/>
    <p:sldId id="437" r:id="rId52"/>
    <p:sldId id="428" r:id="rId53"/>
    <p:sldId id="479" r:id="rId54"/>
    <p:sldId id="533" r:id="rId55"/>
    <p:sldId id="543" r:id="rId56"/>
    <p:sldId id="508" r:id="rId57"/>
  </p:sldIdLst>
  <p:sldSz cx="12192000" cy="6858000"/>
  <p:notesSz cx="6858000" cy="9144000"/>
  <p:custDataLst>
    <p:tags r:id="rId6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2BF7E7E0-50D8-47E5-B906-160DB170293B}">
          <p14:sldIdLst>
            <p14:sldId id="464"/>
          </p14:sldIdLst>
        </p14:section>
        <p14:section name="Titelvorschläge" id="{C5327F6C-A63C-4DFB-B2C9-997BFFE2D14E}">
          <p14:sldIdLst>
            <p14:sldId id="550"/>
            <p14:sldId id="569"/>
          </p14:sldIdLst>
        </p14:section>
        <p14:section name="Agenda" id="{56A8C59F-8DC0-4FEF-9D9B-4CFC91061428}">
          <p14:sldIdLst>
            <p14:sldId id="545"/>
          </p14:sldIdLst>
        </p14:section>
        <p14:section name="Die msg-Gruppe im Überblick" id="{A09FA843-FA0D-4AB5-8D15-00793A7704B6}">
          <p14:sldIdLst>
            <p14:sldId id="546"/>
            <p14:sldId id="443"/>
            <p14:sldId id="556"/>
            <p14:sldId id="557"/>
            <p14:sldId id="558"/>
            <p14:sldId id="567"/>
            <p14:sldId id="559"/>
            <p14:sldId id="505"/>
            <p14:sldId id="442"/>
            <p14:sldId id="441"/>
            <p14:sldId id="560"/>
            <p14:sldId id="521"/>
            <p14:sldId id="527"/>
          </p14:sldIdLst>
        </p14:section>
        <p14:section name="Intelligente Lösungen und IT-Beratung" id="{073475E6-0A38-406F-8A7A-ADC964710AB7}">
          <p14:sldIdLst>
            <p14:sldId id="547"/>
            <p14:sldId id="561"/>
            <p14:sldId id="537"/>
            <p14:sldId id="422"/>
            <p14:sldId id="456"/>
          </p14:sldIdLst>
        </p14:section>
        <p14:section name="Überzeugende Erfolgsgeschichten" id="{996B6BFA-DB27-4D30-BE62-97446623D3A2}">
          <p14:sldIdLst>
            <p14:sldId id="548"/>
            <p14:sldId id="539"/>
            <p14:sldId id="540"/>
            <p14:sldId id="541"/>
            <p14:sldId id="542"/>
          </p14:sldIdLst>
        </p14:section>
        <p14:section name="Unsere Stärken, Ihre Vorteile" id="{1291BA6F-418E-4F42-81BB-D1005B3DCC3F}">
          <p14:sldIdLst>
            <p14:sldId id="544"/>
            <p14:sldId id="448"/>
            <p14:sldId id="507"/>
            <p14:sldId id="525"/>
            <p14:sldId id="496"/>
            <p14:sldId id="468"/>
            <p14:sldId id="466"/>
            <p14:sldId id="469"/>
            <p14:sldId id="467"/>
            <p14:sldId id="474"/>
            <p14:sldId id="470"/>
            <p14:sldId id="471"/>
            <p14:sldId id="472"/>
            <p14:sldId id="473"/>
            <p14:sldId id="562"/>
            <p14:sldId id="563"/>
            <p14:sldId id="564"/>
            <p14:sldId id="565"/>
            <p14:sldId id="437"/>
          </p14:sldIdLst>
        </p14:section>
        <p14:section name="Digitalisierung als zentraler Schlüssel" id="{FE007513-39EB-441F-84A7-0FD6F1A27CF5}">
          <p14:sldIdLst>
            <p14:sldId id="428"/>
            <p14:sldId id="479"/>
            <p14:sldId id="533"/>
            <p14:sldId id="543"/>
            <p14:sldId id="50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M" userId="Author" providerId="AD"/>
  <p188:author id="{60043841-D481-A223-B7C4-B695489110FB}" name="Verena Hafner-Fredl" initials="VH" userId="S::Verena.Hafner-Fredl@msg.group::5ae82517-2bdf-464d-b356-6c43f0eae43a" providerId="AD"/>
  <p188:author id="{F8C6A97B-DBED-1785-5079-71F71B3EDDE5}" name="Juliane von Geisau ext" initials="Jv" userId="S::Juliane.von.Geisau.ext@msg.group::731373ef-e2e1-41c7-b14a-6762557476b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AC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55CE00-8F45-594C-94D0-A4D4E5B60916}" v="1" dt="2026-05-11T08:36:51.937"/>
  </p1510:revLst>
</p1510:revInfo>
</file>

<file path=ppt/tableStyles.xml><?xml version="1.0" encoding="utf-8"?>
<a:tblStyleLst xmlns:a="http://schemas.openxmlformats.org/drawingml/2006/main" def="{C083E6E3-FA7D-4D7B-A595-EF9225AFEA82}">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68"/>
    <p:restoredTop sz="94684"/>
  </p:normalViewPr>
  <p:slideViewPr>
    <p:cSldViewPr snapToGrid="0">
      <p:cViewPr varScale="1">
        <p:scale>
          <a:sx n="150" d="100"/>
          <a:sy n="150" d="100"/>
        </p:scale>
        <p:origin x="464" y="18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notesMaster" Target="notesMasters/notesMaster1.xml"/><Relationship Id="rId66" Type="http://schemas.microsoft.com/office/2015/10/relationships/revisionInfo" Target="revisionInfo.xml"/><Relationship Id="rId5" Type="http://schemas.openxmlformats.org/officeDocument/2006/relationships/customXml" Target="../customXml/item5.xml"/><Relationship Id="rId61" Type="http://schemas.openxmlformats.org/officeDocument/2006/relationships/presProps" Target="presProp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handoutMaster" Target="handoutMasters/handoutMaster1.xml"/><Relationship Id="rId67" Type="http://schemas.microsoft.com/office/2018/10/relationships/authors" Target="author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tags" Target="tags/tag1.xml"/><Relationship Id="rId65"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ra Capuani" userId="b1870b65-3320-47ed-8c53-98652c4c774d" providerId="ADAL" clId="{42322D5F-D309-54CD-B0A1-EF486338B49C}"/>
    <pc:docChg chg="undo custSel delSld modSld modSection">
      <pc:chgData name="Sandra Capuani" userId="b1870b65-3320-47ed-8c53-98652c4c774d" providerId="ADAL" clId="{42322D5F-D309-54CD-B0A1-EF486338B49C}" dt="2026-05-11T08:37:08.561" v="140" actId="478"/>
      <pc:docMkLst>
        <pc:docMk/>
      </pc:docMkLst>
      <pc:sldChg chg="delSp mod">
        <pc:chgData name="Sandra Capuani" userId="b1870b65-3320-47ed-8c53-98652c4c774d" providerId="ADAL" clId="{42322D5F-D309-54CD-B0A1-EF486338B49C}" dt="2026-05-07T10:00:55.817" v="131" actId="478"/>
        <pc:sldMkLst>
          <pc:docMk/>
          <pc:sldMk cId="4243726915" sldId="428"/>
        </pc:sldMkLst>
      </pc:sldChg>
      <pc:sldChg chg="delSp mod">
        <pc:chgData name="Sandra Capuani" userId="b1870b65-3320-47ed-8c53-98652c4c774d" providerId="ADAL" clId="{42322D5F-D309-54CD-B0A1-EF486338B49C}" dt="2026-05-04T08:20:55.237" v="120" actId="478"/>
        <pc:sldMkLst>
          <pc:docMk/>
          <pc:sldMk cId="2676447031" sldId="441"/>
        </pc:sldMkLst>
      </pc:sldChg>
      <pc:sldChg chg="addSp delSp modSp mod">
        <pc:chgData name="Sandra Capuani" userId="b1870b65-3320-47ed-8c53-98652c4c774d" providerId="ADAL" clId="{42322D5F-D309-54CD-B0A1-EF486338B49C}" dt="2026-05-04T07:32:01.418" v="106" actId="478"/>
        <pc:sldMkLst>
          <pc:docMk/>
          <pc:sldMk cId="1491919960" sldId="442"/>
        </pc:sldMkLst>
        <pc:spChg chg="mod">
          <ac:chgData name="Sandra Capuani" userId="b1870b65-3320-47ed-8c53-98652c4c774d" providerId="ADAL" clId="{42322D5F-D309-54CD-B0A1-EF486338B49C}" dt="2026-04-29T10:20:25.656" v="50" actId="1038"/>
          <ac:spMkLst>
            <pc:docMk/>
            <pc:sldMk cId="1491919960" sldId="442"/>
            <ac:spMk id="12" creationId="{2A30509C-D0EF-E528-00BA-31E034F6C24D}"/>
          </ac:spMkLst>
        </pc:spChg>
        <pc:picChg chg="add del mod modCrop">
          <ac:chgData name="Sandra Capuani" userId="b1870b65-3320-47ed-8c53-98652c4c774d" providerId="ADAL" clId="{42322D5F-D309-54CD-B0A1-EF486338B49C}" dt="2026-04-29T10:20:01.577" v="45" actId="18131"/>
          <ac:picMkLst>
            <pc:docMk/>
            <pc:sldMk cId="1491919960" sldId="442"/>
            <ac:picMk id="14" creationId="{9A074EED-3D9B-B725-D5F9-37FA26BCC4AE}"/>
          </ac:picMkLst>
        </pc:picChg>
        <pc:picChg chg="add mod modCrop">
          <ac:chgData name="Sandra Capuani" userId="b1870b65-3320-47ed-8c53-98652c4c774d" providerId="ADAL" clId="{42322D5F-D309-54CD-B0A1-EF486338B49C}" dt="2026-04-29T10:21:23.245" v="58" actId="18131"/>
          <ac:picMkLst>
            <pc:docMk/>
            <pc:sldMk cId="1491919960" sldId="442"/>
            <ac:picMk id="15" creationId="{387FA00D-5B8B-458C-5034-AE59AF9493D2}"/>
          </ac:picMkLst>
        </pc:picChg>
      </pc:sldChg>
      <pc:sldChg chg="delSp mod">
        <pc:chgData name="Sandra Capuani" userId="b1870b65-3320-47ed-8c53-98652c4c774d" providerId="ADAL" clId="{42322D5F-D309-54CD-B0A1-EF486338B49C}" dt="2026-05-04T08:22:48.580" v="122" actId="478"/>
        <pc:sldMkLst>
          <pc:docMk/>
          <pc:sldMk cId="3135532902" sldId="448"/>
        </pc:sldMkLst>
      </pc:sldChg>
      <pc:sldChg chg="delSp modSp mod">
        <pc:chgData name="Sandra Capuani" userId="b1870b65-3320-47ed-8c53-98652c4c774d" providerId="ADAL" clId="{42322D5F-D309-54CD-B0A1-EF486338B49C}" dt="2026-04-23T09:26:43.281" v="17" actId="1038"/>
        <pc:sldMkLst>
          <pc:docMk/>
          <pc:sldMk cId="90702229" sldId="456"/>
        </pc:sldMkLst>
        <pc:spChg chg="mod">
          <ac:chgData name="Sandra Capuani" userId="b1870b65-3320-47ed-8c53-98652c4c774d" providerId="ADAL" clId="{42322D5F-D309-54CD-B0A1-EF486338B49C}" dt="2026-04-23T09:26:38.513" v="14" actId="1076"/>
          <ac:spMkLst>
            <pc:docMk/>
            <pc:sldMk cId="90702229" sldId="456"/>
            <ac:spMk id="12" creationId="{B88BF972-D871-B280-9833-17095F29F126}"/>
          </ac:spMkLst>
        </pc:spChg>
        <pc:spChg chg="mod">
          <ac:chgData name="Sandra Capuani" userId="b1870b65-3320-47ed-8c53-98652c4c774d" providerId="ADAL" clId="{42322D5F-D309-54CD-B0A1-EF486338B49C}" dt="2026-04-23T09:26:43.281" v="17" actId="1038"/>
          <ac:spMkLst>
            <pc:docMk/>
            <pc:sldMk cId="90702229" sldId="456"/>
            <ac:spMk id="27" creationId="{9E6CF0E5-D448-8142-E4CF-6F28E1BB789F}"/>
          </ac:spMkLst>
        </pc:spChg>
      </pc:sldChg>
      <pc:sldChg chg="delSp mod">
        <pc:chgData name="Sandra Capuani" userId="b1870b65-3320-47ed-8c53-98652c4c774d" providerId="ADAL" clId="{42322D5F-D309-54CD-B0A1-EF486338B49C}" dt="2026-04-23T09:28:50.142" v="18" actId="478"/>
        <pc:sldMkLst>
          <pc:docMk/>
          <pc:sldMk cId="657368931" sldId="479"/>
        </pc:sldMkLst>
      </pc:sldChg>
      <pc:sldChg chg="addSp delSp modSp mod">
        <pc:chgData name="Sandra Capuani" userId="b1870b65-3320-47ed-8c53-98652c4c774d" providerId="ADAL" clId="{42322D5F-D309-54CD-B0A1-EF486338B49C}" dt="2026-05-11T08:35:49.261" v="137" actId="1038"/>
        <pc:sldMkLst>
          <pc:docMk/>
          <pc:sldMk cId="3774848953" sldId="505"/>
        </pc:sldMkLst>
        <pc:spChg chg="add del mod">
          <ac:chgData name="Sandra Capuani" userId="b1870b65-3320-47ed-8c53-98652c4c774d" providerId="ADAL" clId="{42322D5F-D309-54CD-B0A1-EF486338B49C}" dt="2026-05-11T08:35:49.261" v="137" actId="1038"/>
          <ac:spMkLst>
            <pc:docMk/>
            <pc:sldMk cId="3774848953" sldId="505"/>
            <ac:spMk id="7" creationId="{522BCBBC-499C-8773-80D3-9BDBCD9F7B16}"/>
          </ac:spMkLst>
        </pc:spChg>
        <pc:spChg chg="mod">
          <ac:chgData name="Sandra Capuani" userId="b1870b65-3320-47ed-8c53-98652c4c774d" providerId="ADAL" clId="{42322D5F-D309-54CD-B0A1-EF486338B49C}" dt="2026-04-30T08:35:54.911" v="79" actId="20577"/>
          <ac:spMkLst>
            <pc:docMk/>
            <pc:sldMk cId="3774848953" sldId="505"/>
            <ac:spMk id="10" creationId="{5F180707-C9FF-D609-998E-70F5954B711C}"/>
          </ac:spMkLst>
        </pc:spChg>
        <pc:spChg chg="mod">
          <ac:chgData name="Sandra Capuani" userId="b1870b65-3320-47ed-8c53-98652c4c774d" providerId="ADAL" clId="{42322D5F-D309-54CD-B0A1-EF486338B49C}" dt="2026-04-30T08:35:40.431" v="73" actId="20577"/>
          <ac:spMkLst>
            <pc:docMk/>
            <pc:sldMk cId="3774848953" sldId="505"/>
            <ac:spMk id="11" creationId="{64414A2F-B87D-76A1-1BE3-83D38DC40E88}"/>
          </ac:spMkLst>
        </pc:spChg>
        <pc:spChg chg="mod">
          <ac:chgData name="Sandra Capuani" userId="b1870b65-3320-47ed-8c53-98652c4c774d" providerId="ADAL" clId="{42322D5F-D309-54CD-B0A1-EF486338B49C}" dt="2026-04-30T08:36:26.128" v="84" actId="20577"/>
          <ac:spMkLst>
            <pc:docMk/>
            <pc:sldMk cId="3774848953" sldId="505"/>
            <ac:spMk id="12" creationId="{06BB4E62-6D87-8455-3CBE-4CA062C12865}"/>
          </ac:spMkLst>
        </pc:spChg>
        <pc:spChg chg="mod">
          <ac:chgData name="Sandra Capuani" userId="b1870b65-3320-47ed-8c53-98652c4c774d" providerId="ADAL" clId="{42322D5F-D309-54CD-B0A1-EF486338B49C}" dt="2026-04-30T08:35:47.293" v="76" actId="20577"/>
          <ac:spMkLst>
            <pc:docMk/>
            <pc:sldMk cId="3774848953" sldId="505"/>
            <ac:spMk id="13" creationId="{9AA02DD3-16A5-89EE-523A-A28E6530DC09}"/>
          </ac:spMkLst>
        </pc:spChg>
        <pc:spChg chg="mod">
          <ac:chgData name="Sandra Capuani" userId="b1870b65-3320-47ed-8c53-98652c4c774d" providerId="ADAL" clId="{42322D5F-D309-54CD-B0A1-EF486338B49C}" dt="2026-04-30T08:35:35.839" v="71" actId="20577"/>
          <ac:spMkLst>
            <pc:docMk/>
            <pc:sldMk cId="3774848953" sldId="505"/>
            <ac:spMk id="14" creationId="{5081B4E9-F210-E2E8-BD1F-1C859865D43C}"/>
          </ac:spMkLst>
        </pc:spChg>
        <pc:spChg chg="add del mod">
          <ac:chgData name="Sandra Capuani" userId="b1870b65-3320-47ed-8c53-98652c4c774d" providerId="ADAL" clId="{42322D5F-D309-54CD-B0A1-EF486338B49C}" dt="2026-05-11T08:35:49.261" v="137" actId="1038"/>
          <ac:spMkLst>
            <pc:docMk/>
            <pc:sldMk cId="3774848953" sldId="505"/>
            <ac:spMk id="15" creationId="{576D34EB-4357-004C-AA2C-B12EC9969266}"/>
          </ac:spMkLst>
        </pc:spChg>
        <pc:spChg chg="add del mod">
          <ac:chgData name="Sandra Capuani" userId="b1870b65-3320-47ed-8c53-98652c4c774d" providerId="ADAL" clId="{42322D5F-D309-54CD-B0A1-EF486338B49C}" dt="2026-05-11T08:35:49.261" v="137" actId="1038"/>
          <ac:spMkLst>
            <pc:docMk/>
            <pc:sldMk cId="3774848953" sldId="505"/>
            <ac:spMk id="16" creationId="{DEC6A7D1-DAFB-53F6-E4A0-B32E5E4CC710}"/>
          </ac:spMkLst>
        </pc:spChg>
        <pc:spChg chg="add del mod">
          <ac:chgData name="Sandra Capuani" userId="b1870b65-3320-47ed-8c53-98652c4c774d" providerId="ADAL" clId="{42322D5F-D309-54CD-B0A1-EF486338B49C}" dt="2026-05-11T08:35:49.261" v="137" actId="1038"/>
          <ac:spMkLst>
            <pc:docMk/>
            <pc:sldMk cId="3774848953" sldId="505"/>
            <ac:spMk id="17" creationId="{861BA8C6-EDC3-B5E6-61C1-C0496C6273D1}"/>
          </ac:spMkLst>
        </pc:spChg>
        <pc:spChg chg="add del mod">
          <ac:chgData name="Sandra Capuani" userId="b1870b65-3320-47ed-8c53-98652c4c774d" providerId="ADAL" clId="{42322D5F-D309-54CD-B0A1-EF486338B49C}" dt="2026-05-11T08:35:49.261" v="137" actId="1038"/>
          <ac:spMkLst>
            <pc:docMk/>
            <pc:sldMk cId="3774848953" sldId="505"/>
            <ac:spMk id="18" creationId="{1A6F354D-2009-540D-A48C-4423B088C1F7}"/>
          </ac:spMkLst>
        </pc:spChg>
        <pc:spChg chg="add del mod">
          <ac:chgData name="Sandra Capuani" userId="b1870b65-3320-47ed-8c53-98652c4c774d" providerId="ADAL" clId="{42322D5F-D309-54CD-B0A1-EF486338B49C}" dt="2026-05-11T08:35:49.261" v="137" actId="1038"/>
          <ac:spMkLst>
            <pc:docMk/>
            <pc:sldMk cId="3774848953" sldId="505"/>
            <ac:spMk id="19" creationId="{ECD70D2D-EADF-C37B-D456-B6710DA53B63}"/>
          </ac:spMkLst>
        </pc:spChg>
        <pc:spChg chg="add del mod">
          <ac:chgData name="Sandra Capuani" userId="b1870b65-3320-47ed-8c53-98652c4c774d" providerId="ADAL" clId="{42322D5F-D309-54CD-B0A1-EF486338B49C}" dt="2026-05-11T08:35:49.261" v="137" actId="1038"/>
          <ac:spMkLst>
            <pc:docMk/>
            <pc:sldMk cId="3774848953" sldId="505"/>
            <ac:spMk id="20" creationId="{4FB3D3B9-15CD-59C0-BA24-06E0FD78C290}"/>
          </ac:spMkLst>
        </pc:spChg>
        <pc:spChg chg="add del mod">
          <ac:chgData name="Sandra Capuani" userId="b1870b65-3320-47ed-8c53-98652c4c774d" providerId="ADAL" clId="{42322D5F-D309-54CD-B0A1-EF486338B49C}" dt="2026-05-11T08:35:49.261" v="137" actId="1038"/>
          <ac:spMkLst>
            <pc:docMk/>
            <pc:sldMk cId="3774848953" sldId="505"/>
            <ac:spMk id="21" creationId="{E7A4A080-EA37-1986-60B3-F3B1F80E6671}"/>
          </ac:spMkLst>
        </pc:spChg>
        <pc:spChg chg="add del mod">
          <ac:chgData name="Sandra Capuani" userId="b1870b65-3320-47ed-8c53-98652c4c774d" providerId="ADAL" clId="{42322D5F-D309-54CD-B0A1-EF486338B49C}" dt="2026-05-11T08:35:49.261" v="137" actId="1038"/>
          <ac:spMkLst>
            <pc:docMk/>
            <pc:sldMk cId="3774848953" sldId="505"/>
            <ac:spMk id="22" creationId="{64184620-7B42-00F1-4B6F-9596B96B2F7C}"/>
          </ac:spMkLst>
        </pc:spChg>
        <pc:spChg chg="add del mod">
          <ac:chgData name="Sandra Capuani" userId="b1870b65-3320-47ed-8c53-98652c4c774d" providerId="ADAL" clId="{42322D5F-D309-54CD-B0A1-EF486338B49C}" dt="2026-05-11T08:35:49.261" v="137" actId="1038"/>
          <ac:spMkLst>
            <pc:docMk/>
            <pc:sldMk cId="3774848953" sldId="505"/>
            <ac:spMk id="27" creationId="{2B827170-76AD-7BC7-D7BA-E9A321958CAF}"/>
          </ac:spMkLst>
        </pc:spChg>
        <pc:picChg chg="mod">
          <ac:chgData name="Sandra Capuani" userId="b1870b65-3320-47ed-8c53-98652c4c774d" providerId="ADAL" clId="{42322D5F-D309-54CD-B0A1-EF486338B49C}" dt="2026-05-11T08:35:39.971" v="136" actId="1076"/>
          <ac:picMkLst>
            <pc:docMk/>
            <pc:sldMk cId="3774848953" sldId="505"/>
            <ac:picMk id="6" creationId="{B6EA6B50-886F-7D60-24BA-EA5203AED692}"/>
          </ac:picMkLst>
        </pc:picChg>
      </pc:sldChg>
      <pc:sldChg chg="addSp delSp modSp mod">
        <pc:chgData name="Sandra Capuani" userId="b1870b65-3320-47ed-8c53-98652c4c774d" providerId="ADAL" clId="{42322D5F-D309-54CD-B0A1-EF486338B49C}" dt="2026-05-11T08:37:08.561" v="140" actId="478"/>
        <pc:sldMkLst>
          <pc:docMk/>
          <pc:sldMk cId="3136582550" sldId="525"/>
        </pc:sldMkLst>
        <pc:picChg chg="del">
          <ac:chgData name="Sandra Capuani" userId="b1870b65-3320-47ed-8c53-98652c4c774d" providerId="ADAL" clId="{42322D5F-D309-54CD-B0A1-EF486338B49C}" dt="2026-05-11T08:36:51.056" v="138" actId="478"/>
          <ac:picMkLst>
            <pc:docMk/>
            <pc:sldMk cId="3136582550" sldId="525"/>
            <ac:picMk id="3" creationId="{4B6D6C16-3F12-A5F6-AD56-3B3767E5A66A}"/>
          </ac:picMkLst>
        </pc:picChg>
        <pc:picChg chg="del">
          <ac:chgData name="Sandra Capuani" userId="b1870b65-3320-47ed-8c53-98652c4c774d" providerId="ADAL" clId="{42322D5F-D309-54CD-B0A1-EF486338B49C}" dt="2026-05-11T08:36:51.056" v="138" actId="478"/>
          <ac:picMkLst>
            <pc:docMk/>
            <pc:sldMk cId="3136582550" sldId="525"/>
            <ac:picMk id="4" creationId="{FBA5E231-5002-E18F-1755-60F5AF372871}"/>
          </ac:picMkLst>
        </pc:picChg>
        <pc:picChg chg="del">
          <ac:chgData name="Sandra Capuani" userId="b1870b65-3320-47ed-8c53-98652c4c774d" providerId="ADAL" clId="{42322D5F-D309-54CD-B0A1-EF486338B49C}" dt="2026-05-11T08:36:51.056" v="138" actId="478"/>
          <ac:picMkLst>
            <pc:docMk/>
            <pc:sldMk cId="3136582550" sldId="525"/>
            <ac:picMk id="5" creationId="{C3C53903-CABB-7D8D-C8FD-93DB66CA40DE}"/>
          </ac:picMkLst>
        </pc:picChg>
        <pc:picChg chg="del">
          <ac:chgData name="Sandra Capuani" userId="b1870b65-3320-47ed-8c53-98652c4c774d" providerId="ADAL" clId="{42322D5F-D309-54CD-B0A1-EF486338B49C}" dt="2026-05-11T08:36:51.056" v="138" actId="478"/>
          <ac:picMkLst>
            <pc:docMk/>
            <pc:sldMk cId="3136582550" sldId="525"/>
            <ac:picMk id="7" creationId="{D5F649E9-0519-4CB4-38C2-DD2BE04B11D6}"/>
          </ac:picMkLst>
        </pc:picChg>
        <pc:picChg chg="add mod">
          <ac:chgData name="Sandra Capuani" userId="b1870b65-3320-47ed-8c53-98652c4c774d" providerId="ADAL" clId="{42322D5F-D309-54CD-B0A1-EF486338B49C}" dt="2026-05-11T08:36:51.937" v="139"/>
          <ac:picMkLst>
            <pc:docMk/>
            <pc:sldMk cId="3136582550" sldId="525"/>
            <ac:picMk id="11" creationId="{CD9B6563-44C8-E66C-82DD-F7431D95E45A}"/>
          </ac:picMkLst>
        </pc:picChg>
        <pc:picChg chg="add mod">
          <ac:chgData name="Sandra Capuani" userId="b1870b65-3320-47ed-8c53-98652c4c774d" providerId="ADAL" clId="{42322D5F-D309-54CD-B0A1-EF486338B49C}" dt="2026-05-11T08:36:51.937" v="139"/>
          <ac:picMkLst>
            <pc:docMk/>
            <pc:sldMk cId="3136582550" sldId="525"/>
            <ac:picMk id="16" creationId="{426D20B8-677D-DD6E-CC42-61978AA6B9F3}"/>
          </ac:picMkLst>
        </pc:picChg>
        <pc:picChg chg="add mod">
          <ac:chgData name="Sandra Capuani" userId="b1870b65-3320-47ed-8c53-98652c4c774d" providerId="ADAL" clId="{42322D5F-D309-54CD-B0A1-EF486338B49C}" dt="2026-05-11T08:36:51.937" v="139"/>
          <ac:picMkLst>
            <pc:docMk/>
            <pc:sldMk cId="3136582550" sldId="525"/>
            <ac:picMk id="18" creationId="{58F146F1-30E0-4887-02C3-DBDBCDE0F25D}"/>
          </ac:picMkLst>
        </pc:picChg>
        <pc:picChg chg="add mod">
          <ac:chgData name="Sandra Capuani" userId="b1870b65-3320-47ed-8c53-98652c4c774d" providerId="ADAL" clId="{42322D5F-D309-54CD-B0A1-EF486338B49C}" dt="2026-05-11T08:36:51.937" v="139"/>
          <ac:picMkLst>
            <pc:docMk/>
            <pc:sldMk cId="3136582550" sldId="525"/>
            <ac:picMk id="19" creationId="{AA4FA1E1-58FE-072C-E092-E7AE992C00BC}"/>
          </ac:picMkLst>
        </pc:picChg>
        <pc:picChg chg="del">
          <ac:chgData name="Sandra Capuani" userId="b1870b65-3320-47ed-8c53-98652c4c774d" providerId="ADAL" clId="{42322D5F-D309-54CD-B0A1-EF486338B49C}" dt="2026-05-11T08:36:51.056" v="138" actId="478"/>
          <ac:picMkLst>
            <pc:docMk/>
            <pc:sldMk cId="3136582550" sldId="525"/>
            <ac:picMk id="31" creationId="{DDD734EA-441C-8640-80E5-D72E6E10025C}"/>
          </ac:picMkLst>
        </pc:picChg>
        <pc:inkChg chg="del">
          <ac:chgData name="Sandra Capuani" userId="b1870b65-3320-47ed-8c53-98652c4c774d" providerId="ADAL" clId="{42322D5F-D309-54CD-B0A1-EF486338B49C}" dt="2026-05-11T08:37:08.561" v="140" actId="478"/>
          <ac:inkMkLst>
            <pc:docMk/>
            <pc:sldMk cId="3136582550" sldId="525"/>
            <ac:inkMk id="2" creationId="{FCFF515F-C5FE-C180-FA5F-D2C902CD1F29}"/>
          </ac:inkMkLst>
        </pc:inkChg>
        <pc:inkChg chg="del">
          <ac:chgData name="Sandra Capuani" userId="b1870b65-3320-47ed-8c53-98652c4c774d" providerId="ADAL" clId="{42322D5F-D309-54CD-B0A1-EF486338B49C}" dt="2026-05-11T08:36:51.056" v="138" actId="478"/>
          <ac:inkMkLst>
            <pc:docMk/>
            <pc:sldMk cId="3136582550" sldId="525"/>
            <ac:inkMk id="12" creationId="{803FD241-150C-FD12-26D8-1A706D401C63}"/>
          </ac:inkMkLst>
        </pc:inkChg>
        <pc:inkChg chg="del">
          <ac:chgData name="Sandra Capuani" userId="b1870b65-3320-47ed-8c53-98652c4c774d" providerId="ADAL" clId="{42322D5F-D309-54CD-B0A1-EF486338B49C}" dt="2026-05-11T08:36:51.056" v="138" actId="478"/>
          <ac:inkMkLst>
            <pc:docMk/>
            <pc:sldMk cId="3136582550" sldId="525"/>
            <ac:inkMk id="14" creationId="{ADFAAC1B-976E-8312-A3BE-06886B9BB736}"/>
          </ac:inkMkLst>
        </pc:inkChg>
      </pc:sldChg>
      <pc:sldChg chg="delSp mod">
        <pc:chgData name="Sandra Capuani" userId="b1870b65-3320-47ed-8c53-98652c4c774d" providerId="ADAL" clId="{42322D5F-D309-54CD-B0A1-EF486338B49C}" dt="2026-04-23T09:29:14.644" v="19" actId="478"/>
        <pc:sldMkLst>
          <pc:docMk/>
          <pc:sldMk cId="3204791553" sldId="533"/>
        </pc:sldMkLst>
      </pc:sldChg>
      <pc:sldChg chg="delSp mod">
        <pc:chgData name="Sandra Capuani" userId="b1870b65-3320-47ed-8c53-98652c4c774d" providerId="ADAL" clId="{42322D5F-D309-54CD-B0A1-EF486338B49C}" dt="2026-04-23T09:25:37.489" v="9" actId="478"/>
        <pc:sldMkLst>
          <pc:docMk/>
          <pc:sldMk cId="1258036422" sldId="537"/>
        </pc:sldMkLst>
      </pc:sldChg>
      <pc:sldChg chg="delSp mod">
        <pc:chgData name="Sandra Capuani" userId="b1870b65-3320-47ed-8c53-98652c4c774d" providerId="ADAL" clId="{42322D5F-D309-54CD-B0A1-EF486338B49C}" dt="2026-04-23T09:29:22.746" v="20" actId="478"/>
        <pc:sldMkLst>
          <pc:docMk/>
          <pc:sldMk cId="1061136683" sldId="543"/>
        </pc:sldMkLst>
      </pc:sldChg>
      <pc:sldChg chg="delSp mod">
        <pc:chgData name="Sandra Capuani" userId="b1870b65-3320-47ed-8c53-98652c4c774d" providerId="ADAL" clId="{42322D5F-D309-54CD-B0A1-EF486338B49C}" dt="2026-04-30T08:41:09.457" v="99" actId="478"/>
        <pc:sldMkLst>
          <pc:docMk/>
          <pc:sldMk cId="2957726486" sldId="547"/>
        </pc:sldMkLst>
      </pc:sldChg>
      <pc:sldChg chg="delSp mod">
        <pc:chgData name="Sandra Capuani" userId="b1870b65-3320-47ed-8c53-98652c4c774d" providerId="ADAL" clId="{42322D5F-D309-54CD-B0A1-EF486338B49C}" dt="2026-05-04T07:10:12.975" v="100" actId="478"/>
        <pc:sldMkLst>
          <pc:docMk/>
          <pc:sldMk cId="1921135881" sldId="550"/>
        </pc:sldMkLst>
      </pc:sldChg>
      <pc:sldChg chg="addSp delSp modSp mod">
        <pc:chgData name="Sandra Capuani" userId="b1870b65-3320-47ed-8c53-98652c4c774d" providerId="ADAL" clId="{42322D5F-D309-54CD-B0A1-EF486338B49C}" dt="2026-05-07T09:58:31.965" v="130" actId="1038"/>
        <pc:sldMkLst>
          <pc:docMk/>
          <pc:sldMk cId="3699790726" sldId="560"/>
        </pc:sldMkLst>
        <pc:spChg chg="mod">
          <ac:chgData name="Sandra Capuani" userId="b1870b65-3320-47ed-8c53-98652c4c774d" providerId="ADAL" clId="{42322D5F-D309-54CD-B0A1-EF486338B49C}" dt="2026-04-30T08:39:05.960" v="91" actId="20577"/>
          <ac:spMkLst>
            <pc:docMk/>
            <pc:sldMk cId="3699790726" sldId="560"/>
            <ac:spMk id="11" creationId="{CBBE2DDB-B8D5-F29A-A7C0-E3E92E1A7C75}"/>
          </ac:spMkLst>
        </pc:spChg>
        <pc:spChg chg="mod">
          <ac:chgData name="Sandra Capuani" userId="b1870b65-3320-47ed-8c53-98652c4c774d" providerId="ADAL" clId="{42322D5F-D309-54CD-B0A1-EF486338B49C}" dt="2026-04-30T08:40:18.287" v="94" actId="20577"/>
          <ac:spMkLst>
            <pc:docMk/>
            <pc:sldMk cId="3699790726" sldId="560"/>
            <ac:spMk id="19" creationId="{E807EEB8-3317-3A0A-A9FD-FB827097C3F7}"/>
          </ac:spMkLst>
        </pc:spChg>
        <pc:spChg chg="mod">
          <ac:chgData name="Sandra Capuani" userId="b1870b65-3320-47ed-8c53-98652c4c774d" providerId="ADAL" clId="{42322D5F-D309-54CD-B0A1-EF486338B49C}" dt="2026-05-07T09:58:31.965" v="130" actId="1038"/>
          <ac:spMkLst>
            <pc:docMk/>
            <pc:sldMk cId="3699790726" sldId="560"/>
            <ac:spMk id="44" creationId="{283361AB-D44E-A264-DD45-702C975683DB}"/>
          </ac:spMkLst>
        </pc:spChg>
      </pc:sldChg>
      <pc:sldChg chg="delSp mod">
        <pc:chgData name="Sandra Capuani" userId="b1870b65-3320-47ed-8c53-98652c4c774d" providerId="ADAL" clId="{42322D5F-D309-54CD-B0A1-EF486338B49C}" dt="2026-05-04T07:10:52.372" v="102" actId="478"/>
        <pc:sldMkLst>
          <pc:docMk/>
          <pc:sldMk cId="1306548040" sldId="567"/>
        </pc:sldMkLst>
      </pc:sldChg>
      <pc:sldChg chg="delSp mod">
        <pc:chgData name="Sandra Capuani" userId="b1870b65-3320-47ed-8c53-98652c4c774d" providerId="ADAL" clId="{42322D5F-D309-54CD-B0A1-EF486338B49C}" dt="2026-05-04T07:10:15.258" v="101" actId="478"/>
        <pc:sldMkLst>
          <pc:docMk/>
          <pc:sldMk cId="1120423995" sldId="569"/>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637845B6-5494-F3EF-4D66-0AC1AF0CFAA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9CC1B4F6-C76F-7449-1876-8CD94AE23BE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A09EE3-F977-4122-8AA3-DCDF98E78F4D}" type="datetimeFigureOut">
              <a:rPr lang="de-DE" smtClean="0"/>
              <a:t>11.05.26</a:t>
            </a:fld>
            <a:endParaRPr lang="de-DE"/>
          </a:p>
        </p:txBody>
      </p:sp>
      <p:sp>
        <p:nvSpPr>
          <p:cNvPr id="4" name="Fußzeilenplatzhalter 3">
            <a:extLst>
              <a:ext uri="{FF2B5EF4-FFF2-40B4-BE49-F238E27FC236}">
                <a16:creationId xmlns:a16="http://schemas.microsoft.com/office/drawing/2014/main" id="{F827864E-AAAE-718C-DCAA-5C7761AFC4A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96AC58EF-566D-8985-8CE4-F10BD6DAA96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70D4E36-68C3-4365-A3C8-F4C864383CED}" type="slidenum">
              <a:rPr lang="de-DE" smtClean="0"/>
              <a:t>‹Nr.›</a:t>
            </a:fld>
            <a:endParaRPr lang="de-DE"/>
          </a:p>
        </p:txBody>
      </p:sp>
    </p:spTree>
    <p:extLst>
      <p:ext uri="{BB962C8B-B14F-4D97-AF65-F5344CB8AC3E}">
        <p14:creationId xmlns:p14="http://schemas.microsoft.com/office/powerpoint/2010/main" val="98838220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1-22T11:38:53.879"/>
    </inkml:context>
    <inkml:brush xml:id="br0">
      <inkml:brushProperty name="width" value="0.1" units="cm"/>
      <inkml:brushProperty name="height" value="0.1" units="cm"/>
    </inkml:brush>
  </inkml:definitions>
  <inkml:trace contextRef="#ctx0" brushRef="#br0">27040 46329 16383 0 0,'0'0'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B9F31C6B-0FCE-46A8-812E-506E3A739D57}" type="datetimeFigureOut">
              <a:rPr lang="de-DE" smtClean="0"/>
              <a:pPr/>
              <a:t>11.05.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6AC91A1E-1F3C-4C24-BF60-687AD334015B}" type="slidenum">
              <a:rPr lang="de-DE" smtClean="0"/>
              <a:pPr/>
              <a:t>‹Nr.›</a:t>
            </a:fld>
            <a:endParaRPr lang="de-DE"/>
          </a:p>
        </p:txBody>
      </p:sp>
    </p:spTree>
    <p:extLst>
      <p:ext uri="{BB962C8B-B14F-4D97-AF65-F5344CB8AC3E}">
        <p14:creationId xmlns:p14="http://schemas.microsoft.com/office/powerpoint/2010/main" val="804721086"/>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300"/>
      </a:spcAft>
      <a:buFont typeface="Wingdings" panose="05000000000000000000" pitchFamily="2" charset="2"/>
      <a:buNone/>
      <a:defRPr sz="1200" kern="1200">
        <a:solidFill>
          <a:schemeClr val="tx1"/>
        </a:solidFill>
        <a:latin typeface="+mn-lt"/>
        <a:ea typeface="+mn-ea"/>
        <a:cs typeface="+mn-cs"/>
      </a:defRPr>
    </a:lvl1pPr>
    <a:lvl2pPr marL="18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36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54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72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90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108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26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44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EA03A34-464E-4330-B842-BE15B1004585}" type="slidenum">
              <a:rPr lang="de-DE" smtClean="0"/>
              <a:pPr/>
              <a:t>1</a:t>
            </a:fld>
            <a:endParaRPr lang="de-DE"/>
          </a:p>
        </p:txBody>
      </p:sp>
    </p:spTree>
    <p:extLst>
      <p:ext uri="{BB962C8B-B14F-4D97-AF65-F5344CB8AC3E}">
        <p14:creationId xmlns:p14="http://schemas.microsoft.com/office/powerpoint/2010/main" val="20904256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0</a:t>
            </a:fld>
            <a:endParaRPr lang="de-DE"/>
          </a:p>
        </p:txBody>
      </p:sp>
    </p:spTree>
    <p:extLst>
      <p:ext uri="{BB962C8B-B14F-4D97-AF65-F5344CB8AC3E}">
        <p14:creationId xmlns:p14="http://schemas.microsoft.com/office/powerpoint/2010/main" val="35362920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0222AC-A3CC-16AF-1753-196583E2013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2E93E7C-7DA7-09DB-1E3C-C6B031ACE5B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34EB313-C72C-5B13-3058-CE2227A277F7}"/>
              </a:ext>
            </a:extLst>
          </p:cNvPr>
          <p:cNvSpPr>
            <a:spLocks noGrp="1"/>
          </p:cNvSpPr>
          <p:nvPr>
            <p:ph type="body" idx="1"/>
          </p:nvPr>
        </p:nvSpPr>
        <p:spPr/>
        <p:txBody>
          <a:bodyPr/>
          <a:lstStyle/>
          <a:p>
            <a:r>
              <a:rPr lang="de-DE"/>
              <a:t> </a:t>
            </a:r>
          </a:p>
        </p:txBody>
      </p:sp>
      <p:sp>
        <p:nvSpPr>
          <p:cNvPr id="4" name="Foliennummernplatzhalter 3">
            <a:extLst>
              <a:ext uri="{FF2B5EF4-FFF2-40B4-BE49-F238E27FC236}">
                <a16:creationId xmlns:a16="http://schemas.microsoft.com/office/drawing/2014/main" id="{079A9762-000C-8C1B-6A4F-FC7A8A4A75E0}"/>
              </a:ext>
            </a:extLst>
          </p:cNvPr>
          <p:cNvSpPr>
            <a:spLocks noGrp="1"/>
          </p:cNvSpPr>
          <p:nvPr>
            <p:ph type="sldNum" sz="quarter" idx="5"/>
          </p:nvPr>
        </p:nvSpPr>
        <p:spPr/>
        <p:txBody>
          <a:bodyPr/>
          <a:lstStyle/>
          <a:p>
            <a:fld id="{8EA03A34-464E-4330-B842-BE15B1004585}" type="slidenum">
              <a:rPr lang="de-DE" smtClean="0"/>
              <a:pPr/>
              <a:t>11</a:t>
            </a:fld>
            <a:endParaRPr lang="de-DE"/>
          </a:p>
        </p:txBody>
      </p:sp>
    </p:spTree>
    <p:extLst>
      <p:ext uri="{BB962C8B-B14F-4D97-AF65-F5344CB8AC3E}">
        <p14:creationId xmlns:p14="http://schemas.microsoft.com/office/powerpoint/2010/main" val="27543397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2</a:t>
            </a:fld>
            <a:endParaRPr lang="de-DE"/>
          </a:p>
        </p:txBody>
      </p:sp>
    </p:spTree>
    <p:extLst>
      <p:ext uri="{BB962C8B-B14F-4D97-AF65-F5344CB8AC3E}">
        <p14:creationId xmlns:p14="http://schemas.microsoft.com/office/powerpoint/2010/main" val="10670690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13</a:t>
            </a:fld>
            <a:endParaRPr lang="de-DE"/>
          </a:p>
        </p:txBody>
      </p:sp>
    </p:spTree>
    <p:extLst>
      <p:ext uri="{BB962C8B-B14F-4D97-AF65-F5344CB8AC3E}">
        <p14:creationId xmlns:p14="http://schemas.microsoft.com/office/powerpoint/2010/main" val="26609801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4</a:t>
            </a:fld>
            <a:endParaRPr lang="de-DE"/>
          </a:p>
        </p:txBody>
      </p:sp>
    </p:spTree>
    <p:extLst>
      <p:ext uri="{BB962C8B-B14F-4D97-AF65-F5344CB8AC3E}">
        <p14:creationId xmlns:p14="http://schemas.microsoft.com/office/powerpoint/2010/main" val="23135959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4A469D-051D-BDCF-0CF6-69465478A55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F84A023-E8CC-C451-7EBD-BF119984F2A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583EF5C-5AA4-0EF9-BD55-BB4C4D382F52}"/>
              </a:ext>
            </a:extLst>
          </p:cNvPr>
          <p:cNvSpPr>
            <a:spLocks noGrp="1"/>
          </p:cNvSpPr>
          <p:nvPr>
            <p:ph type="body" idx="1"/>
          </p:nvPr>
        </p:nvSpPr>
        <p:spPr/>
        <p:txBody>
          <a:bodyPr/>
          <a:lstStyle/>
          <a:p>
            <a:r>
              <a:rPr lang="de-DE"/>
              <a:t> </a:t>
            </a:r>
          </a:p>
        </p:txBody>
      </p:sp>
      <p:sp>
        <p:nvSpPr>
          <p:cNvPr id="4" name="Foliennummernplatzhalter 3">
            <a:extLst>
              <a:ext uri="{FF2B5EF4-FFF2-40B4-BE49-F238E27FC236}">
                <a16:creationId xmlns:a16="http://schemas.microsoft.com/office/drawing/2014/main" id="{9DA4F189-1347-8436-6E24-0DF38D7DD068}"/>
              </a:ext>
            </a:extLst>
          </p:cNvPr>
          <p:cNvSpPr>
            <a:spLocks noGrp="1"/>
          </p:cNvSpPr>
          <p:nvPr>
            <p:ph type="sldNum" sz="quarter" idx="5"/>
          </p:nvPr>
        </p:nvSpPr>
        <p:spPr/>
        <p:txBody>
          <a:bodyPr/>
          <a:lstStyle/>
          <a:p>
            <a:fld id="{8EA03A34-464E-4330-B842-BE15B1004585}" type="slidenum">
              <a:rPr lang="de-DE" smtClean="0"/>
              <a:pPr/>
              <a:t>15</a:t>
            </a:fld>
            <a:endParaRPr lang="de-DE"/>
          </a:p>
        </p:txBody>
      </p:sp>
    </p:spTree>
    <p:extLst>
      <p:ext uri="{BB962C8B-B14F-4D97-AF65-F5344CB8AC3E}">
        <p14:creationId xmlns:p14="http://schemas.microsoft.com/office/powerpoint/2010/main" val="8852017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16</a:t>
            </a:fld>
            <a:endParaRPr lang="de-DE"/>
          </a:p>
        </p:txBody>
      </p:sp>
    </p:spTree>
    <p:extLst>
      <p:ext uri="{BB962C8B-B14F-4D97-AF65-F5344CB8AC3E}">
        <p14:creationId xmlns:p14="http://schemas.microsoft.com/office/powerpoint/2010/main" val="35884356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7</a:t>
            </a:fld>
            <a:endParaRPr lang="de-DE"/>
          </a:p>
        </p:txBody>
      </p:sp>
    </p:spTree>
    <p:extLst>
      <p:ext uri="{BB962C8B-B14F-4D97-AF65-F5344CB8AC3E}">
        <p14:creationId xmlns:p14="http://schemas.microsoft.com/office/powerpoint/2010/main" val="17703684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8</a:t>
            </a:fld>
            <a:endParaRPr lang="de-DE"/>
          </a:p>
        </p:txBody>
      </p:sp>
    </p:spTree>
    <p:extLst>
      <p:ext uri="{BB962C8B-B14F-4D97-AF65-F5344CB8AC3E}">
        <p14:creationId xmlns:p14="http://schemas.microsoft.com/office/powerpoint/2010/main" val="30994541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171E35-E6D5-D1D1-7511-848FFC5C5B3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2120EC5-837B-5B6B-9A0C-83C6B502729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5903D41-F0AE-5AEC-FBBB-BB833C7FF08B}"/>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9147C053-F55C-7EF4-A894-3CADF0ADACAF}"/>
              </a:ext>
            </a:extLst>
          </p:cNvPr>
          <p:cNvSpPr>
            <a:spLocks noGrp="1"/>
          </p:cNvSpPr>
          <p:nvPr>
            <p:ph type="sldNum" sz="quarter" idx="5"/>
          </p:nvPr>
        </p:nvSpPr>
        <p:spPr/>
        <p:txBody>
          <a:bodyPr/>
          <a:lstStyle/>
          <a:p>
            <a:fld id="{8EA03A34-464E-4330-B842-BE15B1004585}" type="slidenum">
              <a:rPr lang="de-DE" smtClean="0"/>
              <a:pPr/>
              <a:t>19</a:t>
            </a:fld>
            <a:endParaRPr lang="de-DE"/>
          </a:p>
        </p:txBody>
      </p:sp>
    </p:spTree>
    <p:extLst>
      <p:ext uri="{BB962C8B-B14F-4D97-AF65-F5344CB8AC3E}">
        <p14:creationId xmlns:p14="http://schemas.microsoft.com/office/powerpoint/2010/main" val="30634286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AC91A1E-1F3C-4C24-BF60-687AD334015B}" type="slidenum">
              <a:rPr lang="de-DE" smtClean="0"/>
              <a:pPr/>
              <a:t>2</a:t>
            </a:fld>
            <a:endParaRPr lang="de-DE"/>
          </a:p>
        </p:txBody>
      </p:sp>
    </p:spTree>
    <p:extLst>
      <p:ext uri="{BB962C8B-B14F-4D97-AF65-F5344CB8AC3E}">
        <p14:creationId xmlns:p14="http://schemas.microsoft.com/office/powerpoint/2010/main" val="10119039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20</a:t>
            </a:fld>
            <a:endParaRPr lang="de-DE"/>
          </a:p>
        </p:txBody>
      </p:sp>
    </p:spTree>
    <p:extLst>
      <p:ext uri="{BB962C8B-B14F-4D97-AF65-F5344CB8AC3E}">
        <p14:creationId xmlns:p14="http://schemas.microsoft.com/office/powerpoint/2010/main" val="25545065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2</a:t>
            </a:fld>
            <a:endParaRPr lang="de-DE"/>
          </a:p>
        </p:txBody>
      </p:sp>
    </p:spTree>
    <p:extLst>
      <p:ext uri="{BB962C8B-B14F-4D97-AF65-F5344CB8AC3E}">
        <p14:creationId xmlns:p14="http://schemas.microsoft.com/office/powerpoint/2010/main" val="42929116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3</a:t>
            </a:fld>
            <a:endParaRPr lang="de-DE"/>
          </a:p>
        </p:txBody>
      </p:sp>
    </p:spTree>
    <p:extLst>
      <p:ext uri="{BB962C8B-B14F-4D97-AF65-F5344CB8AC3E}">
        <p14:creationId xmlns:p14="http://schemas.microsoft.com/office/powerpoint/2010/main" val="26959616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4</a:t>
            </a:fld>
            <a:endParaRPr lang="de-DE"/>
          </a:p>
        </p:txBody>
      </p:sp>
    </p:spTree>
    <p:extLst>
      <p:ext uri="{BB962C8B-B14F-4D97-AF65-F5344CB8AC3E}">
        <p14:creationId xmlns:p14="http://schemas.microsoft.com/office/powerpoint/2010/main" val="30484836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5</a:t>
            </a:fld>
            <a:endParaRPr lang="de-DE"/>
          </a:p>
        </p:txBody>
      </p:sp>
    </p:spTree>
    <p:extLst>
      <p:ext uri="{BB962C8B-B14F-4D97-AF65-F5344CB8AC3E}">
        <p14:creationId xmlns:p14="http://schemas.microsoft.com/office/powerpoint/2010/main" val="1074270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6</a:t>
            </a:fld>
            <a:endParaRPr lang="de-DE"/>
          </a:p>
        </p:txBody>
      </p:sp>
    </p:spTree>
    <p:extLst>
      <p:ext uri="{BB962C8B-B14F-4D97-AF65-F5344CB8AC3E}">
        <p14:creationId xmlns:p14="http://schemas.microsoft.com/office/powerpoint/2010/main" val="25126076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A73902-38B9-A7AF-4AE4-B96D7A27DAE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E22B16D-9B80-F851-48FD-563CF57A982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72EDDDD-DFA9-B837-1467-D3D5F0EED56F}"/>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50F3875A-A82C-4B07-16E0-9FAF131C4EEE}"/>
              </a:ext>
            </a:extLst>
          </p:cNvPr>
          <p:cNvSpPr>
            <a:spLocks noGrp="1"/>
          </p:cNvSpPr>
          <p:nvPr>
            <p:ph type="sldNum" sz="quarter" idx="5"/>
          </p:nvPr>
        </p:nvSpPr>
        <p:spPr/>
        <p:txBody>
          <a:bodyPr/>
          <a:lstStyle/>
          <a:p>
            <a:fld id="{8EA03A34-464E-4330-B842-BE15B1004585}" type="slidenum">
              <a:rPr lang="de-DE" smtClean="0"/>
              <a:pPr/>
              <a:t>27</a:t>
            </a:fld>
            <a:endParaRPr lang="de-DE"/>
          </a:p>
        </p:txBody>
      </p:sp>
    </p:spTree>
    <p:extLst>
      <p:ext uri="{BB962C8B-B14F-4D97-AF65-F5344CB8AC3E}">
        <p14:creationId xmlns:p14="http://schemas.microsoft.com/office/powerpoint/2010/main" val="1772598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8</a:t>
            </a:fld>
            <a:endParaRPr lang="de-DE"/>
          </a:p>
        </p:txBody>
      </p:sp>
    </p:spTree>
    <p:extLst>
      <p:ext uri="{BB962C8B-B14F-4D97-AF65-F5344CB8AC3E}">
        <p14:creationId xmlns:p14="http://schemas.microsoft.com/office/powerpoint/2010/main" val="35617169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In englischer Version </a:t>
            </a:r>
            <a:r>
              <a:rPr lang="de-DE" err="1"/>
              <a:t>Brötja</a:t>
            </a:r>
            <a:r>
              <a:rPr lang="de-DE"/>
              <a:t> in </a:t>
            </a:r>
            <a:r>
              <a:rPr lang="de-DE" err="1"/>
              <a:t>Brötje</a:t>
            </a:r>
            <a:r>
              <a:rPr lang="de-DE"/>
              <a:t> ändern</a:t>
            </a:r>
          </a:p>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9</a:t>
            </a:fld>
            <a:endParaRPr lang="de-DE"/>
          </a:p>
        </p:txBody>
      </p:sp>
    </p:spTree>
    <p:extLst>
      <p:ext uri="{BB962C8B-B14F-4D97-AF65-F5344CB8AC3E}">
        <p14:creationId xmlns:p14="http://schemas.microsoft.com/office/powerpoint/2010/main" val="15713512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30</a:t>
            </a:fld>
            <a:endParaRPr lang="de-DE"/>
          </a:p>
        </p:txBody>
      </p:sp>
    </p:spTree>
    <p:extLst>
      <p:ext uri="{BB962C8B-B14F-4D97-AF65-F5344CB8AC3E}">
        <p14:creationId xmlns:p14="http://schemas.microsoft.com/office/powerpoint/2010/main" val="3881154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AC91A1E-1F3C-4C24-BF60-687AD334015B}" type="slidenum">
              <a:rPr lang="de-DE" smtClean="0"/>
              <a:pPr/>
              <a:t>3</a:t>
            </a:fld>
            <a:endParaRPr lang="de-DE"/>
          </a:p>
        </p:txBody>
      </p:sp>
    </p:spTree>
    <p:extLst>
      <p:ext uri="{BB962C8B-B14F-4D97-AF65-F5344CB8AC3E}">
        <p14:creationId xmlns:p14="http://schemas.microsoft.com/office/powerpoint/2010/main" val="21505187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A1CCA2-2F67-9AF0-DDEC-C279BA7AB11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DD94CED-D15C-B6FE-5279-903B40581C4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6289CC7-BD9F-C70B-3413-0DC3C3837942}"/>
              </a:ext>
            </a:extLst>
          </p:cNvPr>
          <p:cNvSpPr>
            <a:spLocks noGrp="1"/>
          </p:cNvSpPr>
          <p:nvPr>
            <p:ph type="body" idx="1"/>
          </p:nvPr>
        </p:nvSpPr>
        <p:spPr/>
        <p:txBody>
          <a:bodyPr/>
          <a:lstStyle/>
          <a:p>
            <a:r>
              <a:rPr lang="de-DE"/>
              <a:t> </a:t>
            </a:r>
          </a:p>
        </p:txBody>
      </p:sp>
      <p:sp>
        <p:nvSpPr>
          <p:cNvPr id="4" name="Foliennummernplatzhalter 3">
            <a:extLst>
              <a:ext uri="{FF2B5EF4-FFF2-40B4-BE49-F238E27FC236}">
                <a16:creationId xmlns:a16="http://schemas.microsoft.com/office/drawing/2014/main" id="{7D577C1F-01D6-EEF3-CDDD-BC4CC4610283}"/>
              </a:ext>
            </a:extLst>
          </p:cNvPr>
          <p:cNvSpPr>
            <a:spLocks noGrp="1"/>
          </p:cNvSpPr>
          <p:nvPr>
            <p:ph type="sldNum" sz="quarter" idx="5"/>
          </p:nvPr>
        </p:nvSpPr>
        <p:spPr/>
        <p:txBody>
          <a:bodyPr/>
          <a:lstStyle/>
          <a:p>
            <a:fld id="{8EA03A34-464E-4330-B842-BE15B1004585}" type="slidenum">
              <a:rPr lang="de-DE" smtClean="0"/>
              <a:pPr/>
              <a:t>31</a:t>
            </a:fld>
            <a:endParaRPr lang="de-DE"/>
          </a:p>
        </p:txBody>
      </p:sp>
    </p:spTree>
    <p:extLst>
      <p:ext uri="{BB962C8B-B14F-4D97-AF65-F5344CB8AC3E}">
        <p14:creationId xmlns:p14="http://schemas.microsoft.com/office/powerpoint/2010/main" val="24735661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32</a:t>
            </a:fld>
            <a:endParaRPr lang="de-DE"/>
          </a:p>
        </p:txBody>
      </p:sp>
    </p:spTree>
    <p:extLst>
      <p:ext uri="{BB962C8B-B14F-4D97-AF65-F5344CB8AC3E}">
        <p14:creationId xmlns:p14="http://schemas.microsoft.com/office/powerpoint/2010/main" val="25326854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C994AE-6F8A-8E50-D81E-A3FC25E9AD6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26A3693-3D52-E522-98AF-304C9E53950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DBBAE9B-F5AC-2A77-E3F5-9FF23F80C5D5}"/>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42C0BA97-9E30-0CE5-787D-504B08F4EE87}"/>
              </a:ext>
            </a:extLst>
          </p:cNvPr>
          <p:cNvSpPr>
            <a:spLocks noGrp="1"/>
          </p:cNvSpPr>
          <p:nvPr>
            <p:ph type="sldNum" sz="quarter" idx="5"/>
          </p:nvPr>
        </p:nvSpPr>
        <p:spPr/>
        <p:txBody>
          <a:bodyPr/>
          <a:lstStyle/>
          <a:p>
            <a:fld id="{6AC91A1E-1F3C-4C24-BF60-687AD334015B}" type="slidenum">
              <a:rPr lang="de-DE" smtClean="0"/>
              <a:pPr/>
              <a:t>37</a:t>
            </a:fld>
            <a:endParaRPr lang="de-DE"/>
          </a:p>
        </p:txBody>
      </p:sp>
    </p:spTree>
    <p:extLst>
      <p:ext uri="{BB962C8B-B14F-4D97-AF65-F5344CB8AC3E}">
        <p14:creationId xmlns:p14="http://schemas.microsoft.com/office/powerpoint/2010/main" val="8097617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46</a:t>
            </a:fld>
            <a:endParaRPr lang="de-DE"/>
          </a:p>
        </p:txBody>
      </p:sp>
    </p:spTree>
    <p:extLst>
      <p:ext uri="{BB962C8B-B14F-4D97-AF65-F5344CB8AC3E}">
        <p14:creationId xmlns:p14="http://schemas.microsoft.com/office/powerpoint/2010/main" val="15882600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47</a:t>
            </a:fld>
            <a:endParaRPr lang="de-DE"/>
          </a:p>
        </p:txBody>
      </p:sp>
    </p:spTree>
    <p:extLst>
      <p:ext uri="{BB962C8B-B14F-4D97-AF65-F5344CB8AC3E}">
        <p14:creationId xmlns:p14="http://schemas.microsoft.com/office/powerpoint/2010/main" val="23078693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0000"/>
              </a:lnSpc>
            </a:pPr>
            <a:r>
              <a:rPr lang="de-DE" sz="1800">
                <a:solidFill>
                  <a:schemeClr val="bg1"/>
                </a:solidFill>
                <a:latin typeface="Aptos Light" panose="020B0004020202020204" pitchFamily="34" charset="0"/>
                <a:cs typeface="Calibri"/>
              </a:rPr>
              <a:t>2022 Gründung einer Inklusionsfirma für Barrierefreiheit</a:t>
            </a:r>
          </a:p>
          <a:p>
            <a:pPr>
              <a:lnSpc>
                <a:spcPct val="100000"/>
              </a:lnSpc>
            </a:pPr>
            <a:r>
              <a:rPr lang="de-DE" sz="1800">
                <a:solidFill>
                  <a:schemeClr val="bg1"/>
                </a:solidFill>
                <a:latin typeface="Aptos Light" panose="020B0004020202020204" pitchFamily="34" charset="0"/>
                <a:cs typeface="Calibri"/>
              </a:rPr>
              <a:t>im Netz: </a:t>
            </a:r>
            <a:r>
              <a:rPr lang="de-DE" sz="1800" err="1">
                <a:solidFill>
                  <a:schemeClr val="bg1"/>
                </a:solidFill>
                <a:latin typeface="Aptos Light" panose="020B0004020202020204" pitchFamily="34" charset="0"/>
                <a:cs typeface="Calibri"/>
              </a:rPr>
              <a:t>msg.BiN</a:t>
            </a:r>
            <a:endParaRPr lang="de-DE" sz="1800">
              <a:solidFill>
                <a:schemeClr val="bg1"/>
              </a:solidFill>
              <a:latin typeface="Aptos Light" panose="020B0004020202020204" pitchFamily="34" charset="0"/>
              <a:cs typeface="Calibri"/>
            </a:endParaRPr>
          </a:p>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48</a:t>
            </a:fld>
            <a:endParaRPr lang="de-DE"/>
          </a:p>
        </p:txBody>
      </p:sp>
    </p:spTree>
    <p:extLst>
      <p:ext uri="{BB962C8B-B14F-4D97-AF65-F5344CB8AC3E}">
        <p14:creationId xmlns:p14="http://schemas.microsoft.com/office/powerpoint/2010/main" val="31744811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50</a:t>
            </a:fld>
            <a:endParaRPr lang="de-DE"/>
          </a:p>
        </p:txBody>
      </p:sp>
    </p:spTree>
    <p:extLst>
      <p:ext uri="{BB962C8B-B14F-4D97-AF65-F5344CB8AC3E}">
        <p14:creationId xmlns:p14="http://schemas.microsoft.com/office/powerpoint/2010/main" val="21593035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51</a:t>
            </a:fld>
            <a:endParaRPr lang="de-DE"/>
          </a:p>
        </p:txBody>
      </p:sp>
    </p:spTree>
    <p:extLst>
      <p:ext uri="{BB962C8B-B14F-4D97-AF65-F5344CB8AC3E}">
        <p14:creationId xmlns:p14="http://schemas.microsoft.com/office/powerpoint/2010/main" val="199247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4</a:t>
            </a:fld>
            <a:endParaRPr lang="de-DE"/>
          </a:p>
        </p:txBody>
      </p:sp>
    </p:spTree>
    <p:extLst>
      <p:ext uri="{BB962C8B-B14F-4D97-AF65-F5344CB8AC3E}">
        <p14:creationId xmlns:p14="http://schemas.microsoft.com/office/powerpoint/2010/main" val="1948899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5</a:t>
            </a:fld>
            <a:endParaRPr lang="de-DE"/>
          </a:p>
        </p:txBody>
      </p:sp>
    </p:spTree>
    <p:extLst>
      <p:ext uri="{BB962C8B-B14F-4D97-AF65-F5344CB8AC3E}">
        <p14:creationId xmlns:p14="http://schemas.microsoft.com/office/powerpoint/2010/main" val="38267903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6</a:t>
            </a:fld>
            <a:endParaRPr lang="de-DE"/>
          </a:p>
        </p:txBody>
      </p:sp>
    </p:spTree>
    <p:extLst>
      <p:ext uri="{BB962C8B-B14F-4D97-AF65-F5344CB8AC3E}">
        <p14:creationId xmlns:p14="http://schemas.microsoft.com/office/powerpoint/2010/main" val="27902777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7</a:t>
            </a:fld>
            <a:endParaRPr lang="de-DE"/>
          </a:p>
        </p:txBody>
      </p:sp>
    </p:spTree>
    <p:extLst>
      <p:ext uri="{BB962C8B-B14F-4D97-AF65-F5344CB8AC3E}">
        <p14:creationId xmlns:p14="http://schemas.microsoft.com/office/powerpoint/2010/main" val="8085449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8</a:t>
            </a:fld>
            <a:endParaRPr lang="de-DE"/>
          </a:p>
        </p:txBody>
      </p:sp>
    </p:spTree>
    <p:extLst>
      <p:ext uri="{BB962C8B-B14F-4D97-AF65-F5344CB8AC3E}">
        <p14:creationId xmlns:p14="http://schemas.microsoft.com/office/powerpoint/2010/main" val="1644062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9</a:t>
            </a:fld>
            <a:endParaRPr lang="de-DE"/>
          </a:p>
        </p:txBody>
      </p:sp>
    </p:spTree>
    <p:extLst>
      <p:ext uri="{BB962C8B-B14F-4D97-AF65-F5344CB8AC3E}">
        <p14:creationId xmlns:p14="http://schemas.microsoft.com/office/powerpoint/2010/main" val="18611166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7.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9.jpeg"/><Relationship Id="rId5" Type="http://schemas.openxmlformats.org/officeDocument/2006/relationships/image" Target="../media/image2.sv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7.svg"/><Relationship Id="rId5" Type="http://schemas.openxmlformats.org/officeDocument/2006/relationships/image" Target="../media/image10.jpe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7.svg"/><Relationship Id="rId5" Type="http://schemas.openxmlformats.org/officeDocument/2006/relationships/image" Target="../media/image10.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2990212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57AD32-B33F-D71D-71C0-1BF11E3C22E4}"/>
              </a:ext>
            </a:extLst>
          </p:cNvPr>
          <p:cNvSpPr>
            <a:spLocks noGrp="1"/>
          </p:cNvSpPr>
          <p:nvPr>
            <p:ph type="ctrTitle"/>
          </p:nvPr>
        </p:nvSpPr>
        <p:spPr bwMode="gray">
          <a:xfrm>
            <a:off x="5161920" y="1773239"/>
            <a:ext cx="6695118" cy="1354217"/>
          </a:xfrm>
        </p:spPr>
        <p:txBody>
          <a:bodyPr vert="horz" wrap="square" anchor="b">
            <a:noAutofit/>
          </a:bodyPr>
          <a:lstStyle>
            <a:lvl1pPr algn="l" rtl="0">
              <a:defRPr sz="4400">
                <a:solidFill>
                  <a:schemeClr val="accent1"/>
                </a:solidFill>
              </a:defRPr>
            </a:lvl1pPr>
          </a:lstStyle>
          <a:p>
            <a:r>
              <a:rPr lang="de-DE"/>
              <a:t>Mastertitelformat bearbeiten</a:t>
            </a:r>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5161919" y="3270995"/>
            <a:ext cx="6695122" cy="369332"/>
          </a:xfrm>
          <a:noFill/>
        </p:spPr>
        <p:txBody>
          <a:bodyPr wrap="square" lIns="0" tIns="0" rIns="0" bIns="0" anchor="t">
            <a:noAutofit/>
          </a:bodyPr>
          <a:lstStyle>
            <a:lvl1pPr rtl="0">
              <a:defRPr sz="2400" b="0">
                <a:solidFill>
                  <a:schemeClr val="tx1"/>
                </a:solidFill>
              </a:defRPr>
            </a:lvl1pPr>
          </a:lstStyle>
          <a:p>
            <a:pPr lvl="0"/>
            <a:r>
              <a:rPr lang="de-DE" err="1"/>
              <a:t>Subtitle</a:t>
            </a:r>
            <a:r>
              <a:rPr lang="de-DE"/>
              <a:t> einfügen</a:t>
            </a:r>
          </a:p>
        </p:txBody>
      </p:sp>
      <p:sp>
        <p:nvSpPr>
          <p:cNvPr id="115" name="Bildplatzhalter 114" descr="Bild füllt 1/3 der Folie aus, rechts Titel und Untertitel, Bild ist änderbar.">
            <a:extLst>
              <a:ext uri="{FF2B5EF4-FFF2-40B4-BE49-F238E27FC236}">
                <a16:creationId xmlns:a16="http://schemas.microsoft.com/office/drawing/2014/main" id="{EC806E61-62AD-15C1-A1F0-CD9432EC1249}"/>
              </a:ext>
              <a:ext uri="{C183D7F6-B498-43B3-948B-1728B52AA6E4}">
                <adec:decorative xmlns:adec="http://schemas.microsoft.com/office/drawing/2017/decorative" val="0"/>
              </a:ext>
            </a:extLst>
          </p:cNvPr>
          <p:cNvSpPr>
            <a:spLocks noGrp="1"/>
          </p:cNvSpPr>
          <p:nvPr>
            <p:ph type="pic" sz="quarter" idx="11"/>
          </p:nvPr>
        </p:nvSpPr>
        <p:spPr bwMode="gray">
          <a:xfrm>
            <a:off x="1" y="0"/>
            <a:ext cx="4730111" cy="6858000"/>
          </a:xfrm>
          <a:custGeom>
            <a:avLst/>
            <a:gdLst>
              <a:gd name="connsiteX0" fmla="*/ 4729203 w 4730111"/>
              <a:gd name="connsiteY0" fmla="*/ 2672511 h 6858000"/>
              <a:gd name="connsiteX1" fmla="*/ 4730111 w 4730111"/>
              <a:gd name="connsiteY1" fmla="*/ 2672557 h 6858000"/>
              <a:gd name="connsiteX2" fmla="*/ 4730111 w 4730111"/>
              <a:gd name="connsiteY2" fmla="*/ 5415665 h 6858000"/>
              <a:gd name="connsiteX3" fmla="*/ 4729203 w 4730111"/>
              <a:gd name="connsiteY3" fmla="*/ 5415711 h 6858000"/>
              <a:gd name="connsiteX4" fmla="*/ 3357603 w 4730111"/>
              <a:gd name="connsiteY4" fmla="*/ 4044111 h 6858000"/>
              <a:gd name="connsiteX5" fmla="*/ 4729203 w 4730111"/>
              <a:gd name="connsiteY5" fmla="*/ 2672511 h 6858000"/>
              <a:gd name="connsiteX6" fmla="*/ 0 w 4730111"/>
              <a:gd name="connsiteY6" fmla="*/ 0 h 6858000"/>
              <a:gd name="connsiteX7" fmla="*/ 4730111 w 4730111"/>
              <a:gd name="connsiteY7" fmla="*/ 0 h 6858000"/>
              <a:gd name="connsiteX8" fmla="*/ 4730111 w 4730111"/>
              <a:gd name="connsiteY8" fmla="*/ 2595445 h 6858000"/>
              <a:gd name="connsiteX9" fmla="*/ 4729203 w 4730111"/>
              <a:gd name="connsiteY9" fmla="*/ 2595399 h 6858000"/>
              <a:gd name="connsiteX10" fmla="*/ 3280491 w 4730111"/>
              <a:gd name="connsiteY10" fmla="*/ 4044111 h 6858000"/>
              <a:gd name="connsiteX11" fmla="*/ 4729203 w 4730111"/>
              <a:gd name="connsiteY11" fmla="*/ 5492823 h 6858000"/>
              <a:gd name="connsiteX12" fmla="*/ 4730111 w 4730111"/>
              <a:gd name="connsiteY12" fmla="*/ 5492777 h 6858000"/>
              <a:gd name="connsiteX13" fmla="*/ 4730111 w 4730111"/>
              <a:gd name="connsiteY13" fmla="*/ 6858000 h 6858000"/>
              <a:gd name="connsiteX14" fmla="*/ 0 w 4730111"/>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0111" h="6858000">
                <a:moveTo>
                  <a:pt x="4729203" y="2672511"/>
                </a:moveTo>
                <a:lnTo>
                  <a:pt x="4730111" y="2672557"/>
                </a:lnTo>
                <a:lnTo>
                  <a:pt x="4730111" y="5415665"/>
                </a:lnTo>
                <a:lnTo>
                  <a:pt x="4729203" y="5415711"/>
                </a:lnTo>
                <a:cubicBezTo>
                  <a:pt x="3971689" y="5415711"/>
                  <a:pt x="3357603" y="4801625"/>
                  <a:pt x="3357603" y="4044111"/>
                </a:cubicBezTo>
                <a:cubicBezTo>
                  <a:pt x="3357603" y="3286597"/>
                  <a:pt x="3971689" y="2672511"/>
                  <a:pt x="4729203" y="2672511"/>
                </a:cubicBezTo>
                <a:close/>
                <a:moveTo>
                  <a:pt x="0" y="0"/>
                </a:moveTo>
                <a:lnTo>
                  <a:pt x="4730111" y="0"/>
                </a:lnTo>
                <a:lnTo>
                  <a:pt x="4730111" y="2595445"/>
                </a:lnTo>
                <a:lnTo>
                  <a:pt x="4729203" y="2595399"/>
                </a:lnTo>
                <a:cubicBezTo>
                  <a:pt x="3929101" y="2595399"/>
                  <a:pt x="3280491" y="3244009"/>
                  <a:pt x="3280491" y="4044111"/>
                </a:cubicBezTo>
                <a:cubicBezTo>
                  <a:pt x="3280491" y="4844213"/>
                  <a:pt x="3929101" y="5492823"/>
                  <a:pt x="4729203" y="5492823"/>
                </a:cubicBezTo>
                <a:lnTo>
                  <a:pt x="4730111" y="5492777"/>
                </a:lnTo>
                <a:lnTo>
                  <a:pt x="4730111" y="6858000"/>
                </a:lnTo>
                <a:lnTo>
                  <a:pt x="0" y="6858000"/>
                </a:lnTo>
                <a:close/>
              </a:path>
            </a:pathLst>
          </a:custGeom>
          <a:solidFill>
            <a:schemeClr val="bg2"/>
          </a:solidFill>
        </p:spPr>
        <p:txBody>
          <a:bodyPr wrap="square">
            <a:noAutofit/>
          </a:bodyPr>
          <a:lstStyle/>
          <a:p>
            <a:r>
              <a:rPr lang="de-DE"/>
              <a:t>Bild durch Klicken auf Symbol hinzufügen</a:t>
            </a:r>
          </a:p>
        </p:txBody>
      </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38" name="Freihandform: Form 37">
            <a:extLst>
              <a:ext uri="{FF2B5EF4-FFF2-40B4-BE49-F238E27FC236}">
                <a16:creationId xmlns:a16="http://schemas.microsoft.com/office/drawing/2014/main" id="{39D4AD47-F725-9804-EA20-2F299922C3B1}"/>
              </a:ext>
              <a:ext uri="{C183D7F6-B498-43B3-948B-1728B52AA6E4}">
                <adec:decorative xmlns:adec="http://schemas.microsoft.com/office/drawing/2017/decorative" val="1"/>
              </a:ext>
            </a:extLst>
          </p:cNvPr>
          <p:cNvSpPr>
            <a:spLocks/>
          </p:cNvSpPr>
          <p:nvPr userDrawn="1"/>
        </p:nvSpPr>
        <p:spPr bwMode="gray">
          <a:xfrm>
            <a:off x="4730111" y="4038601"/>
            <a:ext cx="1447804" cy="1454177"/>
          </a:xfrm>
          <a:custGeom>
            <a:avLst/>
            <a:gdLst>
              <a:gd name="connsiteX0" fmla="*/ 1370414 w 1447804"/>
              <a:gd name="connsiteY0" fmla="*/ 0 h 1454177"/>
              <a:gd name="connsiteX1" fmla="*/ 1447526 w 1447804"/>
              <a:gd name="connsiteY1" fmla="*/ 0 h 1454177"/>
              <a:gd name="connsiteX2" fmla="*/ 1447804 w 1447804"/>
              <a:gd name="connsiteY2" fmla="*/ 5511 h 1454177"/>
              <a:gd name="connsiteX3" fmla="*/ 147215 w 1447804"/>
              <a:gd name="connsiteY3" fmla="*/ 1446744 h 1454177"/>
              <a:gd name="connsiteX4" fmla="*/ 0 w 1447804"/>
              <a:gd name="connsiteY4" fmla="*/ 1454177 h 1454177"/>
              <a:gd name="connsiteX5" fmla="*/ 0 w 1447804"/>
              <a:gd name="connsiteY5" fmla="*/ 1377065 h 1454177"/>
              <a:gd name="connsiteX6" fmla="*/ 139330 w 1447804"/>
              <a:gd name="connsiteY6" fmla="*/ 1370030 h 1454177"/>
              <a:gd name="connsiteX7" fmla="*/ 1370692 w 1447804"/>
              <a:gd name="connsiteY7" fmla="*/ 5511 h 145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4" h="1454177">
                <a:moveTo>
                  <a:pt x="1370414" y="0"/>
                </a:moveTo>
                <a:lnTo>
                  <a:pt x="1447526" y="0"/>
                </a:lnTo>
                <a:lnTo>
                  <a:pt x="1447804" y="5511"/>
                </a:lnTo>
                <a:cubicBezTo>
                  <a:pt x="1447804" y="755607"/>
                  <a:pt x="877737" y="1372555"/>
                  <a:pt x="147215" y="1446744"/>
                </a:cubicBezTo>
                <a:lnTo>
                  <a:pt x="0" y="1454177"/>
                </a:lnTo>
                <a:lnTo>
                  <a:pt x="0" y="1377065"/>
                </a:lnTo>
                <a:lnTo>
                  <a:pt x="139330" y="1370030"/>
                </a:lnTo>
                <a:cubicBezTo>
                  <a:pt x="830968" y="1299790"/>
                  <a:pt x="1370692" y="715681"/>
                  <a:pt x="1370692" y="551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grpSp>
        <p:nvGrpSpPr>
          <p:cNvPr id="43" name="Gruppieren 42">
            <a:extLst>
              <a:ext uri="{FF2B5EF4-FFF2-40B4-BE49-F238E27FC236}">
                <a16:creationId xmlns:a16="http://schemas.microsoft.com/office/drawing/2014/main" id="{2265DFCC-F233-A485-88E8-2C892CB04940}"/>
              </a:ext>
              <a:ext uri="{C183D7F6-B498-43B3-948B-1728B52AA6E4}">
                <adec:decorative xmlns:adec="http://schemas.microsoft.com/office/drawing/2017/decorative" val="1"/>
              </a:ext>
            </a:extLst>
          </p:cNvPr>
          <p:cNvGrpSpPr>
            <a:grpSpLocks/>
          </p:cNvGrpSpPr>
          <p:nvPr userDrawn="1"/>
        </p:nvGrpSpPr>
        <p:grpSpPr bwMode="gray">
          <a:xfrm>
            <a:off x="9768114" y="497078"/>
            <a:ext cx="1915180" cy="598005"/>
            <a:chOff x="5324475" y="3186112"/>
            <a:chExt cx="1546859" cy="483775"/>
          </a:xfrm>
        </p:grpSpPr>
        <p:sp>
          <p:nvSpPr>
            <p:cNvPr id="44" name="Freihandform: Form 43">
              <a:extLst>
                <a:ext uri="{FF2B5EF4-FFF2-40B4-BE49-F238E27FC236}">
                  <a16:creationId xmlns:a16="http://schemas.microsoft.com/office/drawing/2014/main" id="{EBB9B7B0-B16F-358F-7D80-BA0C13D16C55}"/>
                </a:ext>
              </a:extLst>
            </p:cNvPr>
            <p:cNvSpPr/>
            <p:nvPr/>
          </p:nvSpPr>
          <p:spPr bwMode="gray">
            <a:xfrm>
              <a:off x="5324475" y="3397471"/>
              <a:ext cx="161163" cy="160972"/>
            </a:xfrm>
            <a:custGeom>
              <a:avLst/>
              <a:gdLst>
                <a:gd name="connsiteX0" fmla="*/ 0 w 161163"/>
                <a:gd name="connsiteY0" fmla="*/ 80581 h 160972"/>
                <a:gd name="connsiteX1" fmla="*/ 80582 w 161163"/>
                <a:gd name="connsiteY1" fmla="*/ 0 h 160972"/>
                <a:gd name="connsiteX2" fmla="*/ 161163 w 161163"/>
                <a:gd name="connsiteY2" fmla="*/ 80486 h 160972"/>
                <a:gd name="connsiteX3" fmla="*/ 80582 w 161163"/>
                <a:gd name="connsiteY3" fmla="*/ 160973 h 160972"/>
                <a:gd name="connsiteX4" fmla="*/ 0 w 161163"/>
                <a:gd name="connsiteY4" fmla="*/ 80581 h 160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163" h="160972">
                  <a:moveTo>
                    <a:pt x="0" y="80581"/>
                  </a:moveTo>
                  <a:cubicBezTo>
                    <a:pt x="0" y="36100"/>
                    <a:pt x="36100" y="0"/>
                    <a:pt x="80582" y="0"/>
                  </a:cubicBezTo>
                  <a:cubicBezTo>
                    <a:pt x="125063" y="0"/>
                    <a:pt x="161163" y="36100"/>
                    <a:pt x="161163" y="80486"/>
                  </a:cubicBezTo>
                  <a:cubicBezTo>
                    <a:pt x="161163" y="124873"/>
                    <a:pt x="125063" y="160973"/>
                    <a:pt x="80582" y="160973"/>
                  </a:cubicBezTo>
                  <a:cubicBezTo>
                    <a:pt x="36100" y="160973"/>
                    <a:pt x="0" y="124968"/>
                    <a:pt x="0" y="80581"/>
                  </a:cubicBezTo>
                </a:path>
              </a:pathLst>
            </a:custGeom>
            <a:solidFill>
              <a:schemeClr val="accent1"/>
            </a:solidFill>
            <a:ln w="9525" cap="flat">
              <a:noFill/>
              <a:prstDash val="solid"/>
              <a:miter/>
            </a:ln>
          </p:spPr>
          <p:txBody>
            <a:bodyPr rtlCol="0" anchor="ctr"/>
            <a:lstStyle/>
            <a:p>
              <a:endParaRPr lang="de-DE">
                <a:latin typeface="Carnac Light" panose="02000503000000020004" pitchFamily="2" charset="77"/>
              </a:endParaRPr>
            </a:p>
          </p:txBody>
        </p:sp>
        <p:sp>
          <p:nvSpPr>
            <p:cNvPr id="45" name="Freihandform: Form 44">
              <a:extLst>
                <a:ext uri="{FF2B5EF4-FFF2-40B4-BE49-F238E27FC236}">
                  <a16:creationId xmlns:a16="http://schemas.microsoft.com/office/drawing/2014/main" id="{C923EA93-60A8-78D4-7BE9-D8846D0AC10F}"/>
                </a:ext>
              </a:extLst>
            </p:cNvPr>
            <p:cNvSpPr/>
            <p:nvPr/>
          </p:nvSpPr>
          <p:spPr bwMode="gray">
            <a:xfrm>
              <a:off x="5537454" y="3186112"/>
              <a:ext cx="1333880" cy="483775"/>
            </a:xfrm>
            <a:custGeom>
              <a:avLst/>
              <a:gdLst>
                <a:gd name="connsiteX0" fmla="*/ 1127855 w 1333880"/>
                <a:gd name="connsiteY0" fmla="*/ 56388 h 483775"/>
                <a:gd name="connsiteX1" fmla="*/ 1039367 w 1333880"/>
                <a:gd name="connsiteY1" fmla="*/ 116396 h 483775"/>
                <a:gd name="connsiteX2" fmla="*/ 1039367 w 1333880"/>
                <a:gd name="connsiteY2" fmla="*/ 182404 h 483775"/>
                <a:gd name="connsiteX3" fmla="*/ 1039367 w 1333880"/>
                <a:gd name="connsiteY3" fmla="*/ 262604 h 483775"/>
                <a:gd name="connsiteX4" fmla="*/ 1124807 w 1333880"/>
                <a:gd name="connsiteY4" fmla="*/ 313658 h 483775"/>
                <a:gd name="connsiteX5" fmla="*/ 1266539 w 1333880"/>
                <a:gd name="connsiteY5" fmla="*/ 313658 h 483775"/>
                <a:gd name="connsiteX6" fmla="*/ 1266634 w 1333880"/>
                <a:gd name="connsiteY6" fmla="*/ 313754 h 483775"/>
                <a:gd name="connsiteX7" fmla="*/ 1266634 w 1333880"/>
                <a:gd name="connsiteY7" fmla="*/ 56388 h 483775"/>
                <a:gd name="connsiteX8" fmla="*/ 1127855 w 1333880"/>
                <a:gd name="connsiteY8" fmla="*/ 56388 h 483775"/>
                <a:gd name="connsiteX9" fmla="*/ 1104233 w 1333880"/>
                <a:gd name="connsiteY9" fmla="*/ 0 h 483775"/>
                <a:gd name="connsiteX10" fmla="*/ 1104328 w 1333880"/>
                <a:gd name="connsiteY10" fmla="*/ 0 h 483775"/>
                <a:gd name="connsiteX11" fmla="*/ 1333880 w 1333880"/>
                <a:gd name="connsiteY11" fmla="*/ 0 h 483775"/>
                <a:gd name="connsiteX12" fmla="*/ 1333880 w 1333880"/>
                <a:gd name="connsiteY12" fmla="*/ 403098 h 483775"/>
                <a:gd name="connsiteX13" fmla="*/ 1250727 w 1333880"/>
                <a:gd name="connsiteY13" fmla="*/ 483775 h 483775"/>
                <a:gd name="connsiteX14" fmla="*/ 1017841 w 1333880"/>
                <a:gd name="connsiteY14" fmla="*/ 483775 h 483775"/>
                <a:gd name="connsiteX15" fmla="*/ 1017841 w 1333880"/>
                <a:gd name="connsiteY15" fmla="*/ 424529 h 483775"/>
                <a:gd name="connsiteX16" fmla="*/ 1229105 w 1333880"/>
                <a:gd name="connsiteY16" fmla="*/ 424529 h 483775"/>
                <a:gd name="connsiteX17" fmla="*/ 1266539 w 1333880"/>
                <a:gd name="connsiteY17" fmla="*/ 384429 h 483775"/>
                <a:gd name="connsiteX18" fmla="*/ 1266539 w 1333880"/>
                <a:gd name="connsiteY18" fmla="*/ 370142 h 483775"/>
                <a:gd name="connsiteX19" fmla="*/ 1104423 w 1333880"/>
                <a:gd name="connsiteY19" fmla="*/ 370142 h 483775"/>
                <a:gd name="connsiteX20" fmla="*/ 1007173 w 1333880"/>
                <a:gd name="connsiteY20" fmla="*/ 350901 h 483775"/>
                <a:gd name="connsiteX21" fmla="*/ 970216 w 1333880"/>
                <a:gd name="connsiteY21" fmla="*/ 251079 h 483775"/>
                <a:gd name="connsiteX22" fmla="*/ 970216 w 1333880"/>
                <a:gd name="connsiteY22" fmla="*/ 117443 h 483775"/>
                <a:gd name="connsiteX23" fmla="*/ 1005077 w 1333880"/>
                <a:gd name="connsiteY23" fmla="*/ 22765 h 483775"/>
                <a:gd name="connsiteX24" fmla="*/ 1104233 w 1333880"/>
                <a:gd name="connsiteY24" fmla="*/ 0 h 483775"/>
                <a:gd name="connsiteX25" fmla="*/ 655033 w 1333880"/>
                <a:gd name="connsiteY25" fmla="*/ 0 h 483775"/>
                <a:gd name="connsiteX26" fmla="*/ 915923 w 1333880"/>
                <a:gd name="connsiteY26" fmla="*/ 0 h 483775"/>
                <a:gd name="connsiteX27" fmla="*/ 915923 w 1333880"/>
                <a:gd name="connsiteY27" fmla="*/ 56293 h 483775"/>
                <a:gd name="connsiteX28" fmla="*/ 678751 w 1333880"/>
                <a:gd name="connsiteY28" fmla="*/ 56293 h 483775"/>
                <a:gd name="connsiteX29" fmla="*/ 627411 w 1333880"/>
                <a:gd name="connsiteY29" fmla="*/ 103823 h 483775"/>
                <a:gd name="connsiteX30" fmla="*/ 671226 w 1333880"/>
                <a:gd name="connsiteY30" fmla="*/ 153162 h 483775"/>
                <a:gd name="connsiteX31" fmla="*/ 844867 w 1333880"/>
                <a:gd name="connsiteY31" fmla="*/ 153162 h 483775"/>
                <a:gd name="connsiteX32" fmla="*/ 928591 w 1333880"/>
                <a:gd name="connsiteY32" fmla="*/ 264986 h 483775"/>
                <a:gd name="connsiteX33" fmla="*/ 840581 w 1333880"/>
                <a:gd name="connsiteY33" fmla="*/ 369951 h 483775"/>
                <a:gd name="connsiteX34" fmla="*/ 566260 w 1333880"/>
                <a:gd name="connsiteY34" fmla="*/ 369951 h 483775"/>
                <a:gd name="connsiteX35" fmla="*/ 566260 w 1333880"/>
                <a:gd name="connsiteY35" fmla="*/ 313563 h 483775"/>
                <a:gd name="connsiteX36" fmla="*/ 812387 w 1333880"/>
                <a:gd name="connsiteY36" fmla="*/ 313563 h 483775"/>
                <a:gd name="connsiteX37" fmla="*/ 860393 w 1333880"/>
                <a:gd name="connsiteY37" fmla="*/ 264509 h 483775"/>
                <a:gd name="connsiteX38" fmla="*/ 811148 w 1333880"/>
                <a:gd name="connsiteY38" fmla="*/ 209455 h 483775"/>
                <a:gd name="connsiteX39" fmla="*/ 650366 w 1333880"/>
                <a:gd name="connsiteY39" fmla="*/ 209455 h 483775"/>
                <a:gd name="connsiteX40" fmla="*/ 559974 w 1333880"/>
                <a:gd name="connsiteY40" fmla="*/ 102680 h 483775"/>
                <a:gd name="connsiteX41" fmla="*/ 655033 w 1333880"/>
                <a:gd name="connsiteY41" fmla="*/ 0 h 483775"/>
                <a:gd name="connsiteX42" fmla="*/ 0 w 1333880"/>
                <a:gd name="connsiteY42" fmla="*/ 0 h 483775"/>
                <a:gd name="connsiteX43" fmla="*/ 426911 w 1333880"/>
                <a:gd name="connsiteY43" fmla="*/ 0 h 483775"/>
                <a:gd name="connsiteX44" fmla="*/ 519684 w 1333880"/>
                <a:gd name="connsiteY44" fmla="*/ 103632 h 483775"/>
                <a:gd name="connsiteX45" fmla="*/ 519684 w 1333880"/>
                <a:gd name="connsiteY45" fmla="*/ 370046 h 483775"/>
                <a:gd name="connsiteX46" fmla="*/ 452057 w 1333880"/>
                <a:gd name="connsiteY46" fmla="*/ 370046 h 483775"/>
                <a:gd name="connsiteX47" fmla="*/ 452057 w 1333880"/>
                <a:gd name="connsiteY47" fmla="*/ 122396 h 483775"/>
                <a:gd name="connsiteX48" fmla="*/ 392811 w 1333880"/>
                <a:gd name="connsiteY48" fmla="*/ 56293 h 483775"/>
                <a:gd name="connsiteX49" fmla="*/ 289941 w 1333880"/>
                <a:gd name="connsiteY49" fmla="*/ 56293 h 483775"/>
                <a:gd name="connsiteX50" fmla="*/ 289941 w 1333880"/>
                <a:gd name="connsiteY50" fmla="*/ 370046 h 483775"/>
                <a:gd name="connsiteX51" fmla="*/ 222218 w 1333880"/>
                <a:gd name="connsiteY51" fmla="*/ 370046 h 483775"/>
                <a:gd name="connsiteX52" fmla="*/ 222218 w 1333880"/>
                <a:gd name="connsiteY52" fmla="*/ 56293 h 483775"/>
                <a:gd name="connsiteX53" fmla="*/ 67532 w 1333880"/>
                <a:gd name="connsiteY53" fmla="*/ 56293 h 483775"/>
                <a:gd name="connsiteX54" fmla="*/ 67532 w 1333880"/>
                <a:gd name="connsiteY54" fmla="*/ 370046 h 483775"/>
                <a:gd name="connsiteX55" fmla="*/ 0 w 1333880"/>
                <a:gd name="connsiteY55" fmla="*/ 370046 h 48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33880" h="483775">
                  <a:moveTo>
                    <a:pt x="1127855" y="56388"/>
                  </a:moveTo>
                  <a:cubicBezTo>
                    <a:pt x="1058513" y="54769"/>
                    <a:pt x="1041654" y="70961"/>
                    <a:pt x="1039367" y="116396"/>
                  </a:cubicBezTo>
                  <a:cubicBezTo>
                    <a:pt x="1039082" y="121444"/>
                    <a:pt x="1039558" y="133160"/>
                    <a:pt x="1039367" y="182404"/>
                  </a:cubicBezTo>
                  <a:cubicBezTo>
                    <a:pt x="1039177" y="240411"/>
                    <a:pt x="1039367" y="260318"/>
                    <a:pt x="1039367" y="262604"/>
                  </a:cubicBezTo>
                  <a:cubicBezTo>
                    <a:pt x="1040415" y="316801"/>
                    <a:pt x="1082897" y="313944"/>
                    <a:pt x="1124807" y="313658"/>
                  </a:cubicBezTo>
                  <a:lnTo>
                    <a:pt x="1266539" y="313658"/>
                  </a:lnTo>
                  <a:lnTo>
                    <a:pt x="1266634" y="313754"/>
                  </a:lnTo>
                  <a:lnTo>
                    <a:pt x="1266634" y="56388"/>
                  </a:lnTo>
                  <a:cubicBezTo>
                    <a:pt x="1266634" y="56388"/>
                    <a:pt x="1131950" y="56483"/>
                    <a:pt x="1127855" y="56388"/>
                  </a:cubicBezTo>
                  <a:close/>
                  <a:moveTo>
                    <a:pt x="1104233" y="0"/>
                  </a:moveTo>
                  <a:lnTo>
                    <a:pt x="1104328" y="0"/>
                  </a:lnTo>
                  <a:lnTo>
                    <a:pt x="1333880" y="0"/>
                  </a:lnTo>
                  <a:lnTo>
                    <a:pt x="1333880" y="403098"/>
                  </a:lnTo>
                  <a:cubicBezTo>
                    <a:pt x="1333880" y="455867"/>
                    <a:pt x="1313497" y="483775"/>
                    <a:pt x="1250727" y="483775"/>
                  </a:cubicBezTo>
                  <a:lnTo>
                    <a:pt x="1017841" y="483775"/>
                  </a:lnTo>
                  <a:lnTo>
                    <a:pt x="1017841" y="424529"/>
                  </a:lnTo>
                  <a:lnTo>
                    <a:pt x="1229105" y="424529"/>
                  </a:lnTo>
                  <a:cubicBezTo>
                    <a:pt x="1261109" y="424529"/>
                    <a:pt x="1266539" y="412337"/>
                    <a:pt x="1266539" y="384429"/>
                  </a:cubicBezTo>
                  <a:cubicBezTo>
                    <a:pt x="1266539" y="381476"/>
                    <a:pt x="1266539" y="370142"/>
                    <a:pt x="1266539" y="370142"/>
                  </a:cubicBezTo>
                  <a:lnTo>
                    <a:pt x="1104423" y="370142"/>
                  </a:lnTo>
                  <a:cubicBezTo>
                    <a:pt x="1040511" y="370142"/>
                    <a:pt x="1019746" y="359855"/>
                    <a:pt x="1007173" y="350901"/>
                  </a:cubicBezTo>
                  <a:cubicBezTo>
                    <a:pt x="988504" y="335185"/>
                    <a:pt x="970216" y="316801"/>
                    <a:pt x="970216" y="251079"/>
                  </a:cubicBezTo>
                  <a:lnTo>
                    <a:pt x="970216" y="117443"/>
                  </a:lnTo>
                  <a:cubicBezTo>
                    <a:pt x="970502" y="55340"/>
                    <a:pt x="987075" y="37148"/>
                    <a:pt x="1005077" y="22765"/>
                  </a:cubicBezTo>
                  <a:cubicBezTo>
                    <a:pt x="1021556" y="9620"/>
                    <a:pt x="1044035" y="0"/>
                    <a:pt x="1104233" y="0"/>
                  </a:cubicBezTo>
                  <a:close/>
                  <a:moveTo>
                    <a:pt x="655033" y="0"/>
                  </a:moveTo>
                  <a:lnTo>
                    <a:pt x="915923" y="0"/>
                  </a:lnTo>
                  <a:lnTo>
                    <a:pt x="915923" y="56293"/>
                  </a:lnTo>
                  <a:lnTo>
                    <a:pt x="678751" y="56293"/>
                  </a:lnTo>
                  <a:cubicBezTo>
                    <a:pt x="631793" y="56293"/>
                    <a:pt x="627411" y="88392"/>
                    <a:pt x="627411" y="103823"/>
                  </a:cubicBezTo>
                  <a:cubicBezTo>
                    <a:pt x="627411" y="123539"/>
                    <a:pt x="627411" y="153162"/>
                    <a:pt x="671226" y="153162"/>
                  </a:cubicBezTo>
                  <a:lnTo>
                    <a:pt x="844867" y="153162"/>
                  </a:lnTo>
                  <a:cubicBezTo>
                    <a:pt x="903350" y="153162"/>
                    <a:pt x="928591" y="187738"/>
                    <a:pt x="928591" y="264986"/>
                  </a:cubicBezTo>
                  <a:cubicBezTo>
                    <a:pt x="928591" y="329756"/>
                    <a:pt x="908970" y="369951"/>
                    <a:pt x="840581" y="369951"/>
                  </a:cubicBezTo>
                  <a:lnTo>
                    <a:pt x="566260" y="369951"/>
                  </a:lnTo>
                  <a:lnTo>
                    <a:pt x="566260" y="313563"/>
                  </a:lnTo>
                  <a:lnTo>
                    <a:pt x="812387" y="313563"/>
                  </a:lnTo>
                  <a:cubicBezTo>
                    <a:pt x="860393" y="313563"/>
                    <a:pt x="860393" y="280511"/>
                    <a:pt x="860393" y="264509"/>
                  </a:cubicBezTo>
                  <a:cubicBezTo>
                    <a:pt x="860393" y="247269"/>
                    <a:pt x="860393" y="209455"/>
                    <a:pt x="811148" y="209455"/>
                  </a:cubicBezTo>
                  <a:lnTo>
                    <a:pt x="650366" y="209455"/>
                  </a:lnTo>
                  <a:cubicBezTo>
                    <a:pt x="584072" y="209455"/>
                    <a:pt x="559974" y="160592"/>
                    <a:pt x="559974" y="102680"/>
                  </a:cubicBezTo>
                  <a:cubicBezTo>
                    <a:pt x="559974" y="48482"/>
                    <a:pt x="582072" y="0"/>
                    <a:pt x="655033" y="0"/>
                  </a:cubicBezTo>
                  <a:close/>
                  <a:moveTo>
                    <a:pt x="0" y="0"/>
                  </a:moveTo>
                  <a:lnTo>
                    <a:pt x="426911" y="0"/>
                  </a:lnTo>
                  <a:cubicBezTo>
                    <a:pt x="493776" y="0"/>
                    <a:pt x="519779" y="53245"/>
                    <a:pt x="519684" y="103632"/>
                  </a:cubicBezTo>
                  <a:lnTo>
                    <a:pt x="519684" y="370046"/>
                  </a:lnTo>
                  <a:lnTo>
                    <a:pt x="452057" y="370046"/>
                  </a:lnTo>
                  <a:lnTo>
                    <a:pt x="452057" y="122396"/>
                  </a:lnTo>
                  <a:cubicBezTo>
                    <a:pt x="452057" y="77153"/>
                    <a:pt x="427577" y="56293"/>
                    <a:pt x="392811" y="56293"/>
                  </a:cubicBezTo>
                  <a:lnTo>
                    <a:pt x="289941" y="56293"/>
                  </a:lnTo>
                  <a:lnTo>
                    <a:pt x="289941" y="370046"/>
                  </a:lnTo>
                  <a:lnTo>
                    <a:pt x="222218" y="370046"/>
                  </a:lnTo>
                  <a:lnTo>
                    <a:pt x="222218" y="56293"/>
                  </a:lnTo>
                  <a:lnTo>
                    <a:pt x="67532" y="56293"/>
                  </a:lnTo>
                  <a:lnTo>
                    <a:pt x="67532" y="370046"/>
                  </a:lnTo>
                  <a:lnTo>
                    <a:pt x="0" y="370046"/>
                  </a:lnTo>
                  <a:close/>
                </a:path>
              </a:pathLst>
            </a:custGeom>
            <a:solidFill>
              <a:schemeClr val="tx2"/>
            </a:solidFill>
            <a:ln w="9525" cap="flat">
              <a:noFill/>
              <a:prstDash val="solid"/>
              <a:miter/>
            </a:ln>
          </p:spPr>
          <p:txBody>
            <a:bodyPr rtlCol="0" anchor="ctr"/>
            <a:lstStyle/>
            <a:p>
              <a:endParaRPr lang="de-DE">
                <a:latin typeface="Carnac Light" panose="02000503000000020004" pitchFamily="2" charset="77"/>
              </a:endParaRPr>
            </a:p>
          </p:txBody>
        </p:sp>
      </p:grpSp>
      <p:grpSp>
        <p:nvGrpSpPr>
          <p:cNvPr id="194" name="Gruppieren 193">
            <a:extLst>
              <a:ext uri="{FF2B5EF4-FFF2-40B4-BE49-F238E27FC236}">
                <a16:creationId xmlns:a16="http://schemas.microsoft.com/office/drawing/2014/main" id="{A3811DA7-364A-B341-4230-C092FB6FD351}"/>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5" name="Gerader Verbinder 194">
              <a:extLst>
                <a:ext uri="{FF2B5EF4-FFF2-40B4-BE49-F238E27FC236}">
                  <a16:creationId xmlns:a16="http://schemas.microsoft.com/office/drawing/2014/main" id="{3CCFF7FE-7565-4968-7AF1-0F0BE2DC7C3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C9ACC59B-A453-C6BE-6472-98C2ECF3FE4E}"/>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1131A078-F452-9C8F-058F-AF67F493B60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49E20DE0-9297-4E53-063D-891AB6F50B4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1D2A5BFC-0746-E840-27B7-8F7154B2173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DF6E6E15-004C-6BEF-0238-AAAD6F787678}"/>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1D008AEF-FD6F-5A25-7138-32B616CAFADF}"/>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2" name="Gruppieren 201">
            <a:extLst>
              <a:ext uri="{FF2B5EF4-FFF2-40B4-BE49-F238E27FC236}">
                <a16:creationId xmlns:a16="http://schemas.microsoft.com/office/drawing/2014/main" id="{1F7B3A71-9F16-6074-908B-10A4C7CD7286}"/>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3" name="Gerader Verbinder 202">
              <a:extLst>
                <a:ext uri="{FF2B5EF4-FFF2-40B4-BE49-F238E27FC236}">
                  <a16:creationId xmlns:a16="http://schemas.microsoft.com/office/drawing/2014/main" id="{D430E444-BF1C-AC31-31F4-C6D9432793EF}"/>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67259A84-FA09-C7B4-50E0-B3559027945F}"/>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2649E30C-CCC7-2984-0ED1-8C275546A63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E768D608-E96D-4626-3DA7-C9163C4970FE}"/>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FB5288C3-A930-1810-F79E-E619AE7366F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FF2651DF-BE15-D2D9-6867-0705D2E92D76}"/>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6F64EEDF-5235-E4C3-54EC-0B551AF39C8A}"/>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031459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946209BE-99B0-239D-3766-03FF0A1E5587}"/>
              </a:ext>
            </a:extLst>
          </p:cNvPr>
          <p:cNvSpPr>
            <a:spLocks noGrp="1"/>
          </p:cNvSpPr>
          <p:nvPr>
            <p:ph type="pic" sz="quarter" idx="13"/>
          </p:nvPr>
        </p:nvSpPr>
        <p:spPr>
          <a:xfrm>
            <a:off x="-31750" y="-44450"/>
            <a:ext cx="4100513" cy="6902450"/>
          </a:xfrm>
          <a:solidFill>
            <a:schemeClr val="bg2"/>
          </a:solidFill>
        </p:spPr>
        <p:txBody>
          <a:bodyPr/>
          <a:lstStyle/>
          <a:p>
            <a:endParaRPr lang="de-DE"/>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5890523" y="956286"/>
            <a:ext cx="5966516" cy="738664"/>
          </a:xfrm>
        </p:spPr>
        <p:txBody>
          <a:bodyPr vert="horz"/>
          <a:lstStyle>
            <a:lvl1pPr rtl="0">
              <a:defRPr/>
            </a:lvl1pPr>
          </a:lstStyle>
          <a:p>
            <a:r>
              <a:rPr lang="de-DE"/>
              <a:t>Mastertitelformat bearbeiten</a:t>
            </a:r>
          </a:p>
        </p:txBody>
      </p:sp>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11137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4666735" y="6443762"/>
            <a:ext cx="4968501" cy="153888"/>
          </a:xfrm>
        </p:spPr>
        <p:txBody>
          <a:bodyPr/>
          <a:lstStyle>
            <a:lvl1pPr rtl="0">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a:xfrm>
            <a:off x="11353966" y="6443762"/>
            <a:ext cx="431620" cy="153888"/>
          </a:xfrm>
        </p:spPr>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26807186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Spalt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651828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5" name="Textplatzhalter 4" descr="Linke Textbox">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1773239"/>
            <a:ext cx="5400544"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6" descr="Rechte Textbox">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6456480" y="1773239"/>
            <a:ext cx="5400557"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16215237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Spalt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335685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5" name="Textplatzhalter 4" descr="Linke Textbox">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90" y="1773239"/>
            <a:ext cx="3456346"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6" descr="Mittlere Textbox">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512282" y="1773239"/>
            <a:ext cx="3456350"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descr="Rechte Textbox">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400678" y="1773239"/>
            <a:ext cx="3456359"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31684967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und Bild 1">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647386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1" name="Bildplatzhalter 90" descr="Bild füllt 1/3 der Folie aus, rechts Titel, Untertitel und Inhaltsbereich, Bild ist änderbar">
            <a:extLst>
              <a:ext uri="{FF2B5EF4-FFF2-40B4-BE49-F238E27FC236}">
                <a16:creationId xmlns:a16="http://schemas.microsoft.com/office/drawing/2014/main" id="{007B28C8-5E97-92DD-BBC1-001A15B6747A}"/>
              </a:ext>
            </a:extLst>
          </p:cNvPr>
          <p:cNvSpPr>
            <a:spLocks noGrp="1"/>
          </p:cNvSpPr>
          <p:nvPr>
            <p:ph type="pic" sz="quarter" idx="14"/>
          </p:nvPr>
        </p:nvSpPr>
        <p:spPr bwMode="gray">
          <a:xfrm>
            <a:off x="0" y="1"/>
            <a:ext cx="4302682" cy="6857999"/>
          </a:xfrm>
          <a:custGeom>
            <a:avLst/>
            <a:gdLst>
              <a:gd name="connsiteX0" fmla="*/ 0 w 4302682"/>
              <a:gd name="connsiteY0" fmla="*/ 0 h 6857999"/>
              <a:gd name="connsiteX1" fmla="*/ 3867433 w 4302682"/>
              <a:gd name="connsiteY1" fmla="*/ 0 h 6857999"/>
              <a:gd name="connsiteX2" fmla="*/ 3867433 w 4302682"/>
              <a:gd name="connsiteY2" fmla="*/ 1557589 h 6857999"/>
              <a:gd name="connsiteX3" fmla="*/ 4083081 w 4302682"/>
              <a:gd name="connsiteY3" fmla="*/ 1773237 h 6857999"/>
              <a:gd name="connsiteX4" fmla="*/ 4302682 w 4302682"/>
              <a:gd name="connsiteY4" fmla="*/ 1773237 h 6857999"/>
              <a:gd name="connsiteX5" fmla="*/ 4302682 w 4302682"/>
              <a:gd name="connsiteY5" fmla="*/ 6857999 h 6857999"/>
              <a:gd name="connsiteX6" fmla="*/ 0 w 4302682"/>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02682" h="6857999">
                <a:moveTo>
                  <a:pt x="0" y="0"/>
                </a:moveTo>
                <a:lnTo>
                  <a:pt x="3867433" y="0"/>
                </a:lnTo>
                <a:lnTo>
                  <a:pt x="3867433" y="1557589"/>
                </a:lnTo>
                <a:cubicBezTo>
                  <a:pt x="3867433" y="1676688"/>
                  <a:pt x="3963982" y="1773237"/>
                  <a:pt x="4083081" y="1773237"/>
                </a:cubicBezTo>
                <a:lnTo>
                  <a:pt x="4302682" y="1773237"/>
                </a:lnTo>
                <a:lnTo>
                  <a:pt x="4302682" y="6857999"/>
                </a:lnTo>
                <a:lnTo>
                  <a:pt x="0" y="685799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4944328" y="296863"/>
            <a:ext cx="4974926"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4944328" y="620713"/>
            <a:ext cx="4974926" cy="738664"/>
          </a:xfrm>
        </p:spPr>
        <p:txBody>
          <a:bodyPr vert="horz"/>
          <a:lstStyle>
            <a:lvl1pPr rtl="0">
              <a:defRPr/>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4944324" y="1773239"/>
            <a:ext cx="6912714"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4944324" y="6443762"/>
            <a:ext cx="4974930" cy="153888"/>
          </a:xfrm>
        </p:spPr>
        <p:txBody>
          <a:bodyPr/>
          <a:lstStyle>
            <a:lvl1pPr rtl="0">
              <a:defRPr>
                <a:solidFill>
                  <a:schemeClr val="tx1"/>
                </a:solidFill>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8036245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ext und Bild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943067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2" name="Bildplatzhalter 111" descr="Bild füllt die Hälfte der Folie aus, links Titel , Untertitel und Inhaltsbereich, Bild ist änderbar">
            <a:extLst>
              <a:ext uri="{FF2B5EF4-FFF2-40B4-BE49-F238E27FC236}">
                <a16:creationId xmlns:a16="http://schemas.microsoft.com/office/drawing/2014/main" id="{57BE64DB-4F36-89B3-381F-1A5523E83103}"/>
              </a:ext>
            </a:extLst>
          </p:cNvPr>
          <p:cNvSpPr>
            <a:spLocks noGrp="1"/>
          </p:cNvSpPr>
          <p:nvPr>
            <p:ph type="pic" sz="quarter" idx="14"/>
          </p:nvPr>
        </p:nvSpPr>
        <p:spPr bwMode="gray">
          <a:xfrm>
            <a:off x="6024438" y="1"/>
            <a:ext cx="6167561" cy="6857999"/>
          </a:xfrm>
          <a:custGeom>
            <a:avLst/>
            <a:gdLst>
              <a:gd name="connsiteX0" fmla="*/ 4723326 w 6167561"/>
              <a:gd name="connsiteY0" fmla="*/ 454510 h 6857999"/>
              <a:gd name="connsiteX1" fmla="*/ 4662622 w 6167561"/>
              <a:gd name="connsiteY1" fmla="*/ 514510 h 6857999"/>
              <a:gd name="connsiteX2" fmla="*/ 4723326 w 6167561"/>
              <a:gd name="connsiteY2" fmla="*/ 574510 h 6857999"/>
              <a:gd name="connsiteX3" fmla="*/ 4784030 w 6167561"/>
              <a:gd name="connsiteY3" fmla="*/ 514510 h 6857999"/>
              <a:gd name="connsiteX4" fmla="*/ 4723326 w 6167561"/>
              <a:gd name="connsiteY4" fmla="*/ 454510 h 6857999"/>
              <a:gd name="connsiteX5" fmla="*/ 5673408 w 6167561"/>
              <a:gd name="connsiteY5" fmla="*/ 338981 h 6857999"/>
              <a:gd name="connsiteX6" fmla="*/ 5778153 w 6167561"/>
              <a:gd name="connsiteY6" fmla="*/ 338981 h 6857999"/>
              <a:gd name="connsiteX7" fmla="*/ 5778153 w 6167561"/>
              <a:gd name="connsiteY7" fmla="*/ 530745 h 6857999"/>
              <a:gd name="connsiteX8" fmla="*/ 5671266 w 6167561"/>
              <a:gd name="connsiteY8" fmla="*/ 530745 h 6857999"/>
              <a:gd name="connsiteX9" fmla="*/ 5606752 w 6167561"/>
              <a:gd name="connsiteY9" fmla="*/ 492628 h 6857999"/>
              <a:gd name="connsiteX10" fmla="*/ 5606752 w 6167561"/>
              <a:gd name="connsiteY10" fmla="*/ 432863 h 6857999"/>
              <a:gd name="connsiteX11" fmla="*/ 5606752 w 6167561"/>
              <a:gd name="connsiteY11" fmla="*/ 383687 h 6857999"/>
              <a:gd name="connsiteX12" fmla="*/ 5673408 w 6167561"/>
              <a:gd name="connsiteY12" fmla="*/ 338981 h 6857999"/>
              <a:gd name="connsiteX13" fmla="*/ 5655792 w 6167561"/>
              <a:gd name="connsiteY13" fmla="*/ 296863 h 6857999"/>
              <a:gd name="connsiteX14" fmla="*/ 5581042 w 6167561"/>
              <a:gd name="connsiteY14" fmla="*/ 313804 h 6857999"/>
              <a:gd name="connsiteX15" fmla="*/ 5554856 w 6167561"/>
              <a:gd name="connsiteY15" fmla="*/ 384392 h 6857999"/>
              <a:gd name="connsiteX16" fmla="*/ 5554856 w 6167561"/>
              <a:gd name="connsiteY16" fmla="*/ 483922 h 6857999"/>
              <a:gd name="connsiteX17" fmla="*/ 5582708 w 6167561"/>
              <a:gd name="connsiteY17" fmla="*/ 558275 h 6857999"/>
              <a:gd name="connsiteX18" fmla="*/ 5656030 w 6167561"/>
              <a:gd name="connsiteY18" fmla="*/ 572628 h 6857999"/>
              <a:gd name="connsiteX19" fmla="*/ 5778153 w 6167561"/>
              <a:gd name="connsiteY19" fmla="*/ 572628 h 6857999"/>
              <a:gd name="connsiteX20" fmla="*/ 5778153 w 6167561"/>
              <a:gd name="connsiteY20" fmla="*/ 583216 h 6857999"/>
              <a:gd name="connsiteX21" fmla="*/ 5749824 w 6167561"/>
              <a:gd name="connsiteY21" fmla="*/ 613098 h 6857999"/>
              <a:gd name="connsiteX22" fmla="*/ 5590564 w 6167561"/>
              <a:gd name="connsiteY22" fmla="*/ 613098 h 6857999"/>
              <a:gd name="connsiteX23" fmla="*/ 5590564 w 6167561"/>
              <a:gd name="connsiteY23" fmla="*/ 657334 h 6857999"/>
              <a:gd name="connsiteX24" fmla="*/ 5766250 w 6167561"/>
              <a:gd name="connsiteY24" fmla="*/ 657334 h 6857999"/>
              <a:gd name="connsiteX25" fmla="*/ 5828859 w 6167561"/>
              <a:gd name="connsiteY25" fmla="*/ 597098 h 6857999"/>
              <a:gd name="connsiteX26" fmla="*/ 5828859 w 6167561"/>
              <a:gd name="connsiteY26" fmla="*/ 296863 h 6857999"/>
              <a:gd name="connsiteX27" fmla="*/ 5317276 w 6167561"/>
              <a:gd name="connsiteY27" fmla="*/ 296863 h 6857999"/>
              <a:gd name="connsiteX28" fmla="*/ 5245621 w 6167561"/>
              <a:gd name="connsiteY28" fmla="*/ 373334 h 6857999"/>
              <a:gd name="connsiteX29" fmla="*/ 5313705 w 6167561"/>
              <a:gd name="connsiteY29" fmla="*/ 452863 h 6857999"/>
              <a:gd name="connsiteX30" fmla="*/ 5434876 w 6167561"/>
              <a:gd name="connsiteY30" fmla="*/ 452863 h 6857999"/>
              <a:gd name="connsiteX31" fmla="*/ 5472012 w 6167561"/>
              <a:gd name="connsiteY31" fmla="*/ 494039 h 6857999"/>
              <a:gd name="connsiteX32" fmla="*/ 5435828 w 6167561"/>
              <a:gd name="connsiteY32" fmla="*/ 530745 h 6857999"/>
              <a:gd name="connsiteX33" fmla="*/ 5250382 w 6167561"/>
              <a:gd name="connsiteY33" fmla="*/ 530745 h 6857999"/>
              <a:gd name="connsiteX34" fmla="*/ 5250382 w 6167561"/>
              <a:gd name="connsiteY34" fmla="*/ 572863 h 6857999"/>
              <a:gd name="connsiteX35" fmla="*/ 5457254 w 6167561"/>
              <a:gd name="connsiteY35" fmla="*/ 572863 h 6857999"/>
              <a:gd name="connsiteX36" fmla="*/ 5523671 w 6167561"/>
              <a:gd name="connsiteY36" fmla="*/ 494510 h 6857999"/>
              <a:gd name="connsiteX37" fmla="*/ 5460586 w 6167561"/>
              <a:gd name="connsiteY37" fmla="*/ 411216 h 6857999"/>
              <a:gd name="connsiteX38" fmla="*/ 5329655 w 6167561"/>
              <a:gd name="connsiteY38" fmla="*/ 411216 h 6857999"/>
              <a:gd name="connsiteX39" fmla="*/ 5296565 w 6167561"/>
              <a:gd name="connsiteY39" fmla="*/ 374510 h 6857999"/>
              <a:gd name="connsiteX40" fmla="*/ 5335130 w 6167561"/>
              <a:gd name="connsiteY40" fmla="*/ 338981 h 6857999"/>
              <a:gd name="connsiteX41" fmla="*/ 5513911 w 6167561"/>
              <a:gd name="connsiteY41" fmla="*/ 338981 h 6857999"/>
              <a:gd name="connsiteX42" fmla="*/ 5513911 w 6167561"/>
              <a:gd name="connsiteY42" fmla="*/ 297098 h 6857999"/>
              <a:gd name="connsiteX43" fmla="*/ 4823309 w 6167561"/>
              <a:gd name="connsiteY43" fmla="*/ 296863 h 6857999"/>
              <a:gd name="connsiteX44" fmla="*/ 4823309 w 6167561"/>
              <a:gd name="connsiteY44" fmla="*/ 572628 h 6857999"/>
              <a:gd name="connsiteX45" fmla="*/ 4874253 w 6167561"/>
              <a:gd name="connsiteY45" fmla="*/ 572628 h 6857999"/>
              <a:gd name="connsiteX46" fmla="*/ 4874253 w 6167561"/>
              <a:gd name="connsiteY46" fmla="*/ 338745 h 6857999"/>
              <a:gd name="connsiteX47" fmla="*/ 4990900 w 6167561"/>
              <a:gd name="connsiteY47" fmla="*/ 338745 h 6857999"/>
              <a:gd name="connsiteX48" fmla="*/ 4990900 w 6167561"/>
              <a:gd name="connsiteY48" fmla="*/ 572628 h 6857999"/>
              <a:gd name="connsiteX49" fmla="*/ 5042082 w 6167561"/>
              <a:gd name="connsiteY49" fmla="*/ 572628 h 6857999"/>
              <a:gd name="connsiteX50" fmla="*/ 5042082 w 6167561"/>
              <a:gd name="connsiteY50" fmla="*/ 338745 h 6857999"/>
              <a:gd name="connsiteX51" fmla="*/ 5119688 w 6167561"/>
              <a:gd name="connsiteY51" fmla="*/ 338745 h 6857999"/>
              <a:gd name="connsiteX52" fmla="*/ 5164444 w 6167561"/>
              <a:gd name="connsiteY52" fmla="*/ 387922 h 6857999"/>
              <a:gd name="connsiteX53" fmla="*/ 5164444 w 6167561"/>
              <a:gd name="connsiteY53" fmla="*/ 572628 h 6857999"/>
              <a:gd name="connsiteX54" fmla="*/ 5215388 w 6167561"/>
              <a:gd name="connsiteY54" fmla="*/ 572628 h 6857999"/>
              <a:gd name="connsiteX55" fmla="*/ 5215388 w 6167561"/>
              <a:gd name="connsiteY55" fmla="*/ 374039 h 6857999"/>
              <a:gd name="connsiteX56" fmla="*/ 5145399 w 6167561"/>
              <a:gd name="connsiteY56" fmla="*/ 296863 h 6857999"/>
              <a:gd name="connsiteX57" fmla="*/ 432037 w 6167561"/>
              <a:gd name="connsiteY57" fmla="*/ 0 h 6857999"/>
              <a:gd name="connsiteX58" fmla="*/ 6167561 w 6167561"/>
              <a:gd name="connsiteY58" fmla="*/ 0 h 6857999"/>
              <a:gd name="connsiteX59" fmla="*/ 6167561 w 6167561"/>
              <a:gd name="connsiteY59" fmla="*/ 6857999 h 6857999"/>
              <a:gd name="connsiteX60" fmla="*/ 0 w 6167561"/>
              <a:gd name="connsiteY60" fmla="*/ 6857999 h 6857999"/>
              <a:gd name="connsiteX61" fmla="*/ 0 w 6167561"/>
              <a:gd name="connsiteY61" fmla="*/ 1773237 h 6857999"/>
              <a:gd name="connsiteX62" fmla="*/ 216034 w 6167561"/>
              <a:gd name="connsiteY62" fmla="*/ 1773237 h 6857999"/>
              <a:gd name="connsiteX63" fmla="*/ 231901 w 6167561"/>
              <a:gd name="connsiteY63" fmla="*/ 1773237 h 6857999"/>
              <a:gd name="connsiteX64" fmla="*/ 248100 w 6167561"/>
              <a:gd name="connsiteY64" fmla="*/ 1770005 h 6857999"/>
              <a:gd name="connsiteX65" fmla="*/ 259566 w 6167561"/>
              <a:gd name="connsiteY65" fmla="*/ 1768849 h 6857999"/>
              <a:gd name="connsiteX66" fmla="*/ 269778 w 6167561"/>
              <a:gd name="connsiteY66" fmla="*/ 1765679 h 6857999"/>
              <a:gd name="connsiteX67" fmla="*/ 277036 w 6167561"/>
              <a:gd name="connsiteY67" fmla="*/ 1764231 h 6857999"/>
              <a:gd name="connsiteX68" fmla="*/ 279296 w 6167561"/>
              <a:gd name="connsiteY68" fmla="*/ 1762724 h 6857999"/>
              <a:gd name="connsiteX69" fmla="*/ 300112 w 6167561"/>
              <a:gd name="connsiteY69" fmla="*/ 1756263 h 6857999"/>
              <a:gd name="connsiteX70" fmla="*/ 432037 w 6167561"/>
              <a:gd name="connsiteY70" fmla="*/ 1557234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167561" h="6857999">
                <a:moveTo>
                  <a:pt x="4723326" y="454510"/>
                </a:moveTo>
                <a:cubicBezTo>
                  <a:pt x="4689760" y="454510"/>
                  <a:pt x="4662622" y="481334"/>
                  <a:pt x="4662622" y="514510"/>
                </a:cubicBezTo>
                <a:cubicBezTo>
                  <a:pt x="4662622" y="547686"/>
                  <a:pt x="4689760" y="574510"/>
                  <a:pt x="4723326" y="574510"/>
                </a:cubicBezTo>
                <a:cubicBezTo>
                  <a:pt x="4756892" y="574510"/>
                  <a:pt x="4784030" y="547686"/>
                  <a:pt x="4784030" y="514510"/>
                </a:cubicBezTo>
                <a:cubicBezTo>
                  <a:pt x="4784030" y="481334"/>
                  <a:pt x="4756892" y="454510"/>
                  <a:pt x="4723326" y="454510"/>
                </a:cubicBezTo>
                <a:close/>
                <a:moveTo>
                  <a:pt x="5673408" y="338981"/>
                </a:moveTo>
                <a:lnTo>
                  <a:pt x="5778153" y="338981"/>
                </a:lnTo>
                <a:lnTo>
                  <a:pt x="5778153" y="530745"/>
                </a:lnTo>
                <a:lnTo>
                  <a:pt x="5671266" y="530745"/>
                </a:lnTo>
                <a:cubicBezTo>
                  <a:pt x="5639604" y="530981"/>
                  <a:pt x="5607704" y="533098"/>
                  <a:pt x="5606752" y="492628"/>
                </a:cubicBezTo>
                <a:cubicBezTo>
                  <a:pt x="5606752" y="490981"/>
                  <a:pt x="5606514" y="476157"/>
                  <a:pt x="5606752" y="432863"/>
                </a:cubicBezTo>
                <a:cubicBezTo>
                  <a:pt x="5606991" y="396157"/>
                  <a:pt x="5606514" y="387451"/>
                  <a:pt x="5606752" y="383687"/>
                </a:cubicBezTo>
                <a:cubicBezTo>
                  <a:pt x="5608418" y="349804"/>
                  <a:pt x="5621036" y="337804"/>
                  <a:pt x="5673408" y="338981"/>
                </a:cubicBezTo>
                <a:close/>
                <a:moveTo>
                  <a:pt x="5655792" y="296863"/>
                </a:moveTo>
                <a:cubicBezTo>
                  <a:pt x="5610324" y="296863"/>
                  <a:pt x="5593422" y="303922"/>
                  <a:pt x="5581042" y="313804"/>
                </a:cubicBezTo>
                <a:cubicBezTo>
                  <a:pt x="5567474" y="324628"/>
                  <a:pt x="5555094" y="338039"/>
                  <a:pt x="5554856" y="384392"/>
                </a:cubicBezTo>
                <a:lnTo>
                  <a:pt x="5554856" y="483922"/>
                </a:lnTo>
                <a:cubicBezTo>
                  <a:pt x="5554856" y="532863"/>
                  <a:pt x="5568663" y="546745"/>
                  <a:pt x="5582708" y="558275"/>
                </a:cubicBezTo>
                <a:cubicBezTo>
                  <a:pt x="5592230" y="564863"/>
                  <a:pt x="5607943" y="572628"/>
                  <a:pt x="5656030" y="572628"/>
                </a:cubicBezTo>
                <a:lnTo>
                  <a:pt x="5778153" y="572628"/>
                </a:lnTo>
                <a:lnTo>
                  <a:pt x="5778153" y="583216"/>
                </a:lnTo>
                <a:cubicBezTo>
                  <a:pt x="5778153" y="604157"/>
                  <a:pt x="5774106" y="613098"/>
                  <a:pt x="5749824" y="613098"/>
                </a:cubicBezTo>
                <a:lnTo>
                  <a:pt x="5590564" y="613098"/>
                </a:lnTo>
                <a:lnTo>
                  <a:pt x="5590564" y="657334"/>
                </a:lnTo>
                <a:lnTo>
                  <a:pt x="5766250" y="657334"/>
                </a:lnTo>
                <a:cubicBezTo>
                  <a:pt x="5813624" y="657334"/>
                  <a:pt x="5828859" y="636392"/>
                  <a:pt x="5828859" y="597098"/>
                </a:cubicBezTo>
                <a:lnTo>
                  <a:pt x="5828859" y="296863"/>
                </a:lnTo>
                <a:close/>
                <a:moveTo>
                  <a:pt x="5317276" y="296863"/>
                </a:moveTo>
                <a:cubicBezTo>
                  <a:pt x="5262286" y="296863"/>
                  <a:pt x="5245621" y="333098"/>
                  <a:pt x="5245621" y="373334"/>
                </a:cubicBezTo>
                <a:cubicBezTo>
                  <a:pt x="5245621" y="416628"/>
                  <a:pt x="5263713" y="452863"/>
                  <a:pt x="5313705" y="452863"/>
                </a:cubicBezTo>
                <a:lnTo>
                  <a:pt x="5434876" y="452863"/>
                </a:lnTo>
                <a:cubicBezTo>
                  <a:pt x="5472012" y="452863"/>
                  <a:pt x="5472012" y="481098"/>
                  <a:pt x="5472012" y="494039"/>
                </a:cubicBezTo>
                <a:cubicBezTo>
                  <a:pt x="5472012" y="506039"/>
                  <a:pt x="5472012" y="530745"/>
                  <a:pt x="5435828" y="530745"/>
                </a:cubicBezTo>
                <a:lnTo>
                  <a:pt x="5250382" y="530745"/>
                </a:lnTo>
                <a:lnTo>
                  <a:pt x="5250382" y="572863"/>
                </a:lnTo>
                <a:lnTo>
                  <a:pt x="5457254" y="572863"/>
                </a:lnTo>
                <a:cubicBezTo>
                  <a:pt x="5508912" y="572863"/>
                  <a:pt x="5523671" y="542981"/>
                  <a:pt x="5523671" y="494510"/>
                </a:cubicBezTo>
                <a:cubicBezTo>
                  <a:pt x="5523671" y="436863"/>
                  <a:pt x="5504626" y="411216"/>
                  <a:pt x="5460586" y="411216"/>
                </a:cubicBezTo>
                <a:lnTo>
                  <a:pt x="5329655" y="411216"/>
                </a:lnTo>
                <a:cubicBezTo>
                  <a:pt x="5296565" y="411216"/>
                  <a:pt x="5296565" y="389098"/>
                  <a:pt x="5296565" y="374510"/>
                </a:cubicBezTo>
                <a:cubicBezTo>
                  <a:pt x="5296565" y="362981"/>
                  <a:pt x="5299898" y="338981"/>
                  <a:pt x="5335130" y="338981"/>
                </a:cubicBezTo>
                <a:lnTo>
                  <a:pt x="5513911" y="338981"/>
                </a:lnTo>
                <a:lnTo>
                  <a:pt x="5513911" y="297098"/>
                </a:lnTo>
                <a:close/>
                <a:moveTo>
                  <a:pt x="4823309" y="296863"/>
                </a:moveTo>
                <a:lnTo>
                  <a:pt x="4823309" y="572628"/>
                </a:lnTo>
                <a:lnTo>
                  <a:pt x="4874253" y="572628"/>
                </a:lnTo>
                <a:lnTo>
                  <a:pt x="4874253" y="338745"/>
                </a:lnTo>
                <a:lnTo>
                  <a:pt x="4990900" y="338745"/>
                </a:lnTo>
                <a:lnTo>
                  <a:pt x="4990900" y="572628"/>
                </a:lnTo>
                <a:lnTo>
                  <a:pt x="5042082" y="572628"/>
                </a:lnTo>
                <a:lnTo>
                  <a:pt x="5042082" y="338745"/>
                </a:lnTo>
                <a:lnTo>
                  <a:pt x="5119688" y="338745"/>
                </a:lnTo>
                <a:cubicBezTo>
                  <a:pt x="5145876" y="338745"/>
                  <a:pt x="5164444" y="354275"/>
                  <a:pt x="5164444" y="387922"/>
                </a:cubicBezTo>
                <a:lnTo>
                  <a:pt x="5164444" y="572628"/>
                </a:lnTo>
                <a:lnTo>
                  <a:pt x="5215388" y="572628"/>
                </a:lnTo>
                <a:lnTo>
                  <a:pt x="5215388" y="374039"/>
                </a:lnTo>
                <a:cubicBezTo>
                  <a:pt x="5215388" y="336392"/>
                  <a:pt x="5195868" y="296863"/>
                  <a:pt x="5145399" y="296863"/>
                </a:cubicBezTo>
                <a:close/>
                <a:moveTo>
                  <a:pt x="432037" y="0"/>
                </a:moveTo>
                <a:lnTo>
                  <a:pt x="6167561" y="0"/>
                </a:lnTo>
                <a:lnTo>
                  <a:pt x="6167561" y="6857999"/>
                </a:lnTo>
                <a:lnTo>
                  <a:pt x="0" y="6857999"/>
                </a:lnTo>
                <a:lnTo>
                  <a:pt x="0" y="1773237"/>
                </a:lnTo>
                <a:lnTo>
                  <a:pt x="216034" y="1773237"/>
                </a:lnTo>
                <a:lnTo>
                  <a:pt x="231901" y="1773237"/>
                </a:lnTo>
                <a:lnTo>
                  <a:pt x="248100" y="1770005"/>
                </a:lnTo>
                <a:lnTo>
                  <a:pt x="259566" y="1768849"/>
                </a:lnTo>
                <a:lnTo>
                  <a:pt x="269778" y="1765679"/>
                </a:lnTo>
                <a:lnTo>
                  <a:pt x="277036" y="1764231"/>
                </a:lnTo>
                <a:lnTo>
                  <a:pt x="279296" y="1762724"/>
                </a:lnTo>
                <a:lnTo>
                  <a:pt x="300112" y="1756263"/>
                </a:lnTo>
                <a:cubicBezTo>
                  <a:pt x="377639" y="1723471"/>
                  <a:pt x="432037" y="1646705"/>
                  <a:pt x="432037" y="1557234"/>
                </a:cubicBez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4752478"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4752478" cy="738664"/>
          </a:xfrm>
        </p:spPr>
        <p:txBody>
          <a:bodyPr vert="horz"/>
          <a:lstStyle>
            <a:lvl1pPr rtl="0">
              <a:defRPr/>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1773239"/>
            <a:ext cx="4752478"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0" name="Fußzeilenplatzhalter 189">
            <a:extLst>
              <a:ext uri="{FF2B5EF4-FFF2-40B4-BE49-F238E27FC236}">
                <a16:creationId xmlns:a16="http://schemas.microsoft.com/office/drawing/2014/main" id="{67B18C16-2F61-1021-9B48-B18BC20FCE67}"/>
              </a:ext>
            </a:extLst>
          </p:cNvPr>
          <p:cNvSpPr>
            <a:spLocks noGrp="1"/>
          </p:cNvSpPr>
          <p:nvPr>
            <p:ph type="ftr" sz="quarter" idx="15"/>
          </p:nvPr>
        </p:nvSpPr>
        <p:spPr/>
        <p:txBody>
          <a:bodyPr/>
          <a:lstStyle/>
          <a:p>
            <a:r>
              <a:rPr lang="de-DE"/>
              <a:t>© msg systems ag | 2026 | msg-Unternehmenspräsentation</a:t>
            </a:r>
          </a:p>
        </p:txBody>
      </p:sp>
      <p:sp>
        <p:nvSpPr>
          <p:cNvPr id="191" name="Foliennummernplatzhalter 190">
            <a:extLst>
              <a:ext uri="{FF2B5EF4-FFF2-40B4-BE49-F238E27FC236}">
                <a16:creationId xmlns:a16="http://schemas.microsoft.com/office/drawing/2014/main" id="{0B3DE3E7-6D43-4C73-D660-56E6F7F5C4AF}"/>
              </a:ext>
            </a:extLst>
          </p:cNvPr>
          <p:cNvSpPr>
            <a:spLocks noGrp="1"/>
          </p:cNvSpPr>
          <p:nvPr>
            <p:ph type="sldNum" sz="quarter" idx="16"/>
          </p:nvPr>
        </p:nvSpPr>
        <p:spPr/>
        <p:txBody>
          <a:bodyPr/>
          <a:lstStyle/>
          <a:p>
            <a:fld id="{1FBD72F1-A42A-46B0-A7F8-CE6A9835826C}" type="slidenum">
              <a:rPr lang="de-DE" smtClean="0"/>
              <a:pPr/>
              <a:t>‹Nr.›</a:t>
            </a:fld>
            <a:endParaRPr lang="de-DE"/>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2" name="Gruppieren 191">
            <a:extLst>
              <a:ext uri="{FF2B5EF4-FFF2-40B4-BE49-F238E27FC236}">
                <a16:creationId xmlns:a16="http://schemas.microsoft.com/office/drawing/2014/main" id="{1BA20C28-79F2-9738-9E50-6E0E9750D059}"/>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3" name="Gerader Verbinder 192">
              <a:extLst>
                <a:ext uri="{FF2B5EF4-FFF2-40B4-BE49-F238E27FC236}">
                  <a16:creationId xmlns:a16="http://schemas.microsoft.com/office/drawing/2014/main" id="{8D63515B-3B43-AB26-E9E3-89C8659B42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99C20835-E9FB-1935-9D61-D84D83233FF2}"/>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3BA779B9-F1CD-F5A8-F03D-DC78B400A77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7420CD6B-0A6A-D11E-66AF-E051F2E7635C}"/>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D48DE708-1895-C519-B9D6-126F977B7AA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D6967E30-C443-00CF-A7BA-79D0E2C404E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9AE451F8-C42C-4721-59C0-479232D8153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0" name="Gruppieren 199">
            <a:extLst>
              <a:ext uri="{FF2B5EF4-FFF2-40B4-BE49-F238E27FC236}">
                <a16:creationId xmlns:a16="http://schemas.microsoft.com/office/drawing/2014/main" id="{DA2D2EB0-948B-927A-7662-FE166F488140}"/>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1" name="Gerader Verbinder 200">
              <a:extLst>
                <a:ext uri="{FF2B5EF4-FFF2-40B4-BE49-F238E27FC236}">
                  <a16:creationId xmlns:a16="http://schemas.microsoft.com/office/drawing/2014/main" id="{FE70C339-172E-1446-E7A4-86796BD7D2C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EC6DEAAA-937C-5CE7-372C-51DF31EFC475}"/>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609A464F-0F7E-1105-294A-F88EF6A444F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1C4CEF7C-D076-B3CC-4BD9-121DB82AC51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E8E63755-61F0-E89C-5474-F1EB8B96F83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069519D7-EF0B-1C42-8342-B4685D57BA8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80048A09-0E4B-F0BE-508B-4F79BBFC26A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213756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 Spalten mit Bilder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25743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7"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4"/>
            <a:ext cx="3456347" cy="2880350"/>
          </a:xfrm>
        </p:spPr>
        <p:txBody>
          <a:bodyPr vert="horz">
            <a:noAutofit/>
          </a:bodyPr>
          <a:lstStyle>
            <a:lvl1pPr rtl="0">
              <a:defRPr sz="4000"/>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3933028"/>
            <a:ext cx="3455927"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117" name="Bildplatzhalter 116" descr="Dreispaltiges Layout mit zwei Bildern und drei Textboxen. Links oben ein großer Titel, darunter eine Textbox. In der mittleren und rechten Spalte jeweils ein änderbares Bild, darunter jeweils eine Textbox. Dies ist das mittlere Bild.">
            <a:extLst>
              <a:ext uri="{FF2B5EF4-FFF2-40B4-BE49-F238E27FC236}">
                <a16:creationId xmlns:a16="http://schemas.microsoft.com/office/drawing/2014/main" id="{9D5C2B19-DABE-822C-8F3C-89F9CFD1D62D}"/>
              </a:ext>
            </a:extLst>
          </p:cNvPr>
          <p:cNvSpPr>
            <a:spLocks noGrp="1"/>
          </p:cNvSpPr>
          <p:nvPr>
            <p:ph type="pic" sz="quarter" idx="16"/>
          </p:nvPr>
        </p:nvSpPr>
        <p:spPr bwMode="gray">
          <a:xfrm>
            <a:off x="4511859" y="1362076"/>
            <a:ext cx="3456353" cy="2138988"/>
          </a:xfrm>
          <a:custGeom>
            <a:avLst/>
            <a:gdLst>
              <a:gd name="connsiteX0" fmla="*/ 215995 w 3456353"/>
              <a:gd name="connsiteY0" fmla="*/ 0 h 2138988"/>
              <a:gd name="connsiteX1" fmla="*/ 3240358 w 3456353"/>
              <a:gd name="connsiteY1" fmla="*/ 0 h 2138988"/>
              <a:gd name="connsiteX2" fmla="*/ 3456353 w 3456353"/>
              <a:gd name="connsiteY2" fmla="*/ 215995 h 2138988"/>
              <a:gd name="connsiteX3" fmla="*/ 3456353 w 3456353"/>
              <a:gd name="connsiteY3" fmla="*/ 1922993 h 2138988"/>
              <a:gd name="connsiteX4" fmla="*/ 3240358 w 3456353"/>
              <a:gd name="connsiteY4" fmla="*/ 2138988 h 2138988"/>
              <a:gd name="connsiteX5" fmla="*/ 215995 w 3456353"/>
              <a:gd name="connsiteY5" fmla="*/ 2138988 h 2138988"/>
              <a:gd name="connsiteX6" fmla="*/ 0 w 3456353"/>
              <a:gd name="connsiteY6" fmla="*/ 1922993 h 2138988"/>
              <a:gd name="connsiteX7" fmla="*/ 0 w 3456353"/>
              <a:gd name="connsiteY7" fmla="*/ 215995 h 2138988"/>
              <a:gd name="connsiteX8" fmla="*/ 215995 w 3456353"/>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3" h="2138988">
                <a:moveTo>
                  <a:pt x="215995" y="0"/>
                </a:moveTo>
                <a:lnTo>
                  <a:pt x="3240358" y="0"/>
                </a:lnTo>
                <a:cubicBezTo>
                  <a:pt x="3359649" y="0"/>
                  <a:pt x="3456353" y="96704"/>
                  <a:pt x="3456353" y="215995"/>
                </a:cubicBezTo>
                <a:lnTo>
                  <a:pt x="3456353" y="1922993"/>
                </a:lnTo>
                <a:cubicBezTo>
                  <a:pt x="3456353" y="2042284"/>
                  <a:pt x="3359649" y="2138988"/>
                  <a:pt x="3240358"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511860" y="3933028"/>
            <a:ext cx="3456771"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118" name="Bildplatzhalter 117" descr="Dies ist das rechte Bild.">
            <a:extLst>
              <a:ext uri="{FF2B5EF4-FFF2-40B4-BE49-F238E27FC236}">
                <a16:creationId xmlns:a16="http://schemas.microsoft.com/office/drawing/2014/main" id="{A91CF5A0-04E0-B185-BDC7-3E99D8F8AB6A}"/>
              </a:ext>
            </a:extLst>
          </p:cNvPr>
          <p:cNvSpPr>
            <a:spLocks noGrp="1"/>
          </p:cNvSpPr>
          <p:nvPr>
            <p:ph type="pic" sz="quarter" idx="17"/>
          </p:nvPr>
        </p:nvSpPr>
        <p:spPr bwMode="gray">
          <a:xfrm>
            <a:off x="8400255" y="1362076"/>
            <a:ext cx="3456781" cy="2138988"/>
          </a:xfrm>
          <a:custGeom>
            <a:avLst/>
            <a:gdLst>
              <a:gd name="connsiteX0" fmla="*/ 215995 w 3456781"/>
              <a:gd name="connsiteY0" fmla="*/ 0 h 2138988"/>
              <a:gd name="connsiteX1" fmla="*/ 3240786 w 3456781"/>
              <a:gd name="connsiteY1" fmla="*/ 0 h 2138988"/>
              <a:gd name="connsiteX2" fmla="*/ 3456781 w 3456781"/>
              <a:gd name="connsiteY2" fmla="*/ 215995 h 2138988"/>
              <a:gd name="connsiteX3" fmla="*/ 3456781 w 3456781"/>
              <a:gd name="connsiteY3" fmla="*/ 1922993 h 2138988"/>
              <a:gd name="connsiteX4" fmla="*/ 3240786 w 3456781"/>
              <a:gd name="connsiteY4" fmla="*/ 2138988 h 2138988"/>
              <a:gd name="connsiteX5" fmla="*/ 215995 w 3456781"/>
              <a:gd name="connsiteY5" fmla="*/ 2138988 h 2138988"/>
              <a:gd name="connsiteX6" fmla="*/ 0 w 3456781"/>
              <a:gd name="connsiteY6" fmla="*/ 1922993 h 2138988"/>
              <a:gd name="connsiteX7" fmla="*/ 0 w 3456781"/>
              <a:gd name="connsiteY7" fmla="*/ 215995 h 2138988"/>
              <a:gd name="connsiteX8" fmla="*/ 215995 w 3456781"/>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781" h="2138988">
                <a:moveTo>
                  <a:pt x="215995" y="0"/>
                </a:moveTo>
                <a:lnTo>
                  <a:pt x="3240786" y="0"/>
                </a:lnTo>
                <a:cubicBezTo>
                  <a:pt x="3360077" y="0"/>
                  <a:pt x="3456781" y="96704"/>
                  <a:pt x="3456781" y="215995"/>
                </a:cubicBezTo>
                <a:lnTo>
                  <a:pt x="3456781" y="1922993"/>
                </a:lnTo>
                <a:cubicBezTo>
                  <a:pt x="3456781" y="2042284"/>
                  <a:pt x="3360077" y="2138988"/>
                  <a:pt x="3240786"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4" name="Textplatzhalter 3">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400256" y="3933028"/>
            <a:ext cx="3456781"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AE37D6E0-CB33-67A9-50BE-7308C98FBA21}"/>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7" name="Gerader Verbinder 196">
              <a:extLst>
                <a:ext uri="{FF2B5EF4-FFF2-40B4-BE49-F238E27FC236}">
                  <a16:creationId xmlns:a16="http://schemas.microsoft.com/office/drawing/2014/main" id="{64B2C7E9-DB90-68A2-6932-6B65EF8801E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939AB7D2-9D21-C89D-9DC5-AD442C26D73A}"/>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5E095254-7DB8-B32E-6FAB-1F4F656A4ED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248EF858-4C0E-A705-4453-A433ABF81D12}"/>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666B404F-95C8-B077-3AB8-06EA3F5D0290}"/>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E48A5C6D-E38D-D5FB-814C-2D6E086F482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08B4C178-F535-C4C2-04B7-C9F78FED80A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4" name="Gruppieren 203">
            <a:extLst>
              <a:ext uri="{FF2B5EF4-FFF2-40B4-BE49-F238E27FC236}">
                <a16:creationId xmlns:a16="http://schemas.microsoft.com/office/drawing/2014/main" id="{D327A1F8-1AE0-83D5-5569-9F22A6B122E8}"/>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5" name="Gerader Verbinder 204">
              <a:extLst>
                <a:ext uri="{FF2B5EF4-FFF2-40B4-BE49-F238E27FC236}">
                  <a16:creationId xmlns:a16="http://schemas.microsoft.com/office/drawing/2014/main" id="{25173145-014F-B2BB-D4E7-FF72C2AC8BB0}"/>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92B88E33-C9FD-0D1B-283A-E32F0A893868}"/>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E382BA12-42DB-C8B4-6497-C599AEDEC461}"/>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4B219BC5-78FC-DE84-3B02-5D756B8731EE}"/>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660354FD-0B89-AFBB-1723-F9409138BAD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0" name="Gerader Verbinder 209">
              <a:extLst>
                <a:ext uri="{FF2B5EF4-FFF2-40B4-BE49-F238E27FC236}">
                  <a16:creationId xmlns:a16="http://schemas.microsoft.com/office/drawing/2014/main" id="{912A9A16-9510-4314-1982-3B4F6D3198C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1" name="Gerader Verbinder 210">
              <a:extLst>
                <a:ext uri="{FF2B5EF4-FFF2-40B4-BE49-F238E27FC236}">
                  <a16:creationId xmlns:a16="http://schemas.microsoft.com/office/drawing/2014/main" id="{F3B22BC5-BAB1-30F5-E4A4-024AD8B9607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66410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 Spalten mit Bilder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4032342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7"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3456347" cy="2880351"/>
          </a:xfrm>
        </p:spPr>
        <p:txBody>
          <a:bodyPr vert="horz">
            <a:noAutofit/>
          </a:bodyPr>
          <a:lstStyle>
            <a:lvl1pPr rtl="0">
              <a:defRPr sz="4000"/>
            </a:lvl1pPr>
          </a:lstStyle>
          <a:p>
            <a:r>
              <a:rPr lang="de-DE"/>
              <a:t>Mastertitelformat bearbeiten</a:t>
            </a:r>
          </a:p>
        </p:txBody>
      </p:sp>
      <p:sp>
        <p:nvSpPr>
          <p:cNvPr id="116" name="Bildplatzhalter 115" descr="Dreispaltiges Layout mit zwei Bildern und einer Textbox. Links oben ein großer Titel. In der mittleren Spalte ein großes änderbares Bild. In der rechten Spalte ein kleineres änderbares Bild, darunter eine Textbox. Dies ist das mittlere Bild.">
            <a:extLst>
              <a:ext uri="{FF2B5EF4-FFF2-40B4-BE49-F238E27FC236}">
                <a16:creationId xmlns:a16="http://schemas.microsoft.com/office/drawing/2014/main" id="{FEFFA24E-B115-921F-79AC-EED42D946BB8}"/>
              </a:ext>
            </a:extLst>
          </p:cNvPr>
          <p:cNvSpPr>
            <a:spLocks noGrp="1"/>
          </p:cNvSpPr>
          <p:nvPr>
            <p:ph type="pic" sz="quarter" idx="16"/>
          </p:nvPr>
        </p:nvSpPr>
        <p:spPr bwMode="gray">
          <a:xfrm>
            <a:off x="4511860" y="1362076"/>
            <a:ext cx="3456351" cy="4730750"/>
          </a:xfrm>
          <a:custGeom>
            <a:avLst/>
            <a:gdLst>
              <a:gd name="connsiteX0" fmla="*/ 215987 w 3456351"/>
              <a:gd name="connsiteY0" fmla="*/ 0 h 4730750"/>
              <a:gd name="connsiteX1" fmla="*/ 3240364 w 3456351"/>
              <a:gd name="connsiteY1" fmla="*/ 0 h 4730750"/>
              <a:gd name="connsiteX2" fmla="*/ 3456351 w 3456351"/>
              <a:gd name="connsiteY2" fmla="*/ 215987 h 4730750"/>
              <a:gd name="connsiteX3" fmla="*/ 3456351 w 3456351"/>
              <a:gd name="connsiteY3" fmla="*/ 4514763 h 4730750"/>
              <a:gd name="connsiteX4" fmla="*/ 3240364 w 3456351"/>
              <a:gd name="connsiteY4" fmla="*/ 4730750 h 4730750"/>
              <a:gd name="connsiteX5" fmla="*/ 215987 w 3456351"/>
              <a:gd name="connsiteY5" fmla="*/ 4730750 h 4730750"/>
              <a:gd name="connsiteX6" fmla="*/ 0 w 3456351"/>
              <a:gd name="connsiteY6" fmla="*/ 4514763 h 4730750"/>
              <a:gd name="connsiteX7" fmla="*/ 0 w 3456351"/>
              <a:gd name="connsiteY7" fmla="*/ 215987 h 4730750"/>
              <a:gd name="connsiteX8" fmla="*/ 215987 w 3456351"/>
              <a:gd name="connsiteY8" fmla="*/ 0 h 473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1" h="4730750">
                <a:moveTo>
                  <a:pt x="215987" y="0"/>
                </a:moveTo>
                <a:lnTo>
                  <a:pt x="3240364" y="0"/>
                </a:lnTo>
                <a:cubicBezTo>
                  <a:pt x="3359650" y="0"/>
                  <a:pt x="3456351" y="96701"/>
                  <a:pt x="3456351" y="215987"/>
                </a:cubicBezTo>
                <a:lnTo>
                  <a:pt x="3456351" y="4514763"/>
                </a:lnTo>
                <a:cubicBezTo>
                  <a:pt x="3456351" y="4634049"/>
                  <a:pt x="3359650" y="4730750"/>
                  <a:pt x="3240364" y="4730750"/>
                </a:cubicBezTo>
                <a:lnTo>
                  <a:pt x="215987" y="4730750"/>
                </a:lnTo>
                <a:cubicBezTo>
                  <a:pt x="96701" y="4730750"/>
                  <a:pt x="0" y="4634049"/>
                  <a:pt x="0" y="4514763"/>
                </a:cubicBezTo>
                <a:lnTo>
                  <a:pt x="0" y="215987"/>
                </a:lnTo>
                <a:cubicBezTo>
                  <a:pt x="0" y="96701"/>
                  <a:pt x="96701" y="0"/>
                  <a:pt x="215987"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115" name="Bildplatzhalter 114" descr="Dies ist das rechte Bild.">
            <a:extLst>
              <a:ext uri="{FF2B5EF4-FFF2-40B4-BE49-F238E27FC236}">
                <a16:creationId xmlns:a16="http://schemas.microsoft.com/office/drawing/2014/main" id="{BD88A33B-654C-6BAD-94F3-ABC9AE59D19F}"/>
              </a:ext>
            </a:extLst>
          </p:cNvPr>
          <p:cNvSpPr>
            <a:spLocks noGrp="1"/>
          </p:cNvSpPr>
          <p:nvPr>
            <p:ph type="pic" sz="quarter" idx="17"/>
          </p:nvPr>
        </p:nvSpPr>
        <p:spPr bwMode="gray">
          <a:xfrm>
            <a:off x="8400679" y="1362076"/>
            <a:ext cx="3456357" cy="2138988"/>
          </a:xfrm>
          <a:custGeom>
            <a:avLst/>
            <a:gdLst>
              <a:gd name="connsiteX0" fmla="*/ 215995 w 3456357"/>
              <a:gd name="connsiteY0" fmla="*/ 0 h 2138988"/>
              <a:gd name="connsiteX1" fmla="*/ 3240362 w 3456357"/>
              <a:gd name="connsiteY1" fmla="*/ 0 h 2138988"/>
              <a:gd name="connsiteX2" fmla="*/ 3456357 w 3456357"/>
              <a:gd name="connsiteY2" fmla="*/ 215995 h 2138988"/>
              <a:gd name="connsiteX3" fmla="*/ 3456357 w 3456357"/>
              <a:gd name="connsiteY3" fmla="*/ 1922993 h 2138988"/>
              <a:gd name="connsiteX4" fmla="*/ 3240362 w 3456357"/>
              <a:gd name="connsiteY4" fmla="*/ 2138988 h 2138988"/>
              <a:gd name="connsiteX5" fmla="*/ 215995 w 3456357"/>
              <a:gd name="connsiteY5" fmla="*/ 2138988 h 2138988"/>
              <a:gd name="connsiteX6" fmla="*/ 0 w 3456357"/>
              <a:gd name="connsiteY6" fmla="*/ 1922993 h 2138988"/>
              <a:gd name="connsiteX7" fmla="*/ 0 w 3456357"/>
              <a:gd name="connsiteY7" fmla="*/ 215995 h 2138988"/>
              <a:gd name="connsiteX8" fmla="*/ 215995 w 3456357"/>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7" h="2138988">
                <a:moveTo>
                  <a:pt x="215995" y="0"/>
                </a:moveTo>
                <a:lnTo>
                  <a:pt x="3240362" y="0"/>
                </a:lnTo>
                <a:cubicBezTo>
                  <a:pt x="3359653" y="0"/>
                  <a:pt x="3456357" y="96704"/>
                  <a:pt x="3456357" y="215995"/>
                </a:cubicBezTo>
                <a:lnTo>
                  <a:pt x="3456357" y="1922993"/>
                </a:lnTo>
                <a:cubicBezTo>
                  <a:pt x="3456357" y="2042284"/>
                  <a:pt x="3359653" y="2138988"/>
                  <a:pt x="3240362"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8400257" y="3933028"/>
            <a:ext cx="3456780" cy="2159798"/>
          </a:xfrm>
        </p:spPr>
        <p:txBody>
          <a:bodyPr/>
          <a:lstStyle>
            <a:lvl1pPr rtl="0">
              <a:defRPr b="0">
                <a:latin typeface="+mn-lt"/>
              </a:defRPr>
            </a:lvl1pPr>
            <a:lvl2pPr marL="0" indent="0" rtl="0">
              <a:buNone/>
              <a:defRPr>
                <a:latin typeface="+mn-lt"/>
              </a:defRPr>
            </a:lvl2pPr>
            <a:lvl3pPr marL="216000" rtl="0">
              <a:defRPr>
                <a:latin typeface="+mn-lt"/>
              </a:defRPr>
            </a:lvl3pPr>
          </a:lstStyle>
          <a:p>
            <a:pPr lvl="0"/>
            <a:r>
              <a:rPr lang="de-DE"/>
              <a:t>Mastertextformat bearbeiten</a:t>
            </a:r>
          </a:p>
          <a:p>
            <a:pPr lvl="1"/>
            <a:r>
              <a:rPr lang="de-DE"/>
              <a:t>Zweite Ebene</a:t>
            </a:r>
          </a:p>
          <a:p>
            <a:pPr lvl="2"/>
            <a:r>
              <a:rPr lang="de-DE"/>
              <a:t>Drit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489D6F4E-3D3F-73BA-7F58-E72CE133B300}"/>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5" name="Gerader Verbinder 194">
              <a:extLst>
                <a:ext uri="{FF2B5EF4-FFF2-40B4-BE49-F238E27FC236}">
                  <a16:creationId xmlns:a16="http://schemas.microsoft.com/office/drawing/2014/main" id="{514B6F31-3983-B3CE-843C-A9F4E3C33933}"/>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88FC63F3-EE15-A067-3A08-32DFA67543A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CB19517A-C964-5D5D-B0B2-785A9C4B7E5F}"/>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1D967DFA-4C9E-06D9-08E1-76C69BFFA6F5}"/>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96AA835-CA65-DF6B-E8A3-074126C11E26}"/>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3EB54851-2DE0-8BFD-30EF-CD0400059DC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9EAECAE7-9FD8-F8D1-8A6B-DC47A44CDAA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2" name="Gruppieren 201">
            <a:extLst>
              <a:ext uri="{FF2B5EF4-FFF2-40B4-BE49-F238E27FC236}">
                <a16:creationId xmlns:a16="http://schemas.microsoft.com/office/drawing/2014/main" id="{CC938821-6834-4061-1ABF-6F6348DF4403}"/>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3" name="Gerader Verbinder 202">
              <a:extLst>
                <a:ext uri="{FF2B5EF4-FFF2-40B4-BE49-F238E27FC236}">
                  <a16:creationId xmlns:a16="http://schemas.microsoft.com/office/drawing/2014/main" id="{626DB4AC-C497-2018-E1D0-B15DFC71C88E}"/>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FEFABE42-4274-B7B1-2908-6C01C1A4743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07923EB1-16D4-8092-D93E-64364672A83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7EE55FA5-9516-18AF-E196-2A0A78530CA2}"/>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B1BA0DA9-8D4A-9E5A-28AC-C934CF36506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143699DA-CA7D-16B8-3933-B86A0CAC0C6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5CD47C8A-68F6-41F2-F45B-3E683A45B74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061906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 Bilder mit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080577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8"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4"/>
            <a:ext cx="3456348" cy="1798764"/>
          </a:xfrm>
        </p:spPr>
        <p:txBody>
          <a:bodyPr vert="horz">
            <a:noAutofit/>
          </a:bodyPr>
          <a:lstStyle>
            <a:lvl1pPr rtl="0">
              <a:defRPr sz="4000"/>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2853134"/>
            <a:ext cx="3456347" cy="3239692"/>
          </a:xfrm>
        </p:spPr>
        <p:txBody>
          <a:bodyPr/>
          <a:lstStyle>
            <a:lvl1pPr rtl="0">
              <a:defRPr b="0">
                <a:latin typeface="+mn-lt"/>
              </a:defRPr>
            </a:lvl1pPr>
            <a:lvl2pPr marL="0" indent="0" rtl="0">
              <a:buNone/>
              <a:defRPr>
                <a:latin typeface="+mn-lt"/>
              </a:defRPr>
            </a:lvl2pPr>
            <a:lvl3pPr marL="216000" rtl="0">
              <a:defRPr>
                <a:latin typeface="+mn-lt"/>
              </a:defRPr>
            </a:lvl3pPr>
          </a:lstStyle>
          <a:p>
            <a:pPr lvl="0"/>
            <a:r>
              <a:rPr lang="de-DE"/>
              <a:t>Mastertextformat bearbeiten</a:t>
            </a:r>
          </a:p>
          <a:p>
            <a:pPr lvl="1"/>
            <a:r>
              <a:rPr lang="de-DE"/>
              <a:t>Zweite Ebene</a:t>
            </a:r>
          </a:p>
          <a:p>
            <a:pPr lvl="2"/>
            <a:r>
              <a:rPr lang="de-DE"/>
              <a:t>Dritte Ebene</a:t>
            </a:r>
          </a:p>
        </p:txBody>
      </p:sp>
      <p:sp>
        <p:nvSpPr>
          <p:cNvPr id="115" name="Bildplatzhalter 114" descr="Zweigeteiltes Layout mit zwei Bildern und einer Textbox. Links oben ein großer Titel, darunter eine Textbox. Rechts ein großes änderbares Bild. Links davon überlappt ein kleines änderbares Bild das große Bild. Dies ist das große Bild rechts.">
            <a:extLst>
              <a:ext uri="{FF2B5EF4-FFF2-40B4-BE49-F238E27FC236}">
                <a16:creationId xmlns:a16="http://schemas.microsoft.com/office/drawing/2014/main" id="{7CF65C7C-431B-1AF4-03E9-78BEFCD80B09}"/>
              </a:ext>
            </a:extLst>
          </p:cNvPr>
          <p:cNvSpPr>
            <a:spLocks noGrp="1"/>
          </p:cNvSpPr>
          <p:nvPr>
            <p:ph type="pic" sz="quarter" idx="17"/>
          </p:nvPr>
        </p:nvSpPr>
        <p:spPr bwMode="gray">
          <a:xfrm>
            <a:off x="6888526" y="1362075"/>
            <a:ext cx="5303471" cy="4730751"/>
          </a:xfrm>
          <a:custGeom>
            <a:avLst/>
            <a:gdLst>
              <a:gd name="connsiteX0" fmla="*/ 4389071 w 5303471"/>
              <a:gd name="connsiteY0" fmla="*/ 0 h 4730751"/>
              <a:gd name="connsiteX1" fmla="*/ 5303471 w 5303471"/>
              <a:gd name="connsiteY1" fmla="*/ 0 h 4730751"/>
              <a:gd name="connsiteX2" fmla="*/ 5303471 w 5303471"/>
              <a:gd name="connsiteY2" fmla="*/ 216007 h 4730751"/>
              <a:gd name="connsiteX3" fmla="*/ 5303471 w 5303471"/>
              <a:gd name="connsiteY3" fmla="*/ 4514745 h 4730751"/>
              <a:gd name="connsiteX4" fmla="*/ 5303471 w 5303471"/>
              <a:gd name="connsiteY4" fmla="*/ 4730733 h 4730751"/>
              <a:gd name="connsiteX5" fmla="*/ 5087643 w 5303471"/>
              <a:gd name="connsiteY5" fmla="*/ 4730733 h 4730751"/>
              <a:gd name="connsiteX6" fmla="*/ 5087465 w 5303471"/>
              <a:gd name="connsiteY6" fmla="*/ 4730751 h 4730751"/>
              <a:gd name="connsiteX7" fmla="*/ 216006 w 5303471"/>
              <a:gd name="connsiteY7" fmla="*/ 4730751 h 4730751"/>
              <a:gd name="connsiteX8" fmla="*/ 0 w 5303471"/>
              <a:gd name="connsiteY8" fmla="*/ 4514745 h 4730751"/>
              <a:gd name="connsiteX9" fmla="*/ 0 w 5303471"/>
              <a:gd name="connsiteY9" fmla="*/ 216007 h 4730751"/>
              <a:gd name="connsiteX10" fmla="*/ 216006 w 5303471"/>
              <a:gd name="connsiteY10" fmla="*/ 1 h 4730751"/>
              <a:gd name="connsiteX11" fmla="*/ 4389071 w 5303471"/>
              <a:gd name="connsiteY11" fmla="*/ 1 h 473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03471" h="4730751">
                <a:moveTo>
                  <a:pt x="4389071" y="0"/>
                </a:moveTo>
                <a:lnTo>
                  <a:pt x="5303471" y="0"/>
                </a:lnTo>
                <a:lnTo>
                  <a:pt x="5303471" y="216007"/>
                </a:lnTo>
                <a:lnTo>
                  <a:pt x="5303471" y="4514745"/>
                </a:lnTo>
                <a:lnTo>
                  <a:pt x="5303471" y="4730733"/>
                </a:lnTo>
                <a:lnTo>
                  <a:pt x="5087643" y="4730733"/>
                </a:lnTo>
                <a:lnTo>
                  <a:pt x="5087465" y="4730751"/>
                </a:lnTo>
                <a:lnTo>
                  <a:pt x="216006" y="4730751"/>
                </a:lnTo>
                <a:cubicBezTo>
                  <a:pt x="96709" y="4730751"/>
                  <a:pt x="0" y="4634042"/>
                  <a:pt x="0" y="4514745"/>
                </a:cubicBezTo>
                <a:lnTo>
                  <a:pt x="0" y="216007"/>
                </a:lnTo>
                <a:cubicBezTo>
                  <a:pt x="0" y="96710"/>
                  <a:pt x="96709" y="1"/>
                  <a:pt x="216006" y="1"/>
                </a:cubicBezTo>
                <a:lnTo>
                  <a:pt x="4389071" y="1"/>
                </a:ln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15" name="Bildplatzhalter 14" descr="Dies ist das kleine Bild.">
            <a:extLst>
              <a:ext uri="{FF2B5EF4-FFF2-40B4-BE49-F238E27FC236}">
                <a16:creationId xmlns:a16="http://schemas.microsoft.com/office/drawing/2014/main" id="{17442453-1754-875C-3B79-1656AB8E5A7E}"/>
              </a:ext>
            </a:extLst>
          </p:cNvPr>
          <p:cNvSpPr>
            <a:spLocks noGrp="1"/>
          </p:cNvSpPr>
          <p:nvPr>
            <p:ph type="pic" sz="quarter" idx="16"/>
          </p:nvPr>
        </p:nvSpPr>
        <p:spPr bwMode="gray">
          <a:xfrm>
            <a:off x="4727882" y="2853133"/>
            <a:ext cx="2808286" cy="2591741"/>
          </a:xfrm>
          <a:prstGeom prst="roundRect">
            <a:avLst>
              <a:gd name="adj" fmla="val 8334"/>
            </a:avLst>
          </a:pr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3" name="Gruppieren 192">
            <a:extLst>
              <a:ext uri="{FF2B5EF4-FFF2-40B4-BE49-F238E27FC236}">
                <a16:creationId xmlns:a16="http://schemas.microsoft.com/office/drawing/2014/main" id="{CFC190BE-C025-07E9-8F3B-A5C0823667E9}"/>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4" name="Gerader Verbinder 193">
              <a:extLst>
                <a:ext uri="{FF2B5EF4-FFF2-40B4-BE49-F238E27FC236}">
                  <a16:creationId xmlns:a16="http://schemas.microsoft.com/office/drawing/2014/main" id="{39E7FD98-1F5F-9389-6D98-E23881BC4C8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3A8187C5-E9DF-116E-2082-4962145F9CA8}"/>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512C6319-7407-AA3F-B542-E65722D7EF2C}"/>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A28FABA8-2A59-455E-3E44-ED7B9778BB43}"/>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F7E6EC70-FB20-ED3B-9089-BAFCFFDD0786}"/>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A45894CC-ECCA-00A6-5B51-D42A72E19BA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CF4F44B9-D646-2936-DF99-DE360CBB80C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1" name="Gruppieren 200">
            <a:extLst>
              <a:ext uri="{FF2B5EF4-FFF2-40B4-BE49-F238E27FC236}">
                <a16:creationId xmlns:a16="http://schemas.microsoft.com/office/drawing/2014/main" id="{147157ED-F86B-4A76-DF44-6078377EAF4E}"/>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2" name="Gerader Verbinder 201">
              <a:extLst>
                <a:ext uri="{FF2B5EF4-FFF2-40B4-BE49-F238E27FC236}">
                  <a16:creationId xmlns:a16="http://schemas.microsoft.com/office/drawing/2014/main" id="{679A183C-CD11-4367-E24A-7CD26B3E633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260391BA-A2AF-7831-C79D-CF37A3BF83D9}"/>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A48559C3-A3ED-0148-D4AA-1BC9BEDC54C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F2F86103-863F-DEF0-775E-8A94EAA8326F}"/>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B5AB6C27-248A-8110-7E6F-E1914FC7BD94}"/>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A8E0EB02-0F3F-19C4-A9B1-97E06CA2D83F}"/>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99A84C1C-967E-59B8-566D-8090ECFC1C4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361905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 und Aufzählun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546461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9600"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9600" cy="738664"/>
          </a:xfrm>
        </p:spPr>
        <p:txBody>
          <a:bodyPr vert="horz"/>
          <a:lstStyle>
            <a:lvl1pPr rtl="0">
              <a:defRPr/>
            </a:lvl1pPr>
          </a:lstStyle>
          <a:p>
            <a:r>
              <a:rPr lang="de-DE"/>
              <a:t>Mastertitelformat bearbeiten</a:t>
            </a:r>
          </a:p>
        </p:txBody>
      </p:sp>
      <p:sp>
        <p:nvSpPr>
          <p:cNvPr id="112" name="Bildplatzhalter 111" descr="Zweigeteiltes Layout mit einem Bild links und einer Textbox rechts daneben. Das Bild ist änderbar.">
            <a:extLst>
              <a:ext uri="{FF2B5EF4-FFF2-40B4-BE49-F238E27FC236}">
                <a16:creationId xmlns:a16="http://schemas.microsoft.com/office/drawing/2014/main" id="{A07BD216-7CD4-49F3-6495-F6DEE6A0DB8A}"/>
              </a:ext>
            </a:extLst>
          </p:cNvPr>
          <p:cNvSpPr>
            <a:spLocks noGrp="1"/>
          </p:cNvSpPr>
          <p:nvPr>
            <p:ph type="pic" sz="quarter" idx="14"/>
          </p:nvPr>
        </p:nvSpPr>
        <p:spPr bwMode="gray">
          <a:xfrm>
            <a:off x="623888" y="1773240"/>
            <a:ext cx="7344743" cy="4319586"/>
          </a:xfrm>
          <a:custGeom>
            <a:avLst/>
            <a:gdLst>
              <a:gd name="connsiteX0" fmla="*/ 0 w 7344743"/>
              <a:gd name="connsiteY0" fmla="*/ 0 h 4319586"/>
              <a:gd name="connsiteX1" fmla="*/ 215979 w 7344743"/>
              <a:gd name="connsiteY1" fmla="*/ 0 h 4319586"/>
              <a:gd name="connsiteX2" fmla="*/ 914400 w 7344743"/>
              <a:gd name="connsiteY2" fmla="*/ 0 h 4319586"/>
              <a:gd name="connsiteX3" fmla="*/ 7128764 w 7344743"/>
              <a:gd name="connsiteY3" fmla="*/ 0 h 4319586"/>
              <a:gd name="connsiteX4" fmla="*/ 7344743 w 7344743"/>
              <a:gd name="connsiteY4" fmla="*/ 215979 h 4319586"/>
              <a:gd name="connsiteX5" fmla="*/ 7344743 w 7344743"/>
              <a:gd name="connsiteY5" fmla="*/ 3405186 h 4319586"/>
              <a:gd name="connsiteX6" fmla="*/ 7344743 w 7344743"/>
              <a:gd name="connsiteY6" fmla="*/ 4103607 h 4319586"/>
              <a:gd name="connsiteX7" fmla="*/ 7344743 w 7344743"/>
              <a:gd name="connsiteY7" fmla="*/ 4319586 h 4319586"/>
              <a:gd name="connsiteX8" fmla="*/ 7128764 w 7344743"/>
              <a:gd name="connsiteY8" fmla="*/ 4319586 h 4319586"/>
              <a:gd name="connsiteX9" fmla="*/ 6430343 w 7344743"/>
              <a:gd name="connsiteY9" fmla="*/ 4319586 h 4319586"/>
              <a:gd name="connsiteX10" fmla="*/ 215979 w 7344743"/>
              <a:gd name="connsiteY10" fmla="*/ 4319586 h 4319586"/>
              <a:gd name="connsiteX11" fmla="*/ 0 w 7344743"/>
              <a:gd name="connsiteY11" fmla="*/ 4103607 h 4319586"/>
              <a:gd name="connsiteX12" fmla="*/ 0 w 7344743"/>
              <a:gd name="connsiteY12" fmla="*/ 914400 h 4319586"/>
              <a:gd name="connsiteX13" fmla="*/ 0 w 7344743"/>
              <a:gd name="connsiteY13" fmla="*/ 215979 h 431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44743" h="4319586">
                <a:moveTo>
                  <a:pt x="0" y="0"/>
                </a:moveTo>
                <a:lnTo>
                  <a:pt x="215979" y="0"/>
                </a:lnTo>
                <a:lnTo>
                  <a:pt x="914400" y="0"/>
                </a:lnTo>
                <a:lnTo>
                  <a:pt x="7128764" y="0"/>
                </a:lnTo>
                <a:cubicBezTo>
                  <a:pt x="7248046" y="0"/>
                  <a:pt x="7344743" y="96697"/>
                  <a:pt x="7344743" y="215979"/>
                </a:cubicBezTo>
                <a:lnTo>
                  <a:pt x="7344743" y="3405186"/>
                </a:lnTo>
                <a:lnTo>
                  <a:pt x="7344743" y="4103607"/>
                </a:lnTo>
                <a:lnTo>
                  <a:pt x="7344743" y="4319586"/>
                </a:lnTo>
                <a:lnTo>
                  <a:pt x="7128764" y="4319586"/>
                </a:lnTo>
                <a:lnTo>
                  <a:pt x="6430343" y="4319586"/>
                </a:lnTo>
                <a:lnTo>
                  <a:pt x="215979" y="4319586"/>
                </a:lnTo>
                <a:cubicBezTo>
                  <a:pt x="96697" y="4319586"/>
                  <a:pt x="0" y="4222889"/>
                  <a:pt x="0" y="4103607"/>
                </a:cubicBezTo>
                <a:lnTo>
                  <a:pt x="0" y="914400"/>
                </a:lnTo>
                <a:lnTo>
                  <a:pt x="0" y="21597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8400675" y="1773239"/>
            <a:ext cx="3456361" cy="4319582"/>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3" name="Fußzeilenplatzhalter 112">
            <a:extLst>
              <a:ext uri="{FF2B5EF4-FFF2-40B4-BE49-F238E27FC236}">
                <a16:creationId xmlns:a16="http://schemas.microsoft.com/office/drawing/2014/main" id="{B3554CE7-D079-62C5-F0BB-8AC8D0B72B58}"/>
              </a:ext>
            </a:extLst>
          </p:cNvPr>
          <p:cNvSpPr>
            <a:spLocks noGrp="1"/>
          </p:cNvSpPr>
          <p:nvPr>
            <p:ph type="ftr" sz="quarter" idx="15"/>
          </p:nvPr>
        </p:nvSpPr>
        <p:spPr/>
        <p:txBody>
          <a:bodyPr/>
          <a:lstStyle/>
          <a:p>
            <a:r>
              <a:rPr lang="de-DE"/>
              <a:t>© msg systems ag | 2026 | msg-Unternehmenspräsentation</a:t>
            </a:r>
          </a:p>
        </p:txBody>
      </p:sp>
      <p:sp>
        <p:nvSpPr>
          <p:cNvPr id="114" name="Foliennummernplatzhalter 113">
            <a:extLst>
              <a:ext uri="{FF2B5EF4-FFF2-40B4-BE49-F238E27FC236}">
                <a16:creationId xmlns:a16="http://schemas.microsoft.com/office/drawing/2014/main" id="{2CAB392D-6C48-3132-7A9C-6201CDE708AD}"/>
              </a:ext>
            </a:extLst>
          </p:cNvPr>
          <p:cNvSpPr>
            <a:spLocks noGrp="1"/>
          </p:cNvSpPr>
          <p:nvPr>
            <p:ph type="sldNum" sz="quarter" idx="16"/>
          </p:nvPr>
        </p:nvSpPr>
        <p:spPr/>
        <p:txBody>
          <a:bodyPr/>
          <a:lstStyle/>
          <a:p>
            <a:fld id="{1FBD72F1-A42A-46B0-A7F8-CE6A9835826C}" type="slidenum">
              <a:rPr lang="de-DE" smtClean="0"/>
              <a:pPr/>
              <a:t>‹Nr.›</a:t>
            </a:fld>
            <a:endParaRPr lang="de-DE"/>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23" name="Gruppieren 122">
            <a:extLst>
              <a:ext uri="{FF2B5EF4-FFF2-40B4-BE49-F238E27FC236}">
                <a16:creationId xmlns:a16="http://schemas.microsoft.com/office/drawing/2014/main" id="{62EA6990-D6CC-3EC8-2D35-74606677D161}"/>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24" name="Gerader Verbinder 123">
              <a:extLst>
                <a:ext uri="{FF2B5EF4-FFF2-40B4-BE49-F238E27FC236}">
                  <a16:creationId xmlns:a16="http://schemas.microsoft.com/office/drawing/2014/main" id="{C93D21CF-E90A-A46B-4CA6-95F10B16CC4B}"/>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id="{20B2FDF5-A78D-BCFE-32D1-1307C61A9CD6}"/>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6" name="Gerader Verbinder 125">
              <a:extLst>
                <a:ext uri="{FF2B5EF4-FFF2-40B4-BE49-F238E27FC236}">
                  <a16:creationId xmlns:a16="http://schemas.microsoft.com/office/drawing/2014/main" id="{79DF1EC5-73F1-8C56-3697-679573889965}"/>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9BE78E2E-E9BF-379A-09C5-9E5CF527A34B}"/>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8" name="Gerader Verbinder 127">
              <a:extLst>
                <a:ext uri="{FF2B5EF4-FFF2-40B4-BE49-F238E27FC236}">
                  <a16:creationId xmlns:a16="http://schemas.microsoft.com/office/drawing/2014/main" id="{62EDBECE-29A3-D399-3AAF-921E886D418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9" name="Gerader Verbinder 128">
              <a:extLst>
                <a:ext uri="{FF2B5EF4-FFF2-40B4-BE49-F238E27FC236}">
                  <a16:creationId xmlns:a16="http://schemas.microsoft.com/office/drawing/2014/main" id="{F7354BD8-357A-4B52-21AC-4147BF0000B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AE5DB696-88E1-DE1C-B7F0-7289B10829A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196316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osaik">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817619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9600"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9600" cy="738664"/>
          </a:xfrm>
        </p:spPr>
        <p:txBody>
          <a:bodyPr vert="horz"/>
          <a:lstStyle>
            <a:lvl1pPr rtl="0">
              <a:defRPr/>
            </a:lvl1pPr>
          </a:lstStyle>
          <a:p>
            <a:r>
              <a:rPr lang="de-DE"/>
              <a:t>Mastertitelformat bearbeiten</a:t>
            </a:r>
          </a:p>
        </p:txBody>
      </p:sp>
      <p:sp>
        <p:nvSpPr>
          <p:cNvPr id="48" name="Bildplatzhalter 47" descr="6 Bilder als Kacheln angeordnet. Links 4 kleine Bilder, davon 2 oben, 2 unten. Rechts zwei größere Bilder nebeneinander, doppelt so hoch wie die kleinen Bilder links. Dies ist das erste kleine Bild in der oberen Reihe.">
            <a:extLst>
              <a:ext uri="{FF2B5EF4-FFF2-40B4-BE49-F238E27FC236}">
                <a16:creationId xmlns:a16="http://schemas.microsoft.com/office/drawing/2014/main" id="{A9429A64-91BA-CAB5-60A6-0D7B218748A9}"/>
              </a:ext>
            </a:extLst>
          </p:cNvPr>
          <p:cNvSpPr>
            <a:spLocks noGrp="1"/>
          </p:cNvSpPr>
          <p:nvPr>
            <p:ph type="pic" sz="quarter" idx="13"/>
          </p:nvPr>
        </p:nvSpPr>
        <p:spPr bwMode="gray">
          <a:xfrm>
            <a:off x="623888" y="1773240"/>
            <a:ext cx="2808287" cy="2178049"/>
          </a:xfrm>
          <a:custGeom>
            <a:avLst/>
            <a:gdLst>
              <a:gd name="connsiteX0" fmla="*/ 215670 w 2808287"/>
              <a:gd name="connsiteY0" fmla="*/ 0 h 2178049"/>
              <a:gd name="connsiteX1" fmla="*/ 2092007 w 2808287"/>
              <a:gd name="connsiteY1" fmla="*/ 0 h 2178049"/>
              <a:gd name="connsiteX2" fmla="*/ 2592617 w 2808287"/>
              <a:gd name="connsiteY2" fmla="*/ 0 h 2178049"/>
              <a:gd name="connsiteX3" fmla="*/ 2808287 w 2808287"/>
              <a:gd name="connsiteY3" fmla="*/ 0 h 2178049"/>
              <a:gd name="connsiteX4" fmla="*/ 2808287 w 2808287"/>
              <a:gd name="connsiteY4" fmla="*/ 215670 h 2178049"/>
              <a:gd name="connsiteX5" fmla="*/ 2808287 w 2808287"/>
              <a:gd name="connsiteY5" fmla="*/ 1962379 h 2178049"/>
              <a:gd name="connsiteX6" fmla="*/ 2808287 w 2808287"/>
              <a:gd name="connsiteY6" fmla="*/ 2178049 h 2178049"/>
              <a:gd name="connsiteX7" fmla="*/ 2592617 w 2808287"/>
              <a:gd name="connsiteY7" fmla="*/ 2178049 h 2178049"/>
              <a:gd name="connsiteX8" fmla="*/ 2432539 w 2808287"/>
              <a:gd name="connsiteY8" fmla="*/ 2178049 h 2178049"/>
              <a:gd name="connsiteX9" fmla="*/ 2092007 w 2808287"/>
              <a:gd name="connsiteY9" fmla="*/ 2178049 h 2178049"/>
              <a:gd name="connsiteX10" fmla="*/ 215670 w 2808287"/>
              <a:gd name="connsiteY10" fmla="*/ 2178049 h 2178049"/>
              <a:gd name="connsiteX11" fmla="*/ 0 w 2808287"/>
              <a:gd name="connsiteY11" fmla="*/ 2178049 h 2178049"/>
              <a:gd name="connsiteX12" fmla="*/ 0 w 2808287"/>
              <a:gd name="connsiteY12" fmla="*/ 1962379 h 2178049"/>
              <a:gd name="connsiteX13" fmla="*/ 0 w 2808287"/>
              <a:gd name="connsiteY13" fmla="*/ 1251900 h 2178049"/>
              <a:gd name="connsiteX14" fmla="*/ 0 w 2808287"/>
              <a:gd name="connsiteY14" fmla="*/ 215670 h 2178049"/>
              <a:gd name="connsiteX15" fmla="*/ 215670 w 2808287"/>
              <a:gd name="connsiteY15" fmla="*/ 0 h 217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08287" h="2178049">
                <a:moveTo>
                  <a:pt x="215670" y="0"/>
                </a:moveTo>
                <a:lnTo>
                  <a:pt x="2092007" y="0"/>
                </a:lnTo>
                <a:lnTo>
                  <a:pt x="2592617" y="0"/>
                </a:lnTo>
                <a:lnTo>
                  <a:pt x="2808287" y="0"/>
                </a:lnTo>
                <a:lnTo>
                  <a:pt x="2808287" y="215670"/>
                </a:lnTo>
                <a:lnTo>
                  <a:pt x="2808287" y="1962379"/>
                </a:lnTo>
                <a:lnTo>
                  <a:pt x="2808287" y="2178049"/>
                </a:lnTo>
                <a:lnTo>
                  <a:pt x="2592617" y="2178049"/>
                </a:lnTo>
                <a:lnTo>
                  <a:pt x="2432539" y="2178049"/>
                </a:lnTo>
                <a:lnTo>
                  <a:pt x="2092007" y="2178049"/>
                </a:lnTo>
                <a:lnTo>
                  <a:pt x="215670" y="2178049"/>
                </a:lnTo>
                <a:lnTo>
                  <a:pt x="0" y="2178049"/>
                </a:lnTo>
                <a:lnTo>
                  <a:pt x="0" y="1962379"/>
                </a:lnTo>
                <a:lnTo>
                  <a:pt x="0" y="1251900"/>
                </a:lnTo>
                <a:lnTo>
                  <a:pt x="0" y="215670"/>
                </a:lnTo>
                <a:cubicBezTo>
                  <a:pt x="0" y="96559"/>
                  <a:pt x="96559" y="0"/>
                  <a:pt x="215670" y="0"/>
                </a:cubicBezTo>
                <a:close/>
              </a:path>
            </a:pathLst>
          </a:custGeom>
          <a:solidFill>
            <a:schemeClr val="bg2"/>
          </a:solidFill>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7" name="Bildplatzhalter 6" descr="Dies ist das zweite kleine Bild in der oberen Reihe.">
            <a:extLst>
              <a:ext uri="{FF2B5EF4-FFF2-40B4-BE49-F238E27FC236}">
                <a16:creationId xmlns:a16="http://schemas.microsoft.com/office/drawing/2014/main" id="{CBD19825-FD24-6B55-51AC-DAFE83A5E355}"/>
              </a:ext>
            </a:extLst>
          </p:cNvPr>
          <p:cNvSpPr>
            <a:spLocks noGrp="1"/>
          </p:cNvSpPr>
          <p:nvPr>
            <p:ph type="pic" sz="quarter" idx="14"/>
          </p:nvPr>
        </p:nvSpPr>
        <p:spPr>
          <a:xfrm>
            <a:off x="3432175" y="1773240"/>
            <a:ext cx="2808287" cy="2178049"/>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13" name="Bildplatzhalter 12" descr="Dies ist das erste kleine Bild in der unteren Reihe.">
            <a:extLst>
              <a:ext uri="{FF2B5EF4-FFF2-40B4-BE49-F238E27FC236}">
                <a16:creationId xmlns:a16="http://schemas.microsoft.com/office/drawing/2014/main" id="{ADD8A2E5-62D0-169D-337B-FDC9EDB2D407}"/>
              </a:ext>
            </a:extLst>
          </p:cNvPr>
          <p:cNvSpPr>
            <a:spLocks noGrp="1"/>
          </p:cNvSpPr>
          <p:nvPr>
            <p:ph type="pic" sz="quarter" idx="15"/>
          </p:nvPr>
        </p:nvSpPr>
        <p:spPr>
          <a:xfrm>
            <a:off x="623888" y="3951290"/>
            <a:ext cx="2808287" cy="2141536"/>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38" name="Bildplatzhalter 37" descr="Dies ist das zweite kleine Bild in der unteren Reihe.">
            <a:extLst>
              <a:ext uri="{FF2B5EF4-FFF2-40B4-BE49-F238E27FC236}">
                <a16:creationId xmlns:a16="http://schemas.microsoft.com/office/drawing/2014/main" id="{53BBAF39-77A8-8850-AE43-CC114EB4E3C2}"/>
              </a:ext>
            </a:extLst>
          </p:cNvPr>
          <p:cNvSpPr>
            <a:spLocks noGrp="1"/>
          </p:cNvSpPr>
          <p:nvPr>
            <p:ph type="pic" sz="quarter" idx="16"/>
          </p:nvPr>
        </p:nvSpPr>
        <p:spPr>
          <a:xfrm>
            <a:off x="3432175" y="3951290"/>
            <a:ext cx="2808287" cy="2141536"/>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40" name="Bildplatzhalter 39" descr="Dies ist das linke große Bild.">
            <a:extLst>
              <a:ext uri="{FF2B5EF4-FFF2-40B4-BE49-F238E27FC236}">
                <a16:creationId xmlns:a16="http://schemas.microsoft.com/office/drawing/2014/main" id="{B8F750F2-C9DC-F957-C4B9-615EA73942A5}"/>
              </a:ext>
            </a:extLst>
          </p:cNvPr>
          <p:cNvSpPr>
            <a:spLocks noGrp="1"/>
          </p:cNvSpPr>
          <p:nvPr>
            <p:ph type="pic" sz="quarter" idx="17"/>
          </p:nvPr>
        </p:nvSpPr>
        <p:spPr>
          <a:xfrm>
            <a:off x="6240462" y="1773240"/>
            <a:ext cx="2808287" cy="4319584"/>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53" name="Bildplatzhalter 52" descr="Dies ist das rechte große Bild.">
            <a:extLst>
              <a:ext uri="{FF2B5EF4-FFF2-40B4-BE49-F238E27FC236}">
                <a16:creationId xmlns:a16="http://schemas.microsoft.com/office/drawing/2014/main" id="{635A3CB3-034D-498F-C8EA-BEBFE1AC01A3}"/>
              </a:ext>
            </a:extLst>
          </p:cNvPr>
          <p:cNvSpPr>
            <a:spLocks noGrp="1"/>
          </p:cNvSpPr>
          <p:nvPr>
            <p:ph type="pic" sz="quarter" idx="18"/>
          </p:nvPr>
        </p:nvSpPr>
        <p:spPr bwMode="gray">
          <a:xfrm>
            <a:off x="9048750" y="1773240"/>
            <a:ext cx="2808287" cy="4319584"/>
          </a:xfrm>
          <a:custGeom>
            <a:avLst/>
            <a:gdLst>
              <a:gd name="connsiteX0" fmla="*/ 0 w 2808287"/>
              <a:gd name="connsiteY0" fmla="*/ 0 h 4356098"/>
              <a:gd name="connsiteX1" fmla="*/ 215676 w 2808287"/>
              <a:gd name="connsiteY1" fmla="*/ 0 h 4356098"/>
              <a:gd name="connsiteX2" fmla="*/ 2592611 w 2808287"/>
              <a:gd name="connsiteY2" fmla="*/ 0 h 4356098"/>
              <a:gd name="connsiteX3" fmla="*/ 2808287 w 2808287"/>
              <a:gd name="connsiteY3" fmla="*/ 0 h 4356098"/>
              <a:gd name="connsiteX4" fmla="*/ 2808287 w 2808287"/>
              <a:gd name="connsiteY4" fmla="*/ 215676 h 4356098"/>
              <a:gd name="connsiteX5" fmla="*/ 2808287 w 2808287"/>
              <a:gd name="connsiteY5" fmla="*/ 1140506 h 4356098"/>
              <a:gd name="connsiteX6" fmla="*/ 2808287 w 2808287"/>
              <a:gd name="connsiteY6" fmla="*/ 4140422 h 4356098"/>
              <a:gd name="connsiteX7" fmla="*/ 2592611 w 2808287"/>
              <a:gd name="connsiteY7" fmla="*/ 4356098 h 4356098"/>
              <a:gd name="connsiteX8" fmla="*/ 1631951 w 2808287"/>
              <a:gd name="connsiteY8" fmla="*/ 4356098 h 4356098"/>
              <a:gd name="connsiteX9" fmla="*/ 215676 w 2808287"/>
              <a:gd name="connsiteY9" fmla="*/ 4356098 h 4356098"/>
              <a:gd name="connsiteX10" fmla="*/ 1 w 2808287"/>
              <a:gd name="connsiteY10" fmla="*/ 4356098 h 4356098"/>
              <a:gd name="connsiteX11" fmla="*/ 1 w 2808287"/>
              <a:gd name="connsiteY11" fmla="*/ 4140432 h 4356098"/>
              <a:gd name="connsiteX12" fmla="*/ 0 w 2808287"/>
              <a:gd name="connsiteY12" fmla="*/ 4140422 h 4356098"/>
              <a:gd name="connsiteX13" fmla="*/ 0 w 2808287"/>
              <a:gd name="connsiteY13" fmla="*/ 1140506 h 4356098"/>
              <a:gd name="connsiteX14" fmla="*/ 0 w 2808287"/>
              <a:gd name="connsiteY14" fmla="*/ 215676 h 435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08287" h="4356098">
                <a:moveTo>
                  <a:pt x="0" y="0"/>
                </a:moveTo>
                <a:lnTo>
                  <a:pt x="215676" y="0"/>
                </a:lnTo>
                <a:lnTo>
                  <a:pt x="2592611" y="0"/>
                </a:lnTo>
                <a:lnTo>
                  <a:pt x="2808287" y="0"/>
                </a:lnTo>
                <a:lnTo>
                  <a:pt x="2808287" y="215676"/>
                </a:lnTo>
                <a:lnTo>
                  <a:pt x="2808287" y="1140506"/>
                </a:lnTo>
                <a:lnTo>
                  <a:pt x="2808287" y="4140422"/>
                </a:lnTo>
                <a:cubicBezTo>
                  <a:pt x="2808287" y="4259537"/>
                  <a:pt x="2711726" y="4356098"/>
                  <a:pt x="2592611" y="4356098"/>
                </a:cubicBezTo>
                <a:lnTo>
                  <a:pt x="1631951" y="4356098"/>
                </a:lnTo>
                <a:lnTo>
                  <a:pt x="215676" y="4356098"/>
                </a:lnTo>
                <a:lnTo>
                  <a:pt x="1" y="4356098"/>
                </a:lnTo>
                <a:lnTo>
                  <a:pt x="1" y="4140432"/>
                </a:lnTo>
                <a:lnTo>
                  <a:pt x="0" y="4140422"/>
                </a:lnTo>
                <a:lnTo>
                  <a:pt x="0" y="1140506"/>
                </a:lnTo>
                <a:lnTo>
                  <a:pt x="0" y="215676"/>
                </a:lnTo>
                <a:close/>
              </a:path>
            </a:pathLst>
          </a:custGeom>
          <a:solidFill>
            <a:schemeClr val="bg2"/>
          </a:solidFill>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113" name="Fußzeilenplatzhalter 112">
            <a:extLst>
              <a:ext uri="{FF2B5EF4-FFF2-40B4-BE49-F238E27FC236}">
                <a16:creationId xmlns:a16="http://schemas.microsoft.com/office/drawing/2014/main" id="{90827D8A-F4EA-61E7-8BD9-C2DBDE5AE2F1}"/>
              </a:ext>
            </a:extLst>
          </p:cNvPr>
          <p:cNvSpPr>
            <a:spLocks noGrp="1"/>
          </p:cNvSpPr>
          <p:nvPr>
            <p:ph type="ftr" sz="quarter" idx="19"/>
          </p:nvPr>
        </p:nvSpPr>
        <p:spPr/>
        <p:txBody>
          <a:bodyPr/>
          <a:lstStyle/>
          <a:p>
            <a:r>
              <a:rPr lang="de-DE"/>
              <a:t>© msg systems ag | 2026 | msg-Unternehmenspräsentation</a:t>
            </a:r>
          </a:p>
        </p:txBody>
      </p:sp>
      <p:sp>
        <p:nvSpPr>
          <p:cNvPr id="114" name="Foliennummernplatzhalter 113">
            <a:extLst>
              <a:ext uri="{FF2B5EF4-FFF2-40B4-BE49-F238E27FC236}">
                <a16:creationId xmlns:a16="http://schemas.microsoft.com/office/drawing/2014/main" id="{29859B51-F142-DEF0-1406-2A2C8104E652}"/>
              </a:ext>
            </a:extLst>
          </p:cNvPr>
          <p:cNvSpPr>
            <a:spLocks noGrp="1"/>
          </p:cNvSpPr>
          <p:nvPr>
            <p:ph type="sldNum" sz="quarter" idx="20"/>
          </p:nvPr>
        </p:nvSpPr>
        <p:spPr/>
        <p:txBody>
          <a:bodyPr/>
          <a:lstStyle/>
          <a:p>
            <a:fld id="{1FBD72F1-A42A-46B0-A7F8-CE6A9835826C}" type="slidenum">
              <a:rPr lang="de-DE" smtClean="0"/>
              <a:pPr/>
              <a:t>‹Nr.›</a:t>
            </a:fld>
            <a:endParaRPr lang="de-DE"/>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12838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2">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277460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descr="Bild füllt die komplette Folie aus, im unteren Bereich Titel und Untertitel, Bild ist änderbar.">
            <a:extLst>
              <a:ext uri="{FF2B5EF4-FFF2-40B4-BE49-F238E27FC236}">
                <a16:creationId xmlns:a16="http://schemas.microsoft.com/office/drawing/2014/main" id="{38700619-D30A-0E99-296D-8DC5DBAEDD18}"/>
              </a:ext>
              <a:ext uri="{C183D7F6-B498-43B3-948B-1728B52AA6E4}">
                <adec:decorative xmlns:adec="http://schemas.microsoft.com/office/drawing/2017/decorative" val="0"/>
              </a:ext>
            </a:extLst>
          </p:cNvPr>
          <p:cNvSpPr>
            <a:spLocks noGrp="1"/>
          </p:cNvSpPr>
          <p:nvPr>
            <p:ph type="pic" sz="quarter" idx="11"/>
          </p:nvPr>
        </p:nvSpPr>
        <p:spPr bwMode="gray">
          <a:xfrm>
            <a:off x="0" y="0"/>
            <a:ext cx="12192000" cy="6858000"/>
          </a:xfrm>
          <a:custGeom>
            <a:avLst/>
            <a:gdLst>
              <a:gd name="connsiteX0" fmla="*/ 9867883 w 12192000"/>
              <a:gd name="connsiteY0" fmla="*/ 758344 h 6858000"/>
              <a:gd name="connsiteX1" fmla="*/ 9768114 w 12192000"/>
              <a:gd name="connsiteY1" fmla="*/ 857952 h 6858000"/>
              <a:gd name="connsiteX2" fmla="*/ 9867883 w 12192000"/>
              <a:gd name="connsiteY2" fmla="*/ 957326 h 6858000"/>
              <a:gd name="connsiteX3" fmla="*/ 9967651 w 12192000"/>
              <a:gd name="connsiteY3" fmla="*/ 857835 h 6858000"/>
              <a:gd name="connsiteX4" fmla="*/ 9867883 w 12192000"/>
              <a:gd name="connsiteY4" fmla="*/ 758344 h 6858000"/>
              <a:gd name="connsiteX5" fmla="*/ 11428213 w 12192000"/>
              <a:gd name="connsiteY5" fmla="*/ 566781 h 6858000"/>
              <a:gd name="connsiteX6" fmla="*/ 11600036 w 12192000"/>
              <a:gd name="connsiteY6" fmla="*/ 566781 h 6858000"/>
              <a:gd name="connsiteX7" fmla="*/ 11600036 w 12192000"/>
              <a:gd name="connsiteY7" fmla="*/ 884916 h 6858000"/>
              <a:gd name="connsiteX8" fmla="*/ 11599918 w 12192000"/>
              <a:gd name="connsiteY8" fmla="*/ 884798 h 6858000"/>
              <a:gd name="connsiteX9" fmla="*/ 11424439 w 12192000"/>
              <a:gd name="connsiteY9" fmla="*/ 884798 h 6858000"/>
              <a:gd name="connsiteX10" fmla="*/ 11318655 w 12192000"/>
              <a:gd name="connsiteY10" fmla="*/ 821689 h 6858000"/>
              <a:gd name="connsiteX11" fmla="*/ 11318655 w 12192000"/>
              <a:gd name="connsiteY11" fmla="*/ 722552 h 6858000"/>
              <a:gd name="connsiteX12" fmla="*/ 11318655 w 12192000"/>
              <a:gd name="connsiteY12" fmla="*/ 640958 h 6858000"/>
              <a:gd name="connsiteX13" fmla="*/ 11428213 w 12192000"/>
              <a:gd name="connsiteY13" fmla="*/ 566781 h 6858000"/>
              <a:gd name="connsiteX14" fmla="*/ 11398966 w 12192000"/>
              <a:gd name="connsiteY14" fmla="*/ 497078 h 6858000"/>
              <a:gd name="connsiteX15" fmla="*/ 11276200 w 12192000"/>
              <a:gd name="connsiteY15" fmla="*/ 525218 h 6858000"/>
              <a:gd name="connsiteX16" fmla="*/ 11233038 w 12192000"/>
              <a:gd name="connsiteY16" fmla="*/ 642252 h 6858000"/>
              <a:gd name="connsiteX17" fmla="*/ 11233038 w 12192000"/>
              <a:gd name="connsiteY17" fmla="*/ 807442 h 6858000"/>
              <a:gd name="connsiteX18" fmla="*/ 11278795 w 12192000"/>
              <a:gd name="connsiteY18" fmla="*/ 930835 h 6858000"/>
              <a:gd name="connsiteX19" fmla="*/ 11399201 w 12192000"/>
              <a:gd name="connsiteY19" fmla="*/ 954619 h 6858000"/>
              <a:gd name="connsiteX20" fmla="*/ 11599918 w 12192000"/>
              <a:gd name="connsiteY20" fmla="*/ 954619 h 6858000"/>
              <a:gd name="connsiteX21" fmla="*/ 11599918 w 12192000"/>
              <a:gd name="connsiteY21" fmla="*/ 972279 h 6858000"/>
              <a:gd name="connsiteX22" fmla="*/ 11553571 w 12192000"/>
              <a:gd name="connsiteY22" fmla="*/ 1021848 h 6858000"/>
              <a:gd name="connsiteX23" fmla="*/ 11292003 w 12192000"/>
              <a:gd name="connsiteY23" fmla="*/ 1021848 h 6858000"/>
              <a:gd name="connsiteX24" fmla="*/ 11292003 w 12192000"/>
              <a:gd name="connsiteY24" fmla="*/ 1095083 h 6858000"/>
              <a:gd name="connsiteX25" fmla="*/ 11580342 w 12192000"/>
              <a:gd name="connsiteY25" fmla="*/ 1095083 h 6858000"/>
              <a:gd name="connsiteX26" fmla="*/ 11683294 w 12192000"/>
              <a:gd name="connsiteY26" fmla="*/ 995356 h 6858000"/>
              <a:gd name="connsiteX27" fmla="*/ 11683294 w 12192000"/>
              <a:gd name="connsiteY27" fmla="*/ 497078 h 6858000"/>
              <a:gd name="connsiteX28" fmla="*/ 11399084 w 12192000"/>
              <a:gd name="connsiteY28" fmla="*/ 497078 h 6858000"/>
              <a:gd name="connsiteX29" fmla="*/ 10842807 w 12192000"/>
              <a:gd name="connsiteY29" fmla="*/ 497078 h 6858000"/>
              <a:gd name="connsiteX30" fmla="*/ 10725114 w 12192000"/>
              <a:gd name="connsiteY30" fmla="*/ 624003 h 6858000"/>
              <a:gd name="connsiteX31" fmla="*/ 10837029 w 12192000"/>
              <a:gd name="connsiteY31" fmla="*/ 755990 h 6858000"/>
              <a:gd name="connsiteX32" fmla="*/ 11036095 w 12192000"/>
              <a:gd name="connsiteY32" fmla="*/ 755990 h 6858000"/>
              <a:gd name="connsiteX33" fmla="*/ 11097065 w 12192000"/>
              <a:gd name="connsiteY33" fmla="*/ 824044 h 6858000"/>
              <a:gd name="connsiteX34" fmla="*/ 11037629 w 12192000"/>
              <a:gd name="connsiteY34" fmla="*/ 884680 h 6858000"/>
              <a:gd name="connsiteX35" fmla="*/ 10732897 w 12192000"/>
              <a:gd name="connsiteY35" fmla="*/ 884680 h 6858000"/>
              <a:gd name="connsiteX36" fmla="*/ 10732897 w 12192000"/>
              <a:gd name="connsiteY36" fmla="*/ 954383 h 6858000"/>
              <a:gd name="connsiteX37" fmla="*/ 11072536 w 12192000"/>
              <a:gd name="connsiteY37" fmla="*/ 954383 h 6858000"/>
              <a:gd name="connsiteX38" fmla="*/ 11181502 w 12192000"/>
              <a:gd name="connsiteY38" fmla="*/ 824633 h 6858000"/>
              <a:gd name="connsiteX39" fmla="*/ 11077843 w 12192000"/>
              <a:gd name="connsiteY39" fmla="*/ 686405 h 6858000"/>
              <a:gd name="connsiteX40" fmla="*/ 10862856 w 12192000"/>
              <a:gd name="connsiteY40" fmla="*/ 686405 h 6858000"/>
              <a:gd name="connsiteX41" fmla="*/ 10808608 w 12192000"/>
              <a:gd name="connsiteY41" fmla="*/ 625416 h 6858000"/>
              <a:gd name="connsiteX42" fmla="*/ 10872173 w 12192000"/>
              <a:gd name="connsiteY42" fmla="*/ 566663 h 6858000"/>
              <a:gd name="connsiteX43" fmla="*/ 11165818 w 12192000"/>
              <a:gd name="connsiteY43" fmla="*/ 566663 h 6858000"/>
              <a:gd name="connsiteX44" fmla="*/ 11165818 w 12192000"/>
              <a:gd name="connsiteY44" fmla="*/ 497078 h 6858000"/>
              <a:gd name="connsiteX45" fmla="*/ 10031805 w 12192000"/>
              <a:gd name="connsiteY45" fmla="*/ 497078 h 6858000"/>
              <a:gd name="connsiteX46" fmla="*/ 10031805 w 12192000"/>
              <a:gd name="connsiteY46" fmla="*/ 954500 h 6858000"/>
              <a:gd name="connsiteX47" fmla="*/ 10115417 w 12192000"/>
              <a:gd name="connsiteY47" fmla="*/ 954500 h 6858000"/>
              <a:gd name="connsiteX48" fmla="*/ 10115417 w 12192000"/>
              <a:gd name="connsiteY48" fmla="*/ 566663 h 6858000"/>
              <a:gd name="connsiteX49" fmla="*/ 10306935 w 12192000"/>
              <a:gd name="connsiteY49" fmla="*/ 566663 h 6858000"/>
              <a:gd name="connsiteX50" fmla="*/ 10306935 w 12192000"/>
              <a:gd name="connsiteY50" fmla="*/ 954500 h 6858000"/>
              <a:gd name="connsiteX51" fmla="*/ 10390784 w 12192000"/>
              <a:gd name="connsiteY51" fmla="*/ 954500 h 6858000"/>
              <a:gd name="connsiteX52" fmla="*/ 10390784 w 12192000"/>
              <a:gd name="connsiteY52" fmla="*/ 566663 h 6858000"/>
              <a:gd name="connsiteX53" fmla="*/ 10518148 w 12192000"/>
              <a:gd name="connsiteY53" fmla="*/ 566663 h 6858000"/>
              <a:gd name="connsiteX54" fmla="*/ 10591501 w 12192000"/>
              <a:gd name="connsiteY54" fmla="*/ 648375 h 6858000"/>
              <a:gd name="connsiteX55" fmla="*/ 10591501 w 12192000"/>
              <a:gd name="connsiteY55" fmla="*/ 954500 h 6858000"/>
              <a:gd name="connsiteX56" fmla="*/ 10675230 w 12192000"/>
              <a:gd name="connsiteY56" fmla="*/ 954500 h 6858000"/>
              <a:gd name="connsiteX57" fmla="*/ 10675230 w 12192000"/>
              <a:gd name="connsiteY57" fmla="*/ 625180 h 6858000"/>
              <a:gd name="connsiteX58" fmla="*/ 10560367 w 12192000"/>
              <a:gd name="connsiteY58" fmla="*/ 497078 h 6858000"/>
              <a:gd name="connsiteX59" fmla="*/ 0 w 12192000"/>
              <a:gd name="connsiteY59" fmla="*/ 0 h 6858000"/>
              <a:gd name="connsiteX60" fmla="*/ 12192000 w 12192000"/>
              <a:gd name="connsiteY60" fmla="*/ 0 h 6858000"/>
              <a:gd name="connsiteX61" fmla="*/ 12192000 w 12192000"/>
              <a:gd name="connsiteY61" fmla="*/ 6858000 h 6858000"/>
              <a:gd name="connsiteX62" fmla="*/ 0 w 12192000"/>
              <a:gd name="connsiteY6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2192000" h="6858000">
                <a:moveTo>
                  <a:pt x="9867883" y="758344"/>
                </a:moveTo>
                <a:cubicBezTo>
                  <a:pt x="9812810" y="758344"/>
                  <a:pt x="9768114" y="802968"/>
                  <a:pt x="9768114" y="857952"/>
                </a:cubicBezTo>
                <a:cubicBezTo>
                  <a:pt x="9768114" y="912820"/>
                  <a:pt x="9812810" y="957326"/>
                  <a:pt x="9867883" y="957326"/>
                </a:cubicBezTo>
                <a:cubicBezTo>
                  <a:pt x="9922955" y="957326"/>
                  <a:pt x="9967651" y="912702"/>
                  <a:pt x="9967651" y="857835"/>
                </a:cubicBezTo>
                <a:cubicBezTo>
                  <a:pt x="9967651" y="802968"/>
                  <a:pt x="9922955" y="758344"/>
                  <a:pt x="9867883" y="758344"/>
                </a:cubicBezTo>
                <a:close/>
                <a:moveTo>
                  <a:pt x="11428213" y="566781"/>
                </a:moveTo>
                <a:cubicBezTo>
                  <a:pt x="11433283" y="566898"/>
                  <a:pt x="11600036" y="566781"/>
                  <a:pt x="11600036" y="566781"/>
                </a:cubicBezTo>
                <a:lnTo>
                  <a:pt x="11600036" y="884916"/>
                </a:lnTo>
                <a:lnTo>
                  <a:pt x="11599918" y="884798"/>
                </a:lnTo>
                <a:lnTo>
                  <a:pt x="11424439" y="884798"/>
                </a:lnTo>
                <a:cubicBezTo>
                  <a:pt x="11372550" y="885151"/>
                  <a:pt x="11319952" y="888683"/>
                  <a:pt x="11318655" y="821689"/>
                </a:cubicBezTo>
                <a:cubicBezTo>
                  <a:pt x="11318655" y="818863"/>
                  <a:pt x="11318420" y="794255"/>
                  <a:pt x="11318655" y="722552"/>
                </a:cubicBezTo>
                <a:cubicBezTo>
                  <a:pt x="11318891" y="661680"/>
                  <a:pt x="11318302" y="647198"/>
                  <a:pt x="11318655" y="640958"/>
                </a:cubicBezTo>
                <a:cubicBezTo>
                  <a:pt x="11321486" y="584795"/>
                  <a:pt x="11342360" y="564779"/>
                  <a:pt x="11428213" y="566781"/>
                </a:cubicBezTo>
                <a:close/>
                <a:moveTo>
                  <a:pt x="11398966" y="497078"/>
                </a:moveTo>
                <a:cubicBezTo>
                  <a:pt x="11324434" y="497078"/>
                  <a:pt x="11296603" y="508970"/>
                  <a:pt x="11276200" y="525218"/>
                </a:cubicBezTo>
                <a:cubicBezTo>
                  <a:pt x="11253912" y="542998"/>
                  <a:pt x="11233392" y="565485"/>
                  <a:pt x="11233038" y="642252"/>
                </a:cubicBezTo>
                <a:lnTo>
                  <a:pt x="11233038" y="807442"/>
                </a:lnTo>
                <a:cubicBezTo>
                  <a:pt x="11233038" y="888683"/>
                  <a:pt x="11255681" y="911408"/>
                  <a:pt x="11278795" y="930835"/>
                </a:cubicBezTo>
                <a:cubicBezTo>
                  <a:pt x="11294362" y="941903"/>
                  <a:pt x="11320071" y="954619"/>
                  <a:pt x="11399201" y="954619"/>
                </a:cubicBezTo>
                <a:lnTo>
                  <a:pt x="11599918" y="954619"/>
                </a:lnTo>
                <a:cubicBezTo>
                  <a:pt x="11599918" y="954619"/>
                  <a:pt x="11599918" y="968629"/>
                  <a:pt x="11599918" y="972279"/>
                </a:cubicBezTo>
                <a:cubicBezTo>
                  <a:pt x="11599918" y="1006777"/>
                  <a:pt x="11593196" y="1021848"/>
                  <a:pt x="11553571" y="1021848"/>
                </a:cubicBezTo>
                <a:lnTo>
                  <a:pt x="11292003" y="1021848"/>
                </a:lnTo>
                <a:lnTo>
                  <a:pt x="11292003" y="1095083"/>
                </a:lnTo>
                <a:lnTo>
                  <a:pt x="11580342" y="1095083"/>
                </a:lnTo>
                <a:cubicBezTo>
                  <a:pt x="11658058" y="1095083"/>
                  <a:pt x="11683294" y="1060585"/>
                  <a:pt x="11683294" y="995356"/>
                </a:cubicBezTo>
                <a:lnTo>
                  <a:pt x="11683294" y="497078"/>
                </a:lnTo>
                <a:lnTo>
                  <a:pt x="11399084" y="497078"/>
                </a:lnTo>
                <a:close/>
                <a:moveTo>
                  <a:pt x="10842807" y="497078"/>
                </a:moveTo>
                <a:cubicBezTo>
                  <a:pt x="10752474" y="497078"/>
                  <a:pt x="10725114" y="557008"/>
                  <a:pt x="10725114" y="624003"/>
                </a:cubicBezTo>
                <a:cubicBezTo>
                  <a:pt x="10725114" y="695589"/>
                  <a:pt x="10754950" y="755990"/>
                  <a:pt x="10837029" y="755990"/>
                </a:cubicBezTo>
                <a:lnTo>
                  <a:pt x="11036095" y="755990"/>
                </a:lnTo>
                <a:cubicBezTo>
                  <a:pt x="11097065" y="755990"/>
                  <a:pt x="11097065" y="802733"/>
                  <a:pt x="11097065" y="824044"/>
                </a:cubicBezTo>
                <a:cubicBezTo>
                  <a:pt x="11097065" y="843824"/>
                  <a:pt x="11097065" y="884680"/>
                  <a:pt x="11037629" y="884680"/>
                </a:cubicBezTo>
                <a:lnTo>
                  <a:pt x="10732897" y="884680"/>
                </a:lnTo>
                <a:lnTo>
                  <a:pt x="10732897" y="954383"/>
                </a:lnTo>
                <a:lnTo>
                  <a:pt x="11072536" y="954383"/>
                </a:lnTo>
                <a:cubicBezTo>
                  <a:pt x="11157209" y="954383"/>
                  <a:pt x="11181502" y="904697"/>
                  <a:pt x="11181502" y="824633"/>
                </a:cubicBezTo>
                <a:cubicBezTo>
                  <a:pt x="11181502" y="729145"/>
                  <a:pt x="11150251" y="686405"/>
                  <a:pt x="11077843" y="686405"/>
                </a:cubicBezTo>
                <a:lnTo>
                  <a:pt x="10862856" y="686405"/>
                </a:lnTo>
                <a:cubicBezTo>
                  <a:pt x="10808608" y="686405"/>
                  <a:pt x="10808608" y="649787"/>
                  <a:pt x="10808608" y="625416"/>
                </a:cubicBezTo>
                <a:cubicBezTo>
                  <a:pt x="10808608" y="606341"/>
                  <a:pt x="10814034" y="566663"/>
                  <a:pt x="10872173" y="566663"/>
                </a:cubicBezTo>
                <a:lnTo>
                  <a:pt x="11165818" y="566663"/>
                </a:lnTo>
                <a:lnTo>
                  <a:pt x="11165818" y="497078"/>
                </a:lnTo>
                <a:close/>
                <a:moveTo>
                  <a:pt x="10031805" y="497078"/>
                </a:moveTo>
                <a:lnTo>
                  <a:pt x="10031805" y="954500"/>
                </a:lnTo>
                <a:lnTo>
                  <a:pt x="10115417" y="954500"/>
                </a:lnTo>
                <a:lnTo>
                  <a:pt x="10115417" y="566663"/>
                </a:lnTo>
                <a:lnTo>
                  <a:pt x="10306935" y="566663"/>
                </a:lnTo>
                <a:lnTo>
                  <a:pt x="10306935" y="954500"/>
                </a:lnTo>
                <a:lnTo>
                  <a:pt x="10390784" y="954500"/>
                </a:lnTo>
                <a:lnTo>
                  <a:pt x="10390784" y="566663"/>
                </a:lnTo>
                <a:lnTo>
                  <a:pt x="10518148" y="566663"/>
                </a:lnTo>
                <a:cubicBezTo>
                  <a:pt x="10561192" y="566663"/>
                  <a:pt x="10591501" y="592449"/>
                  <a:pt x="10591501" y="648375"/>
                </a:cubicBezTo>
                <a:lnTo>
                  <a:pt x="10591501" y="954500"/>
                </a:lnTo>
                <a:lnTo>
                  <a:pt x="10675230" y="954500"/>
                </a:lnTo>
                <a:lnTo>
                  <a:pt x="10675230" y="625180"/>
                </a:lnTo>
                <a:cubicBezTo>
                  <a:pt x="10675348" y="562895"/>
                  <a:pt x="10643154" y="497078"/>
                  <a:pt x="10560367" y="497078"/>
                </a:cubicBezTo>
                <a:close/>
                <a:moveTo>
                  <a:pt x="0" y="0"/>
                </a:moveTo>
                <a:lnTo>
                  <a:pt x="12192000" y="0"/>
                </a:lnTo>
                <a:lnTo>
                  <a:pt x="12192000"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85" name="Titel 84">
            <a:extLst>
              <a:ext uri="{FF2B5EF4-FFF2-40B4-BE49-F238E27FC236}">
                <a16:creationId xmlns:a16="http://schemas.microsoft.com/office/drawing/2014/main" id="{1C5AFEA5-AB8B-AE9B-F802-98E24FCBE5BF}"/>
              </a:ext>
            </a:extLst>
          </p:cNvPr>
          <p:cNvSpPr>
            <a:spLocks noGrp="1"/>
          </p:cNvSpPr>
          <p:nvPr>
            <p:ph type="ctrTitle"/>
          </p:nvPr>
        </p:nvSpPr>
        <p:spPr bwMode="gray">
          <a:xfrm>
            <a:off x="623888" y="3502024"/>
            <a:ext cx="8208831" cy="2590799"/>
          </a:xfrm>
          <a:custGeom>
            <a:avLst/>
            <a:gdLst>
              <a:gd name="connsiteX0" fmla="*/ 0 w 8253412"/>
              <a:gd name="connsiteY0" fmla="*/ 0 h 2522538"/>
              <a:gd name="connsiteX1" fmla="*/ 8033018 w 8253412"/>
              <a:gd name="connsiteY1" fmla="*/ 0 h 2522538"/>
              <a:gd name="connsiteX2" fmla="*/ 8253412 w 8253412"/>
              <a:gd name="connsiteY2" fmla="*/ 220394 h 2522538"/>
              <a:gd name="connsiteX3" fmla="*/ 8253412 w 8253412"/>
              <a:gd name="connsiteY3" fmla="*/ 2522538 h 2522538"/>
              <a:gd name="connsiteX4" fmla="*/ 220394 w 8253412"/>
              <a:gd name="connsiteY4" fmla="*/ 2522538 h 2522538"/>
              <a:gd name="connsiteX5" fmla="*/ 0 w 8253412"/>
              <a:gd name="connsiteY5"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3412" h="2522538">
                <a:moveTo>
                  <a:pt x="0" y="0"/>
                </a:moveTo>
                <a:lnTo>
                  <a:pt x="8033018" y="0"/>
                </a:lnTo>
                <a:cubicBezTo>
                  <a:pt x="8154738" y="0"/>
                  <a:pt x="8253412" y="98674"/>
                  <a:pt x="8253412" y="220394"/>
                </a:cubicBezTo>
                <a:lnTo>
                  <a:pt x="8253412" y="2522538"/>
                </a:lnTo>
                <a:lnTo>
                  <a:pt x="220394" y="2522538"/>
                </a:lnTo>
                <a:cubicBezTo>
                  <a:pt x="98674" y="2522538"/>
                  <a:pt x="0" y="2423864"/>
                  <a:pt x="0" y="2302144"/>
                </a:cubicBezTo>
                <a:close/>
              </a:path>
            </a:pathLst>
          </a:custGeom>
          <a:solidFill>
            <a:schemeClr val="bg1"/>
          </a:solidFill>
        </p:spPr>
        <p:txBody>
          <a:bodyPr vert="horz" wrap="square" lIns="1404000" tIns="360000" anchor="t">
            <a:noAutofit/>
          </a:bodyPr>
          <a:lstStyle>
            <a:lvl1pPr algn="l" rtl="0">
              <a:defRPr sz="4000">
                <a:solidFill>
                  <a:schemeClr val="accent1"/>
                </a:solidFill>
              </a:defRPr>
            </a:lvl1pPr>
          </a:lstStyle>
          <a:p>
            <a:r>
              <a:rPr lang="de-DE"/>
              <a:t>Mastertitelformat bearbeiten</a:t>
            </a:r>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2082801" y="5425985"/>
            <a:ext cx="6426200" cy="369332"/>
          </a:xfrm>
          <a:noFill/>
        </p:spPr>
        <p:txBody>
          <a:bodyPr wrap="square" lIns="0" tIns="0" rIns="0" bIns="0" anchor="t">
            <a:noAutofit/>
          </a:bodyPr>
          <a:lstStyle>
            <a:lvl1pPr rtl="0">
              <a:defRPr sz="2400" b="0">
                <a:solidFill>
                  <a:schemeClr val="tx1"/>
                </a:solidFill>
              </a:defRPr>
            </a:lvl1pPr>
          </a:lstStyle>
          <a:p>
            <a:pPr lvl="0"/>
            <a:r>
              <a:rPr lang="de-DE" err="1"/>
              <a:t>Subtitle</a:t>
            </a:r>
            <a:r>
              <a:rPr lang="de-DE"/>
              <a:t> einfügen</a:t>
            </a:r>
          </a:p>
        </p:txBody>
      </p:sp>
      <p:sp>
        <p:nvSpPr>
          <p:cNvPr id="5" name="Textplatzhalter 4">
            <a:extLst>
              <a:ext uri="{FF2B5EF4-FFF2-40B4-BE49-F238E27FC236}">
                <a16:creationId xmlns:a16="http://schemas.microsoft.com/office/drawing/2014/main" id="{80DE9058-D20E-CEB2-68D0-6D683A3480D1}"/>
              </a:ext>
              <a:ext uri="{C183D7F6-B498-43B3-948B-1728B52AA6E4}">
                <adec:decorative xmlns:adec="http://schemas.microsoft.com/office/drawing/2017/decorative" val="1"/>
              </a:ext>
            </a:extLst>
          </p:cNvPr>
          <p:cNvSpPr>
            <a:spLocks noGrp="1"/>
          </p:cNvSpPr>
          <p:nvPr>
            <p:ph type="body" sz="quarter" idx="12" hasCustomPrompt="1"/>
          </p:nvPr>
        </p:nvSpPr>
        <p:spPr>
          <a:xfrm>
            <a:off x="944423" y="2783872"/>
            <a:ext cx="1451115" cy="1451115"/>
          </a:xfrm>
          <a:blipFill>
            <a:blip r:embed="rId5"/>
            <a:stretch>
              <a:fillRect/>
            </a:stretch>
          </a:blipFill>
        </p:spPr>
        <p:txBody>
          <a:bodyPr/>
          <a:lstStyle>
            <a:lvl1pPr>
              <a:defRPr sz="100">
                <a:noFill/>
              </a:defRPr>
            </a:lvl1pPr>
          </a:lstStyle>
          <a:p>
            <a:pPr lvl="0"/>
            <a:r>
              <a:rPr lang="de-DE"/>
              <a:t> </a:t>
            </a:r>
          </a:p>
        </p:txBody>
      </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7" name="Gruppieren 106">
            <a:extLst>
              <a:ext uri="{FF2B5EF4-FFF2-40B4-BE49-F238E27FC236}">
                <a16:creationId xmlns:a16="http://schemas.microsoft.com/office/drawing/2014/main" id="{0FFB11FD-5603-A85E-7E6C-98D18828B75E}"/>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08" name="Gerader Verbinder 107">
              <a:extLst>
                <a:ext uri="{FF2B5EF4-FFF2-40B4-BE49-F238E27FC236}">
                  <a16:creationId xmlns:a16="http://schemas.microsoft.com/office/drawing/2014/main" id="{2749D2E9-7EFF-A7FC-D65E-1AC784A7CD8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74D5BDE7-D3CD-5FF1-B688-34B9E5140D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5E9C7C25-1933-BC6A-DB3E-6D5C34851E1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7118A8B3-21EC-357B-D737-316C53323E88}"/>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2" name="Gerader Verbinder 111">
              <a:extLst>
                <a:ext uri="{FF2B5EF4-FFF2-40B4-BE49-F238E27FC236}">
                  <a16:creationId xmlns:a16="http://schemas.microsoft.com/office/drawing/2014/main" id="{85A19224-5EE4-7CCA-E52B-733A7C0E594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ED0C12E0-83B2-3BC7-17E7-3A2A7136972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47E84BB0-6D19-1552-6395-59C0BDFF3D7F}"/>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15" name="Gruppieren 114">
            <a:extLst>
              <a:ext uri="{FF2B5EF4-FFF2-40B4-BE49-F238E27FC236}">
                <a16:creationId xmlns:a16="http://schemas.microsoft.com/office/drawing/2014/main" id="{72C44A55-22E9-D998-D105-EE8FE060E5BB}"/>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16" name="Gerader Verbinder 115">
              <a:extLst>
                <a:ext uri="{FF2B5EF4-FFF2-40B4-BE49-F238E27FC236}">
                  <a16:creationId xmlns:a16="http://schemas.microsoft.com/office/drawing/2014/main" id="{869DD93A-B32E-4DD1-FF2C-1FC9304E591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313063ED-0434-6B81-3979-EEEB8B3729E5}"/>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6366CB3D-71E3-F59F-5731-2421DB9342DB}"/>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9" name="Gerader Verbinder 118">
              <a:extLst>
                <a:ext uri="{FF2B5EF4-FFF2-40B4-BE49-F238E27FC236}">
                  <a16:creationId xmlns:a16="http://schemas.microsoft.com/office/drawing/2014/main" id="{92DE8F93-E4A8-6D5B-9AD1-1320DF18522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0" name="Gerader Verbinder 119">
              <a:extLst>
                <a:ext uri="{FF2B5EF4-FFF2-40B4-BE49-F238E27FC236}">
                  <a16:creationId xmlns:a16="http://schemas.microsoft.com/office/drawing/2014/main" id="{116E9E51-1B14-0883-608D-6EE70B25BAE4}"/>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1" name="Gerader Verbinder 120">
              <a:extLst>
                <a:ext uri="{FF2B5EF4-FFF2-40B4-BE49-F238E27FC236}">
                  <a16:creationId xmlns:a16="http://schemas.microsoft.com/office/drawing/2014/main" id="{A996F359-5008-F2C0-3A4F-3CE19BAE67F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E6DB519A-BC99-1D3C-F0EE-A9E63E3B2B4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682123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message mit Bi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05662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descr="Bild füllt die komplette Folie aus, oben links Titel und Untertitel, Bild ist änderbar.">
            <a:extLst>
              <a:ext uri="{FF2B5EF4-FFF2-40B4-BE49-F238E27FC236}">
                <a16:creationId xmlns:a16="http://schemas.microsoft.com/office/drawing/2014/main" id="{0C3BE6D5-789A-7785-D582-2549391021AB}"/>
              </a:ext>
            </a:extLst>
          </p:cNvPr>
          <p:cNvSpPr>
            <a:spLocks noGrp="1"/>
          </p:cNvSpPr>
          <p:nvPr>
            <p:ph type="pic" sz="quarter" idx="14"/>
          </p:nvPr>
        </p:nvSpPr>
        <p:spPr bwMode="gray">
          <a:xfrm>
            <a:off x="2" y="1"/>
            <a:ext cx="12191999" cy="6857999"/>
          </a:xfrm>
          <a:custGeom>
            <a:avLst/>
            <a:gdLst>
              <a:gd name="connsiteX0" fmla="*/ 10764520 w 12191999"/>
              <a:gd name="connsiteY0" fmla="*/ 454510 h 6857999"/>
              <a:gd name="connsiteX1" fmla="*/ 10704520 w 12191999"/>
              <a:gd name="connsiteY1" fmla="*/ 514510 h 6857999"/>
              <a:gd name="connsiteX2" fmla="*/ 10764520 w 12191999"/>
              <a:gd name="connsiteY2" fmla="*/ 574510 h 6857999"/>
              <a:gd name="connsiteX3" fmla="*/ 10824520 w 12191999"/>
              <a:gd name="connsiteY3" fmla="*/ 514510 h 6857999"/>
              <a:gd name="connsiteX4" fmla="*/ 10764520 w 12191999"/>
              <a:gd name="connsiteY4" fmla="*/ 454510 h 6857999"/>
              <a:gd name="connsiteX5" fmla="*/ 11703579 w 12191999"/>
              <a:gd name="connsiteY5" fmla="*/ 338981 h 6857999"/>
              <a:gd name="connsiteX6" fmla="*/ 11807108 w 12191999"/>
              <a:gd name="connsiteY6" fmla="*/ 338981 h 6857999"/>
              <a:gd name="connsiteX7" fmla="*/ 11807108 w 12191999"/>
              <a:gd name="connsiteY7" fmla="*/ 530745 h 6857999"/>
              <a:gd name="connsiteX8" fmla="*/ 11701461 w 12191999"/>
              <a:gd name="connsiteY8" fmla="*/ 530745 h 6857999"/>
              <a:gd name="connsiteX9" fmla="*/ 11637696 w 12191999"/>
              <a:gd name="connsiteY9" fmla="*/ 492628 h 6857999"/>
              <a:gd name="connsiteX10" fmla="*/ 11637696 w 12191999"/>
              <a:gd name="connsiteY10" fmla="*/ 432863 h 6857999"/>
              <a:gd name="connsiteX11" fmla="*/ 11637696 w 12191999"/>
              <a:gd name="connsiteY11" fmla="*/ 383687 h 6857999"/>
              <a:gd name="connsiteX12" fmla="*/ 11703579 w 12191999"/>
              <a:gd name="connsiteY12" fmla="*/ 338981 h 6857999"/>
              <a:gd name="connsiteX13" fmla="*/ 11686167 w 12191999"/>
              <a:gd name="connsiteY13" fmla="*/ 296863 h 6857999"/>
              <a:gd name="connsiteX14" fmla="*/ 11612284 w 12191999"/>
              <a:gd name="connsiteY14" fmla="*/ 313804 h 6857999"/>
              <a:gd name="connsiteX15" fmla="*/ 11586402 w 12191999"/>
              <a:gd name="connsiteY15" fmla="*/ 384392 h 6857999"/>
              <a:gd name="connsiteX16" fmla="*/ 11586402 w 12191999"/>
              <a:gd name="connsiteY16" fmla="*/ 483922 h 6857999"/>
              <a:gd name="connsiteX17" fmla="*/ 11613931 w 12191999"/>
              <a:gd name="connsiteY17" fmla="*/ 558275 h 6857999"/>
              <a:gd name="connsiteX18" fmla="*/ 11686402 w 12191999"/>
              <a:gd name="connsiteY18" fmla="*/ 572628 h 6857999"/>
              <a:gd name="connsiteX19" fmla="*/ 11807108 w 12191999"/>
              <a:gd name="connsiteY19" fmla="*/ 572628 h 6857999"/>
              <a:gd name="connsiteX20" fmla="*/ 11807108 w 12191999"/>
              <a:gd name="connsiteY20" fmla="*/ 583216 h 6857999"/>
              <a:gd name="connsiteX21" fmla="*/ 11779108 w 12191999"/>
              <a:gd name="connsiteY21" fmla="*/ 613098 h 6857999"/>
              <a:gd name="connsiteX22" fmla="*/ 11621696 w 12191999"/>
              <a:gd name="connsiteY22" fmla="*/ 613098 h 6857999"/>
              <a:gd name="connsiteX23" fmla="*/ 11621696 w 12191999"/>
              <a:gd name="connsiteY23" fmla="*/ 657334 h 6857999"/>
              <a:gd name="connsiteX24" fmla="*/ 11795343 w 12191999"/>
              <a:gd name="connsiteY24" fmla="*/ 657334 h 6857999"/>
              <a:gd name="connsiteX25" fmla="*/ 11857226 w 12191999"/>
              <a:gd name="connsiteY25" fmla="*/ 597098 h 6857999"/>
              <a:gd name="connsiteX26" fmla="*/ 11857226 w 12191999"/>
              <a:gd name="connsiteY26" fmla="*/ 296863 h 6857999"/>
              <a:gd name="connsiteX27" fmla="*/ 11351579 w 12191999"/>
              <a:gd name="connsiteY27" fmla="*/ 296863 h 6857999"/>
              <a:gd name="connsiteX28" fmla="*/ 11280755 w 12191999"/>
              <a:gd name="connsiteY28" fmla="*/ 373334 h 6857999"/>
              <a:gd name="connsiteX29" fmla="*/ 11348049 w 12191999"/>
              <a:gd name="connsiteY29" fmla="*/ 452863 h 6857999"/>
              <a:gd name="connsiteX30" fmla="*/ 11467814 w 12191999"/>
              <a:gd name="connsiteY30" fmla="*/ 452863 h 6857999"/>
              <a:gd name="connsiteX31" fmla="*/ 11504520 w 12191999"/>
              <a:gd name="connsiteY31" fmla="*/ 494039 h 6857999"/>
              <a:gd name="connsiteX32" fmla="*/ 11468755 w 12191999"/>
              <a:gd name="connsiteY32" fmla="*/ 530745 h 6857999"/>
              <a:gd name="connsiteX33" fmla="*/ 11285461 w 12191999"/>
              <a:gd name="connsiteY33" fmla="*/ 530745 h 6857999"/>
              <a:gd name="connsiteX34" fmla="*/ 11285461 w 12191999"/>
              <a:gd name="connsiteY34" fmla="*/ 572863 h 6857999"/>
              <a:gd name="connsiteX35" fmla="*/ 11489932 w 12191999"/>
              <a:gd name="connsiteY35" fmla="*/ 572863 h 6857999"/>
              <a:gd name="connsiteX36" fmla="*/ 11555579 w 12191999"/>
              <a:gd name="connsiteY36" fmla="*/ 494510 h 6857999"/>
              <a:gd name="connsiteX37" fmla="*/ 11493226 w 12191999"/>
              <a:gd name="connsiteY37" fmla="*/ 411216 h 6857999"/>
              <a:gd name="connsiteX38" fmla="*/ 11363814 w 12191999"/>
              <a:gd name="connsiteY38" fmla="*/ 411216 h 6857999"/>
              <a:gd name="connsiteX39" fmla="*/ 11331108 w 12191999"/>
              <a:gd name="connsiteY39" fmla="*/ 374510 h 6857999"/>
              <a:gd name="connsiteX40" fmla="*/ 11369226 w 12191999"/>
              <a:gd name="connsiteY40" fmla="*/ 338981 h 6857999"/>
              <a:gd name="connsiteX41" fmla="*/ 11545932 w 12191999"/>
              <a:gd name="connsiteY41" fmla="*/ 338981 h 6857999"/>
              <a:gd name="connsiteX42" fmla="*/ 11545932 w 12191999"/>
              <a:gd name="connsiteY42" fmla="*/ 297098 h 6857999"/>
              <a:gd name="connsiteX43" fmla="*/ 10863343 w 12191999"/>
              <a:gd name="connsiteY43" fmla="*/ 296863 h 6857999"/>
              <a:gd name="connsiteX44" fmla="*/ 10863343 w 12191999"/>
              <a:gd name="connsiteY44" fmla="*/ 572628 h 6857999"/>
              <a:gd name="connsiteX45" fmla="*/ 10913696 w 12191999"/>
              <a:gd name="connsiteY45" fmla="*/ 572628 h 6857999"/>
              <a:gd name="connsiteX46" fmla="*/ 10913696 w 12191999"/>
              <a:gd name="connsiteY46" fmla="*/ 338745 h 6857999"/>
              <a:gd name="connsiteX47" fmla="*/ 11028990 w 12191999"/>
              <a:gd name="connsiteY47" fmla="*/ 338745 h 6857999"/>
              <a:gd name="connsiteX48" fmla="*/ 11028990 w 12191999"/>
              <a:gd name="connsiteY48" fmla="*/ 572628 h 6857999"/>
              <a:gd name="connsiteX49" fmla="*/ 11079578 w 12191999"/>
              <a:gd name="connsiteY49" fmla="*/ 572628 h 6857999"/>
              <a:gd name="connsiteX50" fmla="*/ 11079578 w 12191999"/>
              <a:gd name="connsiteY50" fmla="*/ 338745 h 6857999"/>
              <a:gd name="connsiteX51" fmla="*/ 11156284 w 12191999"/>
              <a:gd name="connsiteY51" fmla="*/ 338745 h 6857999"/>
              <a:gd name="connsiteX52" fmla="*/ 11200520 w 12191999"/>
              <a:gd name="connsiteY52" fmla="*/ 387922 h 6857999"/>
              <a:gd name="connsiteX53" fmla="*/ 11200520 w 12191999"/>
              <a:gd name="connsiteY53" fmla="*/ 572628 h 6857999"/>
              <a:gd name="connsiteX54" fmla="*/ 11250873 w 12191999"/>
              <a:gd name="connsiteY54" fmla="*/ 572628 h 6857999"/>
              <a:gd name="connsiteX55" fmla="*/ 11250873 w 12191999"/>
              <a:gd name="connsiteY55" fmla="*/ 374039 h 6857999"/>
              <a:gd name="connsiteX56" fmla="*/ 11181696 w 12191999"/>
              <a:gd name="connsiteY56" fmla="*/ 296863 h 6857999"/>
              <a:gd name="connsiteX57" fmla="*/ 0 w 12191999"/>
              <a:gd name="connsiteY57" fmla="*/ 0 h 6857999"/>
              <a:gd name="connsiteX58" fmla="*/ 12191999 w 12191999"/>
              <a:gd name="connsiteY58" fmla="*/ 0 h 6857999"/>
              <a:gd name="connsiteX59" fmla="*/ 12191999 w 12191999"/>
              <a:gd name="connsiteY59" fmla="*/ 6857999 h 6857999"/>
              <a:gd name="connsiteX60" fmla="*/ 0 w 12191999"/>
              <a:gd name="connsiteY6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9" h="6857999">
                <a:moveTo>
                  <a:pt x="10764520" y="454510"/>
                </a:moveTo>
                <a:cubicBezTo>
                  <a:pt x="10731344" y="454510"/>
                  <a:pt x="10704520" y="481334"/>
                  <a:pt x="10704520" y="514510"/>
                </a:cubicBezTo>
                <a:cubicBezTo>
                  <a:pt x="10704520" y="547686"/>
                  <a:pt x="10731344" y="574510"/>
                  <a:pt x="10764520" y="574510"/>
                </a:cubicBezTo>
                <a:cubicBezTo>
                  <a:pt x="10797697" y="574510"/>
                  <a:pt x="10824520" y="547686"/>
                  <a:pt x="10824520" y="514510"/>
                </a:cubicBezTo>
                <a:cubicBezTo>
                  <a:pt x="10824520" y="481334"/>
                  <a:pt x="10797697" y="454510"/>
                  <a:pt x="10764520" y="454510"/>
                </a:cubicBezTo>
                <a:close/>
                <a:moveTo>
                  <a:pt x="11703579" y="338981"/>
                </a:moveTo>
                <a:lnTo>
                  <a:pt x="11807108" y="338981"/>
                </a:lnTo>
                <a:lnTo>
                  <a:pt x="11807108" y="530745"/>
                </a:lnTo>
                <a:lnTo>
                  <a:pt x="11701461" y="530745"/>
                </a:lnTo>
                <a:cubicBezTo>
                  <a:pt x="11670167" y="530981"/>
                  <a:pt x="11638637" y="533098"/>
                  <a:pt x="11637696" y="492628"/>
                </a:cubicBezTo>
                <a:cubicBezTo>
                  <a:pt x="11637696" y="490981"/>
                  <a:pt x="11637461" y="476157"/>
                  <a:pt x="11637696" y="432863"/>
                </a:cubicBezTo>
                <a:cubicBezTo>
                  <a:pt x="11637932" y="396157"/>
                  <a:pt x="11637461" y="387451"/>
                  <a:pt x="11637696" y="383687"/>
                </a:cubicBezTo>
                <a:cubicBezTo>
                  <a:pt x="11639343" y="349804"/>
                  <a:pt x="11651814" y="337804"/>
                  <a:pt x="11703579" y="338981"/>
                </a:cubicBezTo>
                <a:close/>
                <a:moveTo>
                  <a:pt x="11686167" y="296863"/>
                </a:moveTo>
                <a:cubicBezTo>
                  <a:pt x="11641226" y="296863"/>
                  <a:pt x="11624520" y="303922"/>
                  <a:pt x="11612284" y="313804"/>
                </a:cubicBezTo>
                <a:cubicBezTo>
                  <a:pt x="11598873" y="324628"/>
                  <a:pt x="11586637" y="338039"/>
                  <a:pt x="11586402" y="384392"/>
                </a:cubicBezTo>
                <a:lnTo>
                  <a:pt x="11586402" y="483922"/>
                </a:lnTo>
                <a:cubicBezTo>
                  <a:pt x="11586402" y="532863"/>
                  <a:pt x="11600049" y="546745"/>
                  <a:pt x="11613931" y="558275"/>
                </a:cubicBezTo>
                <a:cubicBezTo>
                  <a:pt x="11623343" y="564863"/>
                  <a:pt x="11638873" y="572628"/>
                  <a:pt x="11686402" y="572628"/>
                </a:cubicBezTo>
                <a:lnTo>
                  <a:pt x="11807108" y="572628"/>
                </a:lnTo>
                <a:lnTo>
                  <a:pt x="11807108" y="583216"/>
                </a:lnTo>
                <a:cubicBezTo>
                  <a:pt x="11807108" y="604157"/>
                  <a:pt x="11803108" y="613098"/>
                  <a:pt x="11779108" y="613098"/>
                </a:cubicBezTo>
                <a:lnTo>
                  <a:pt x="11621696" y="613098"/>
                </a:lnTo>
                <a:lnTo>
                  <a:pt x="11621696" y="657334"/>
                </a:lnTo>
                <a:lnTo>
                  <a:pt x="11795343" y="657334"/>
                </a:lnTo>
                <a:cubicBezTo>
                  <a:pt x="11842167" y="657334"/>
                  <a:pt x="11857226" y="636392"/>
                  <a:pt x="11857226" y="597098"/>
                </a:cubicBezTo>
                <a:lnTo>
                  <a:pt x="11857226" y="296863"/>
                </a:lnTo>
                <a:close/>
                <a:moveTo>
                  <a:pt x="11351579" y="296863"/>
                </a:moveTo>
                <a:cubicBezTo>
                  <a:pt x="11297226" y="296863"/>
                  <a:pt x="11280755" y="333098"/>
                  <a:pt x="11280755" y="373334"/>
                </a:cubicBezTo>
                <a:cubicBezTo>
                  <a:pt x="11280755" y="416628"/>
                  <a:pt x="11298637" y="452863"/>
                  <a:pt x="11348049" y="452863"/>
                </a:cubicBezTo>
                <a:lnTo>
                  <a:pt x="11467814" y="452863"/>
                </a:lnTo>
                <a:cubicBezTo>
                  <a:pt x="11504520" y="452863"/>
                  <a:pt x="11504520" y="481098"/>
                  <a:pt x="11504520" y="494039"/>
                </a:cubicBezTo>
                <a:cubicBezTo>
                  <a:pt x="11504520" y="506039"/>
                  <a:pt x="11504520" y="530745"/>
                  <a:pt x="11468755" y="530745"/>
                </a:cubicBezTo>
                <a:lnTo>
                  <a:pt x="11285461" y="530745"/>
                </a:lnTo>
                <a:lnTo>
                  <a:pt x="11285461" y="572863"/>
                </a:lnTo>
                <a:lnTo>
                  <a:pt x="11489932" y="572863"/>
                </a:lnTo>
                <a:cubicBezTo>
                  <a:pt x="11540991" y="572863"/>
                  <a:pt x="11555579" y="542981"/>
                  <a:pt x="11555579" y="494510"/>
                </a:cubicBezTo>
                <a:cubicBezTo>
                  <a:pt x="11555579" y="436863"/>
                  <a:pt x="11536755" y="411216"/>
                  <a:pt x="11493226" y="411216"/>
                </a:cubicBezTo>
                <a:lnTo>
                  <a:pt x="11363814" y="411216"/>
                </a:lnTo>
                <a:cubicBezTo>
                  <a:pt x="11331108" y="411216"/>
                  <a:pt x="11331108" y="389098"/>
                  <a:pt x="11331108" y="374510"/>
                </a:cubicBezTo>
                <a:cubicBezTo>
                  <a:pt x="11331108" y="362981"/>
                  <a:pt x="11334402" y="338981"/>
                  <a:pt x="11369226" y="338981"/>
                </a:cubicBezTo>
                <a:lnTo>
                  <a:pt x="11545932" y="338981"/>
                </a:lnTo>
                <a:lnTo>
                  <a:pt x="11545932" y="297098"/>
                </a:lnTo>
                <a:close/>
                <a:moveTo>
                  <a:pt x="10863343" y="296863"/>
                </a:moveTo>
                <a:lnTo>
                  <a:pt x="10863343" y="572628"/>
                </a:lnTo>
                <a:lnTo>
                  <a:pt x="10913696" y="572628"/>
                </a:lnTo>
                <a:lnTo>
                  <a:pt x="10913696" y="338745"/>
                </a:lnTo>
                <a:lnTo>
                  <a:pt x="11028990" y="338745"/>
                </a:lnTo>
                <a:lnTo>
                  <a:pt x="11028990" y="572628"/>
                </a:lnTo>
                <a:lnTo>
                  <a:pt x="11079578" y="572628"/>
                </a:lnTo>
                <a:lnTo>
                  <a:pt x="11079578" y="338745"/>
                </a:lnTo>
                <a:lnTo>
                  <a:pt x="11156284" y="338745"/>
                </a:lnTo>
                <a:cubicBezTo>
                  <a:pt x="11182167" y="338745"/>
                  <a:pt x="11200520" y="354275"/>
                  <a:pt x="11200520" y="387922"/>
                </a:cubicBezTo>
                <a:lnTo>
                  <a:pt x="11200520" y="572628"/>
                </a:lnTo>
                <a:lnTo>
                  <a:pt x="11250873" y="572628"/>
                </a:lnTo>
                <a:lnTo>
                  <a:pt x="11250873" y="374039"/>
                </a:lnTo>
                <a:cubicBezTo>
                  <a:pt x="11250873" y="336392"/>
                  <a:pt x="11231579" y="296863"/>
                  <a:pt x="11181696" y="296863"/>
                </a:cubicBezTo>
                <a:close/>
                <a:moveTo>
                  <a:pt x="0" y="0"/>
                </a:moveTo>
                <a:lnTo>
                  <a:pt x="12191999" y="0"/>
                </a:lnTo>
                <a:lnTo>
                  <a:pt x="12191999" y="6857999"/>
                </a:lnTo>
                <a:lnTo>
                  <a:pt x="0" y="685799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20" name="Titel 19">
            <a:extLst>
              <a:ext uri="{FF2B5EF4-FFF2-40B4-BE49-F238E27FC236}">
                <a16:creationId xmlns:a16="http://schemas.microsoft.com/office/drawing/2014/main" id="{6691336D-DEFA-58EA-01B5-FC8DA046D838}"/>
              </a:ext>
            </a:extLst>
          </p:cNvPr>
          <p:cNvSpPr>
            <a:spLocks noGrp="1"/>
          </p:cNvSpPr>
          <p:nvPr>
            <p:ph type="title"/>
          </p:nvPr>
        </p:nvSpPr>
        <p:spPr bwMode="gray">
          <a:xfrm>
            <a:off x="623890" y="620713"/>
            <a:ext cx="5400543" cy="266437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505" cy="246221"/>
          </a:xfrm>
          <a:noFill/>
        </p:spPr>
        <p:txBody>
          <a:bodyPr wrap="square" lIns="0" tIns="0" rIns="0" bIns="0" anchor="ctr">
            <a:noAutofit/>
          </a:bodyPr>
          <a:lstStyle>
            <a:lvl1pPr rtl="0">
              <a:defRPr sz="1600" b="0">
                <a:solidFill>
                  <a:schemeClr val="tx1"/>
                </a:solidFill>
              </a:defRPr>
            </a:lvl1pPr>
          </a:lstStyle>
          <a:p>
            <a:pPr lvl="0"/>
            <a:r>
              <a:rPr lang="de-DE" err="1"/>
              <a:t>Subtitle</a:t>
            </a:r>
            <a:r>
              <a:rPr lang="de-DE"/>
              <a:t> einfügen</a:t>
            </a:r>
          </a:p>
        </p:txBody>
      </p:sp>
      <p:sp>
        <p:nvSpPr>
          <p:cNvPr id="184" name="Fußzeilenplatzhalter 183">
            <a:extLst>
              <a:ext uri="{FF2B5EF4-FFF2-40B4-BE49-F238E27FC236}">
                <a16:creationId xmlns:a16="http://schemas.microsoft.com/office/drawing/2014/main" id="{E82C5B1A-27F8-7211-0276-989824FAA1C1}"/>
              </a:ext>
            </a:extLst>
          </p:cNvPr>
          <p:cNvSpPr>
            <a:spLocks noGrp="1"/>
          </p:cNvSpPr>
          <p:nvPr>
            <p:ph type="ftr" sz="quarter" idx="15"/>
          </p:nvPr>
        </p:nvSpPr>
        <p:spPr/>
        <p:txBody>
          <a:bodyPr/>
          <a:lstStyle>
            <a:lvl1pPr>
              <a:defRPr>
                <a:solidFill>
                  <a:schemeClr val="bg1"/>
                </a:solidFill>
              </a:defRPr>
            </a:lvl1pPr>
          </a:lstStyle>
          <a:p>
            <a:r>
              <a:rPr lang="de-DE"/>
              <a:t>© msg systems ag | 2026 | msg-Unternehmenspräsentation</a:t>
            </a:r>
          </a:p>
        </p:txBody>
      </p:sp>
      <p:sp>
        <p:nvSpPr>
          <p:cNvPr id="185" name="Foliennummernplatzhalter 184">
            <a:extLst>
              <a:ext uri="{FF2B5EF4-FFF2-40B4-BE49-F238E27FC236}">
                <a16:creationId xmlns:a16="http://schemas.microsoft.com/office/drawing/2014/main" id="{C691B2D0-53EE-AF04-BBAF-FCE076AC44B4}"/>
              </a:ext>
            </a:extLst>
          </p:cNvPr>
          <p:cNvSpPr>
            <a:spLocks noGrp="1"/>
          </p:cNvSpPr>
          <p:nvPr>
            <p:ph type="sldNum" sz="quarter" idx="16"/>
          </p:nvPr>
        </p:nvSpPr>
        <p:spPr/>
        <p:txBody>
          <a:bodyPr/>
          <a:lstStyle>
            <a:lvl1pPr>
              <a:defRPr>
                <a:solidFill>
                  <a:schemeClr val="bg1"/>
                </a:solidFill>
              </a:defRPr>
            </a:lvl1pPr>
          </a:lstStyle>
          <a:p>
            <a:fld id="{1FBD72F1-A42A-46B0-A7F8-CE6A9835826C}" type="slidenum">
              <a:rPr lang="de-DE" smtClean="0"/>
              <a:pPr/>
              <a:t>‹Nr.›</a:t>
            </a:fld>
            <a:endParaRPr lang="de-DE"/>
          </a:p>
        </p:txBody>
      </p:sp>
      <p:grpSp>
        <p:nvGrpSpPr>
          <p:cNvPr id="186" name="Gruppieren 185">
            <a:extLst>
              <a:ext uri="{FF2B5EF4-FFF2-40B4-BE49-F238E27FC236}">
                <a16:creationId xmlns:a16="http://schemas.microsoft.com/office/drawing/2014/main" id="{A5FB2A22-BCE5-7162-28CA-89CC0696AEB2}"/>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87" name="Gerader Verbinder 186">
              <a:extLst>
                <a:ext uri="{FF2B5EF4-FFF2-40B4-BE49-F238E27FC236}">
                  <a16:creationId xmlns:a16="http://schemas.microsoft.com/office/drawing/2014/main" id="{7041D5FA-5FEF-1BB8-AB72-9F37E5C02C1F}"/>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8" name="Gerader Verbinder 187">
              <a:extLst>
                <a:ext uri="{FF2B5EF4-FFF2-40B4-BE49-F238E27FC236}">
                  <a16:creationId xmlns:a16="http://schemas.microsoft.com/office/drawing/2014/main" id="{AE717BC7-E3C8-DA92-5FDA-981BD85ADB9A}"/>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9" name="Gerader Verbinder 188">
              <a:extLst>
                <a:ext uri="{FF2B5EF4-FFF2-40B4-BE49-F238E27FC236}">
                  <a16:creationId xmlns:a16="http://schemas.microsoft.com/office/drawing/2014/main" id="{D7E86BE0-265C-96E3-85D2-4890E4017F6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0" name="Gerader Verbinder 189">
              <a:extLst>
                <a:ext uri="{FF2B5EF4-FFF2-40B4-BE49-F238E27FC236}">
                  <a16:creationId xmlns:a16="http://schemas.microsoft.com/office/drawing/2014/main" id="{65AC91D6-676A-FCFB-67AE-7496AD2896E1}"/>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1" name="Gerader Verbinder 190">
              <a:extLst>
                <a:ext uri="{FF2B5EF4-FFF2-40B4-BE49-F238E27FC236}">
                  <a16:creationId xmlns:a16="http://schemas.microsoft.com/office/drawing/2014/main" id="{727D8FC1-B3E6-0E5C-8B89-66E2C3E366E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0E2B846D-D49C-8000-E81A-21DA1631E79F}"/>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7369A8F8-A82A-AB82-EF7D-1DCFE04C6F3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83177ED3-E48D-964D-BDFC-A7C1E5FECFF6}"/>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95" name="Gerader Verbinder 194">
              <a:extLst>
                <a:ext uri="{FF2B5EF4-FFF2-40B4-BE49-F238E27FC236}">
                  <a16:creationId xmlns:a16="http://schemas.microsoft.com/office/drawing/2014/main" id="{5C2AA6AC-8BDD-F576-F366-48EDBF3038C5}"/>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E7A8DDA3-8116-AB7A-DB81-A31351374741}"/>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8958283E-34B4-A9C4-C2B7-AE455F943BBF}"/>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8E24D391-E25A-D774-F30C-84428E5B66F8}"/>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82ECFEA5-F8D5-A65C-D5DF-4AA923F67D8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E61119F1-A205-8424-66DD-DBA74ACBFDB2}"/>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76621255-92C9-D570-982C-322718348BF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664042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message gelb">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152565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descr="Bild füllt die komplette Folie aus, oben links Keymessage und Untertitel. Das Bild zeigt eine gelbe Wellenstruktur.">
            <a:extLst>
              <a:ext uri="{FF2B5EF4-FFF2-40B4-BE49-F238E27FC236}">
                <a16:creationId xmlns:a16="http://schemas.microsoft.com/office/drawing/2014/main" id="{5954209D-6538-1F59-7CA1-C53125F44D82}"/>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0" y="0"/>
            <a:ext cx="12192000" cy="6857999"/>
          </a:xfrm>
          <a:prstGeom prst="rect">
            <a:avLst/>
          </a:prstGeom>
        </p:spPr>
      </p:pic>
      <p:sp>
        <p:nvSpPr>
          <p:cNvPr id="5" name="Titel 4">
            <a:extLst>
              <a:ext uri="{FF2B5EF4-FFF2-40B4-BE49-F238E27FC236}">
                <a16:creationId xmlns:a16="http://schemas.microsoft.com/office/drawing/2014/main" id="{99C42C62-481A-C70F-8CB4-2E9CD95967AB}"/>
              </a:ext>
            </a:extLst>
          </p:cNvPr>
          <p:cNvSpPr>
            <a:spLocks noGrp="1"/>
          </p:cNvSpPr>
          <p:nvPr>
            <p:ph type="title"/>
          </p:nvPr>
        </p:nvSpPr>
        <p:spPr bwMode="gray">
          <a:xfrm>
            <a:off x="623890" y="620712"/>
            <a:ext cx="5400000" cy="266400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000" cy="246221"/>
          </a:xfrm>
          <a:noFill/>
        </p:spPr>
        <p:txBody>
          <a:bodyPr wrap="square" lIns="0" tIns="0" rIns="0" bIns="0" anchor="ctr">
            <a:noAutofit/>
          </a:bodyPr>
          <a:lstStyle>
            <a:lvl1pPr rtl="0">
              <a:defRPr sz="1600" b="0">
                <a:solidFill>
                  <a:schemeClr val="tx1"/>
                </a:solidFill>
              </a:defRPr>
            </a:lvl1pPr>
          </a:lstStyle>
          <a:p>
            <a:pPr lvl="0"/>
            <a:r>
              <a:rPr lang="de-DE" err="1"/>
              <a:t>Subtitle</a:t>
            </a:r>
            <a:r>
              <a:rPr lang="de-DE"/>
              <a:t> einfügen</a:t>
            </a:r>
          </a:p>
        </p:txBody>
      </p:sp>
      <p:sp>
        <p:nvSpPr>
          <p:cNvPr id="185" name="Fußzeilenplatzhalter 184">
            <a:extLst>
              <a:ext uri="{FF2B5EF4-FFF2-40B4-BE49-F238E27FC236}">
                <a16:creationId xmlns:a16="http://schemas.microsoft.com/office/drawing/2014/main" id="{14FDEAE1-4FB5-4A33-FE6C-40E5A50F09AC}"/>
              </a:ext>
            </a:extLst>
          </p:cNvPr>
          <p:cNvSpPr>
            <a:spLocks noGrp="1"/>
          </p:cNvSpPr>
          <p:nvPr>
            <p:ph type="ftr" sz="quarter" idx="13"/>
          </p:nvPr>
        </p:nvSpPr>
        <p:spPr/>
        <p:txBody>
          <a:bodyPr/>
          <a:lstStyle>
            <a:lvl1pPr>
              <a:defRPr>
                <a:solidFill>
                  <a:schemeClr val="bg1"/>
                </a:solidFill>
              </a:defRPr>
            </a:lvl1pPr>
          </a:lstStyle>
          <a:p>
            <a:r>
              <a:rPr lang="de-DE"/>
              <a:t>© msg systems ag | 2026 | msg-Unternehmenspräsentation</a:t>
            </a:r>
          </a:p>
        </p:txBody>
      </p:sp>
      <p:sp>
        <p:nvSpPr>
          <p:cNvPr id="186" name="Foliennummernplatzhalter 185">
            <a:extLst>
              <a:ext uri="{FF2B5EF4-FFF2-40B4-BE49-F238E27FC236}">
                <a16:creationId xmlns:a16="http://schemas.microsoft.com/office/drawing/2014/main" id="{42679077-A045-2B6D-7D97-2CABB7B3F0CC}"/>
              </a:ext>
            </a:extLst>
          </p:cNvPr>
          <p:cNvSpPr>
            <a:spLocks noGrp="1"/>
          </p:cNvSpPr>
          <p:nvPr>
            <p:ph type="sldNum" sz="quarter" idx="14"/>
          </p:nvPr>
        </p:nvSpPr>
        <p:spPr/>
        <p:txBody>
          <a:bodyPr/>
          <a:lstStyle>
            <a:lvl1pPr>
              <a:defRPr>
                <a:solidFill>
                  <a:schemeClr val="bg1"/>
                </a:solidFill>
              </a:defRPr>
            </a:lvl1pPr>
          </a:lstStyle>
          <a:p>
            <a:fld id="{1FBD72F1-A42A-46B0-A7F8-CE6A9835826C}" type="slidenum">
              <a:rPr lang="de-DE" smtClean="0"/>
              <a:pPr/>
              <a:t>‹Nr.›</a:t>
            </a:fld>
            <a:endParaRPr lang="de-DE"/>
          </a:p>
        </p:txBody>
      </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7A5D8476-4187-5C37-8078-7168A03C1466}"/>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31335795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message grü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12342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descr="Bild füllt die komplette Folie aus, oben links Keymessage und Untertitel. Das Bild zeigt eine grüne Wellenstruktur.">
            <a:extLst>
              <a:ext uri="{FF2B5EF4-FFF2-40B4-BE49-F238E27FC236}">
                <a16:creationId xmlns:a16="http://schemas.microsoft.com/office/drawing/2014/main" id="{E435F2FA-DC13-0092-B7C8-6FE9692BEBE8}"/>
              </a:ext>
              <a:ext uri="{C183D7F6-B498-43B3-948B-1728B52AA6E4}">
                <adec:decorative xmlns:adec="http://schemas.microsoft.com/office/drawing/2017/decorative" val="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flipH="1">
            <a:off x="0" y="0"/>
            <a:ext cx="12192000" cy="6857999"/>
          </a:xfrm>
          <a:prstGeom prst="rect">
            <a:avLst/>
          </a:prstGeom>
        </p:spPr>
      </p:pic>
      <p:sp>
        <p:nvSpPr>
          <p:cNvPr id="5" name="Titel 4">
            <a:extLst>
              <a:ext uri="{FF2B5EF4-FFF2-40B4-BE49-F238E27FC236}">
                <a16:creationId xmlns:a16="http://schemas.microsoft.com/office/drawing/2014/main" id="{87F750BD-576D-BAF4-908D-604465D3B9C5}"/>
              </a:ext>
            </a:extLst>
          </p:cNvPr>
          <p:cNvSpPr>
            <a:spLocks noGrp="1"/>
          </p:cNvSpPr>
          <p:nvPr>
            <p:ph type="title"/>
          </p:nvPr>
        </p:nvSpPr>
        <p:spPr bwMode="gray">
          <a:xfrm>
            <a:off x="623890" y="620712"/>
            <a:ext cx="5400000" cy="266400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000" cy="246221"/>
          </a:xfrm>
          <a:noFill/>
        </p:spPr>
        <p:txBody>
          <a:bodyPr wrap="square" lIns="0" tIns="0" rIns="0" bIns="0" anchor="ctr">
            <a:noAutofit/>
          </a:bodyPr>
          <a:lstStyle>
            <a:lvl1pPr rtl="0">
              <a:defRPr sz="1600" b="0">
                <a:solidFill>
                  <a:schemeClr val="tx1"/>
                </a:solidFill>
              </a:defRPr>
            </a:lvl1pPr>
          </a:lstStyle>
          <a:p>
            <a:pPr lvl="0"/>
            <a:r>
              <a:rPr lang="de-DE" err="1"/>
              <a:t>Subtitle</a:t>
            </a:r>
            <a:r>
              <a:rPr lang="de-DE"/>
              <a:t> einfügen</a:t>
            </a:r>
          </a:p>
        </p:txBody>
      </p:sp>
      <p:sp>
        <p:nvSpPr>
          <p:cNvPr id="2" name="Fußzeilenplatzhalter 1">
            <a:extLst>
              <a:ext uri="{FF2B5EF4-FFF2-40B4-BE49-F238E27FC236}">
                <a16:creationId xmlns:a16="http://schemas.microsoft.com/office/drawing/2014/main" id="{A7C5717B-FE45-5028-C429-89AA2A8A9A67}"/>
              </a:ext>
            </a:extLst>
          </p:cNvPr>
          <p:cNvSpPr>
            <a:spLocks noGrp="1"/>
          </p:cNvSpPr>
          <p:nvPr>
            <p:ph type="ftr" sz="quarter" idx="13"/>
          </p:nvPr>
        </p:nvSpPr>
        <p:spPr/>
        <p:txBody>
          <a:bodyPr/>
          <a:lstStyle>
            <a:lvl1pPr>
              <a:defRPr>
                <a:solidFill>
                  <a:schemeClr val="bg1"/>
                </a:solidFill>
              </a:defRPr>
            </a:lvl1pPr>
          </a:lstStyle>
          <a:p>
            <a:r>
              <a:rPr lang="de-DE"/>
              <a:t>© msg systems ag | 2026 | msg-Unternehmenspräsentation</a:t>
            </a:r>
          </a:p>
        </p:txBody>
      </p:sp>
      <p:sp>
        <p:nvSpPr>
          <p:cNvPr id="3" name="Foliennummernplatzhalter 2">
            <a:extLst>
              <a:ext uri="{FF2B5EF4-FFF2-40B4-BE49-F238E27FC236}">
                <a16:creationId xmlns:a16="http://schemas.microsoft.com/office/drawing/2014/main" id="{4927A4AD-3F3C-C3F6-A92B-5F47DB26DDEB}"/>
              </a:ext>
            </a:extLst>
          </p:cNvPr>
          <p:cNvSpPr>
            <a:spLocks noGrp="1"/>
          </p:cNvSpPr>
          <p:nvPr>
            <p:ph type="sldNum" sz="quarter" idx="14"/>
          </p:nvPr>
        </p:nvSpPr>
        <p:spPr/>
        <p:txBody>
          <a:bodyPr/>
          <a:lstStyle>
            <a:lvl1pPr>
              <a:defRPr>
                <a:solidFill>
                  <a:schemeClr val="bg1"/>
                </a:solidFill>
              </a:defRPr>
            </a:lvl1pPr>
          </a:lstStyle>
          <a:p>
            <a:fld id="{1FBD72F1-A42A-46B0-A7F8-CE6A9835826C}" type="slidenum">
              <a:rPr lang="de-DE" smtClean="0"/>
              <a:pPr/>
              <a:t>‹Nr.›</a:t>
            </a:fld>
            <a:endParaRPr lang="de-DE"/>
          </a:p>
        </p:txBody>
      </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7A5D8476-4187-5C37-8078-7168A03C1466}"/>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15198685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message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99566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1487551" y="1525591"/>
            <a:ext cx="8425277" cy="246221"/>
          </a:xfrm>
          <a:noFill/>
        </p:spPr>
        <p:txBody>
          <a:bodyPr wrap="square" lIns="0" tIns="0" rIns="0" bIns="0" anchor="ctr">
            <a:noAutofit/>
          </a:bodyPr>
          <a:lstStyle>
            <a:lvl1pPr rtl="0">
              <a:defRPr sz="16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1487552" y="2205196"/>
            <a:ext cx="8425282" cy="1727824"/>
          </a:xfrm>
        </p:spPr>
        <p:txBody>
          <a:bodyPr vert="horz"/>
          <a:lstStyle>
            <a:lvl1pPr rtl="0">
              <a:defRPr sz="3600"/>
            </a:lvl1pPr>
          </a:lstStyle>
          <a:p>
            <a:r>
              <a:rPr lang="de-DE"/>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5" name="Grafik 4">
            <a:extLst>
              <a:ext uri="{FF2B5EF4-FFF2-40B4-BE49-F238E27FC236}">
                <a16:creationId xmlns:a16="http://schemas.microsoft.com/office/drawing/2014/main" id="{A4F61372-4ED9-3EC9-9A1A-23EB86758932}"/>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bwMode="gray">
          <a:xfrm>
            <a:off x="10704521" y="296864"/>
            <a:ext cx="1152942" cy="360000"/>
          </a:xfrm>
          <a:prstGeom prst="rect">
            <a:avLst/>
          </a:prstGeom>
        </p:spPr>
      </p:pic>
      <p:grpSp>
        <p:nvGrpSpPr>
          <p:cNvPr id="11" name="Gruppieren 10">
            <a:extLst>
              <a:ext uri="{FF2B5EF4-FFF2-40B4-BE49-F238E27FC236}">
                <a16:creationId xmlns:a16="http://schemas.microsoft.com/office/drawing/2014/main" id="{5AB6250B-1B13-4A44-B5BA-119DF7713C6E}"/>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3" name="Gerader Verbinder 12">
              <a:extLst>
                <a:ext uri="{FF2B5EF4-FFF2-40B4-BE49-F238E27FC236}">
                  <a16:creationId xmlns:a16="http://schemas.microsoft.com/office/drawing/2014/main" id="{BB4B0D50-99FA-FE97-61A1-0CAE8407E4CB}"/>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08B9671-F1E6-E243-8847-2DEC4618B107}"/>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E106CDD9-2B97-9752-65F3-F46A524B406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4" name="Gerader Verbinder 23">
              <a:extLst>
                <a:ext uri="{FF2B5EF4-FFF2-40B4-BE49-F238E27FC236}">
                  <a16:creationId xmlns:a16="http://schemas.microsoft.com/office/drawing/2014/main" id="{19ECEAE7-6ED9-AF3D-79EC-721F080B817E}"/>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F48AA1BB-3ADA-0EAB-ED40-E1363AD7E54A}"/>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3" name="Grafik 2">
            <a:extLst>
              <a:ext uri="{FF2B5EF4-FFF2-40B4-BE49-F238E27FC236}">
                <a16:creationId xmlns:a16="http://schemas.microsoft.com/office/drawing/2014/main" id="{7DC58F1E-22AF-9967-0952-5490BEC87E2B}"/>
              </a:ext>
              <a:ext uri="{C183D7F6-B498-43B3-948B-1728B52AA6E4}">
                <adec:decorative xmlns:adec="http://schemas.microsoft.com/office/drawing/2017/decorative" val="1"/>
              </a:ext>
            </a:extLst>
          </p:cNvPr>
          <p:cNvPicPr>
            <a:picLocks/>
          </p:cNvPicPr>
          <p:nvPr userDrawn="1"/>
        </p:nvPicPr>
        <p:blipFill rotWithShape="1">
          <a:blip r:embed="rId6">
            <a:extLst>
              <a:ext uri="{28A0092B-C50C-407E-A947-70E740481C1C}">
                <a14:useLocalDpi xmlns:a14="http://schemas.microsoft.com/office/drawing/2010/main" val="0"/>
              </a:ext>
            </a:extLst>
          </a:blip>
          <a:srcRect/>
          <a:stretch/>
        </p:blipFill>
        <p:spPr bwMode="gray">
          <a:xfrm>
            <a:off x="1487552" y="1972976"/>
            <a:ext cx="1202053" cy="57600"/>
          </a:xfrm>
          <a:prstGeom prst="rect">
            <a:avLst/>
          </a:prstGeom>
        </p:spPr>
      </p:pic>
      <p:grpSp>
        <p:nvGrpSpPr>
          <p:cNvPr id="191" name="Gruppieren 190">
            <a:extLst>
              <a:ext uri="{FF2B5EF4-FFF2-40B4-BE49-F238E27FC236}">
                <a16:creationId xmlns:a16="http://schemas.microsoft.com/office/drawing/2014/main" id="{32D0DC10-EFFF-3ADC-EFA9-4B2BAB534A7A}"/>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2" name="Gerader Verbinder 191">
              <a:extLst>
                <a:ext uri="{FF2B5EF4-FFF2-40B4-BE49-F238E27FC236}">
                  <a16:creationId xmlns:a16="http://schemas.microsoft.com/office/drawing/2014/main" id="{05FBF4CD-0528-38C2-FBFF-04ECF5F929F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40408BFA-CCF4-DB3F-4F95-BE35697FBFC2}"/>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B65E39BF-EFF7-10AD-45A8-23EF497384F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1CC4D524-0461-747A-2770-4B9590FE34A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474FC839-3017-DFC9-B32A-D59FD55B0AF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3AE5C23D-21FA-6144-BF9A-B1E96C50FFA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9FF3B812-B74A-9B6E-AFAB-DEE38C414CF3}"/>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9" name="Gruppieren 198">
            <a:extLst>
              <a:ext uri="{FF2B5EF4-FFF2-40B4-BE49-F238E27FC236}">
                <a16:creationId xmlns:a16="http://schemas.microsoft.com/office/drawing/2014/main" id="{C8AF24E2-DAE6-9BE8-86B3-D12747F4D55F}"/>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0" name="Gerader Verbinder 199">
              <a:extLst>
                <a:ext uri="{FF2B5EF4-FFF2-40B4-BE49-F238E27FC236}">
                  <a16:creationId xmlns:a16="http://schemas.microsoft.com/office/drawing/2014/main" id="{1A9C1CCE-0333-8648-6C84-90812B4AD89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DF9F53EF-A455-FBA8-EDE1-AADCF1077F4E}"/>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974AC9BA-60C3-A7FC-97EF-58FD817CF51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3801C69D-2429-82B4-35BA-3554900A9C51}"/>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404AC6CD-3611-9EC3-34AF-9FFA8827D4B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F896204E-D3C8-BDC5-5EF9-31819A72B1D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A55EBB46-709E-2AB6-C615-EAFE29AC6CD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906577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 Kontakt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742199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8" name="Grafik 107" descr="Bild mit grüner Wellenstruktur füllt 1/3 der Folie aus, darauf die Anschrift der msg systems ag und die Logos von X, Linkedin, Facebook, Instagram und Whatsapp. Links der Titel und bis zu 8 Kontaktpersonen mit Bild.">
            <a:extLst>
              <a:ext uri="{FF2B5EF4-FFF2-40B4-BE49-F238E27FC236}">
                <a16:creationId xmlns:a16="http://schemas.microsoft.com/office/drawing/2014/main" id="{AE4C995B-DFDC-78DF-ACE7-74EE29C3B8FF}"/>
              </a:ext>
              <a:ext uri="{C183D7F6-B498-43B3-948B-1728B52AA6E4}">
                <adec:decorative xmlns:adec="http://schemas.microsoft.com/office/drawing/2017/decorative" val="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flipH="1" flipV="1">
            <a:off x="8400680" y="2772"/>
            <a:ext cx="3791319" cy="6855228"/>
          </a:xfrm>
          <a:prstGeom prst="rect">
            <a:avLst/>
          </a:prstGeom>
        </p:spPr>
      </p:pic>
      <p:sp>
        <p:nvSpPr>
          <p:cNvPr id="2" name="Titel 1">
            <a:extLst>
              <a:ext uri="{FF2B5EF4-FFF2-40B4-BE49-F238E27FC236}">
                <a16:creationId xmlns:a16="http://schemas.microsoft.com/office/drawing/2014/main" id="{3FB3FC25-F432-5096-1B3C-2356EF2C50CD}"/>
              </a:ext>
            </a:extLst>
          </p:cNvPr>
          <p:cNvSpPr>
            <a:spLocks noGrp="1"/>
          </p:cNvSpPr>
          <p:nvPr userDrawn="1">
            <p:ph type="title"/>
          </p:nvPr>
        </p:nvSpPr>
        <p:spPr bwMode="gray">
          <a:xfrm>
            <a:off x="623889" y="620713"/>
            <a:ext cx="6910386" cy="738664"/>
          </a:xfrm>
        </p:spPr>
        <p:txBody>
          <a:bodyPr vert="horz"/>
          <a:lstStyle/>
          <a:p>
            <a:r>
              <a:rPr lang="de-DE"/>
              <a:t>Mastertitelformat bearbeiten</a:t>
            </a:r>
          </a:p>
        </p:txBody>
      </p:sp>
      <p:sp>
        <p:nvSpPr>
          <p:cNvPr id="16" name="Bildplatzhalter 15">
            <a:extLst>
              <a:ext uri="{FF2B5EF4-FFF2-40B4-BE49-F238E27FC236}">
                <a16:creationId xmlns:a16="http://schemas.microsoft.com/office/drawing/2014/main" id="{971D89B3-93B1-57A2-2934-C51B985EA126}"/>
              </a:ext>
              <a:ext uri="{C183D7F6-B498-43B3-948B-1728B52AA6E4}">
                <adec:decorative xmlns:adec="http://schemas.microsoft.com/office/drawing/2017/decorative" val="0"/>
              </a:ext>
            </a:extLst>
          </p:cNvPr>
          <p:cNvSpPr>
            <a:spLocks noGrp="1"/>
          </p:cNvSpPr>
          <p:nvPr userDrawn="1">
            <p:ph type="pic" sz="quarter" idx="12" hasCustomPrompt="1"/>
          </p:nvPr>
        </p:nvSpPr>
        <p:spPr bwMode="gray">
          <a:xfrm>
            <a:off x="623888" y="2203994"/>
            <a:ext cx="648000" cy="648000"/>
          </a:xfrm>
          <a:prstGeom prst="ellipse">
            <a:avLst/>
          </a:prstGeom>
          <a:solidFill>
            <a:schemeClr val="bg2"/>
          </a:solidFill>
        </p:spPr>
        <p:txBody>
          <a:bodyPr>
            <a:noAutofit/>
          </a:bodyPr>
          <a:lstStyle>
            <a:lvl1pPr rtl="0">
              <a:defRPr sz="1000">
                <a:solidFill>
                  <a:schemeClr val="tx1"/>
                </a:solidFill>
              </a:defRPr>
            </a:lvl1pPr>
          </a:lstStyle>
          <a:p>
            <a:r>
              <a:rPr lang="de-DE"/>
              <a:t>Bild hinzufügen</a:t>
            </a:r>
          </a:p>
        </p:txBody>
      </p:sp>
      <p:sp>
        <p:nvSpPr>
          <p:cNvPr id="40" name="Textplatzhalter 39">
            <a:extLst>
              <a:ext uri="{FF2B5EF4-FFF2-40B4-BE49-F238E27FC236}">
                <a16:creationId xmlns:a16="http://schemas.microsoft.com/office/drawing/2014/main" id="{AFA1D9AC-7FF6-6CF2-35C7-822784B6FBCD}"/>
              </a:ext>
            </a:extLst>
          </p:cNvPr>
          <p:cNvSpPr>
            <a:spLocks noGrp="1"/>
          </p:cNvSpPr>
          <p:nvPr userDrawn="1">
            <p:ph type="body" sz="quarter" idx="20"/>
          </p:nvPr>
        </p:nvSpPr>
        <p:spPr bwMode="gray">
          <a:xfrm>
            <a:off x="1485234" y="2204063"/>
            <a:ext cx="2376310" cy="647931"/>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18" name="Bildplatzhalter 17">
            <a:extLst>
              <a:ext uri="{FF2B5EF4-FFF2-40B4-BE49-F238E27FC236}">
                <a16:creationId xmlns:a16="http://schemas.microsoft.com/office/drawing/2014/main" id="{B8743BA9-5CC3-01F3-D460-A28E65028C1E}"/>
              </a:ext>
              <a:ext uri="{C183D7F6-B498-43B3-948B-1728B52AA6E4}">
                <adec:decorative xmlns:adec="http://schemas.microsoft.com/office/drawing/2017/decorative" val="0"/>
              </a:ext>
            </a:extLst>
          </p:cNvPr>
          <p:cNvSpPr>
            <a:spLocks noGrp="1"/>
          </p:cNvSpPr>
          <p:nvPr userDrawn="1">
            <p:ph type="pic" sz="quarter" idx="13" hasCustomPrompt="1"/>
          </p:nvPr>
        </p:nvSpPr>
        <p:spPr bwMode="gray">
          <a:xfrm>
            <a:off x="623887" y="3067980"/>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2" name="Textplatzhalter 41">
            <a:extLst>
              <a:ext uri="{FF2B5EF4-FFF2-40B4-BE49-F238E27FC236}">
                <a16:creationId xmlns:a16="http://schemas.microsoft.com/office/drawing/2014/main" id="{7DD5731B-8B22-6B97-9772-427E558C5370}"/>
              </a:ext>
            </a:extLst>
          </p:cNvPr>
          <p:cNvSpPr>
            <a:spLocks noGrp="1"/>
          </p:cNvSpPr>
          <p:nvPr userDrawn="1">
            <p:ph type="body" sz="quarter" idx="21"/>
          </p:nvPr>
        </p:nvSpPr>
        <p:spPr bwMode="gray">
          <a:xfrm>
            <a:off x="1485234" y="3067980"/>
            <a:ext cx="2376310" cy="647930"/>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0" name="Bildplatzhalter 19">
            <a:extLst>
              <a:ext uri="{FF2B5EF4-FFF2-40B4-BE49-F238E27FC236}">
                <a16:creationId xmlns:a16="http://schemas.microsoft.com/office/drawing/2014/main" id="{41E7DC1D-D4D8-70D3-57D0-038CEA0BFD1E}"/>
              </a:ext>
              <a:ext uri="{C183D7F6-B498-43B3-948B-1728B52AA6E4}">
                <adec:decorative xmlns:adec="http://schemas.microsoft.com/office/drawing/2017/decorative" val="0"/>
              </a:ext>
            </a:extLst>
          </p:cNvPr>
          <p:cNvSpPr>
            <a:spLocks noGrp="1"/>
          </p:cNvSpPr>
          <p:nvPr userDrawn="1">
            <p:ph type="pic" sz="quarter" idx="14" hasCustomPrompt="1"/>
          </p:nvPr>
        </p:nvSpPr>
        <p:spPr bwMode="gray">
          <a:xfrm>
            <a:off x="623888" y="3931736"/>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4" name="Textplatzhalter 43">
            <a:extLst>
              <a:ext uri="{FF2B5EF4-FFF2-40B4-BE49-F238E27FC236}">
                <a16:creationId xmlns:a16="http://schemas.microsoft.com/office/drawing/2014/main" id="{9F56ED74-2FA8-BCC2-B137-E35B01E4CD6A}"/>
              </a:ext>
            </a:extLst>
          </p:cNvPr>
          <p:cNvSpPr>
            <a:spLocks noGrp="1"/>
          </p:cNvSpPr>
          <p:nvPr userDrawn="1">
            <p:ph type="body" sz="quarter" idx="22"/>
          </p:nvPr>
        </p:nvSpPr>
        <p:spPr bwMode="gray">
          <a:xfrm>
            <a:off x="1485234" y="3931821"/>
            <a:ext cx="2376310" cy="647915"/>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2" name="Bildplatzhalter 21">
            <a:extLst>
              <a:ext uri="{FF2B5EF4-FFF2-40B4-BE49-F238E27FC236}">
                <a16:creationId xmlns:a16="http://schemas.microsoft.com/office/drawing/2014/main" id="{C37E5E02-DA17-49AB-C218-66F45292B9EE}"/>
              </a:ext>
              <a:ext uri="{C183D7F6-B498-43B3-948B-1728B52AA6E4}">
                <adec:decorative xmlns:adec="http://schemas.microsoft.com/office/drawing/2017/decorative" val="0"/>
              </a:ext>
            </a:extLst>
          </p:cNvPr>
          <p:cNvSpPr>
            <a:spLocks noGrp="1"/>
          </p:cNvSpPr>
          <p:nvPr userDrawn="1">
            <p:ph type="pic" sz="quarter" idx="15" hasCustomPrompt="1"/>
          </p:nvPr>
        </p:nvSpPr>
        <p:spPr bwMode="gray">
          <a:xfrm>
            <a:off x="623887" y="4796315"/>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6" name="Textplatzhalter 45">
            <a:extLst>
              <a:ext uri="{FF2B5EF4-FFF2-40B4-BE49-F238E27FC236}">
                <a16:creationId xmlns:a16="http://schemas.microsoft.com/office/drawing/2014/main" id="{3B5F6881-B4A7-C6CF-7F85-125FFCEA1F14}"/>
              </a:ext>
            </a:extLst>
          </p:cNvPr>
          <p:cNvSpPr>
            <a:spLocks noGrp="1"/>
          </p:cNvSpPr>
          <p:nvPr userDrawn="1">
            <p:ph type="body" sz="quarter" idx="23"/>
          </p:nvPr>
        </p:nvSpPr>
        <p:spPr bwMode="gray">
          <a:xfrm>
            <a:off x="1485234" y="4796393"/>
            <a:ext cx="2376310" cy="647922"/>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4" name="Bildplatzhalter 23">
            <a:extLst>
              <a:ext uri="{FF2B5EF4-FFF2-40B4-BE49-F238E27FC236}">
                <a16:creationId xmlns:a16="http://schemas.microsoft.com/office/drawing/2014/main" id="{85424A3E-3384-D84B-08BC-CD36882B0B85}"/>
              </a:ext>
              <a:ext uri="{C183D7F6-B498-43B3-948B-1728B52AA6E4}">
                <adec:decorative xmlns:adec="http://schemas.microsoft.com/office/drawing/2017/decorative" val="0"/>
              </a:ext>
            </a:extLst>
          </p:cNvPr>
          <p:cNvSpPr>
            <a:spLocks noGrp="1"/>
          </p:cNvSpPr>
          <p:nvPr userDrawn="1">
            <p:ph type="pic" sz="quarter" idx="16" hasCustomPrompt="1"/>
          </p:nvPr>
        </p:nvSpPr>
        <p:spPr bwMode="gray">
          <a:xfrm>
            <a:off x="4295838" y="2203994"/>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8" name="Textplatzhalter 47">
            <a:extLst>
              <a:ext uri="{FF2B5EF4-FFF2-40B4-BE49-F238E27FC236}">
                <a16:creationId xmlns:a16="http://schemas.microsoft.com/office/drawing/2014/main" id="{FB66BA4C-7DC0-AC8B-2142-7292266FAAD3}"/>
              </a:ext>
            </a:extLst>
          </p:cNvPr>
          <p:cNvSpPr>
            <a:spLocks noGrp="1"/>
          </p:cNvSpPr>
          <p:nvPr userDrawn="1">
            <p:ph type="body" sz="quarter" idx="24"/>
          </p:nvPr>
        </p:nvSpPr>
        <p:spPr bwMode="gray">
          <a:xfrm>
            <a:off x="5163026" y="2204063"/>
            <a:ext cx="2371249" cy="647931"/>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6" name="Bildplatzhalter 25">
            <a:extLst>
              <a:ext uri="{FF2B5EF4-FFF2-40B4-BE49-F238E27FC236}">
                <a16:creationId xmlns:a16="http://schemas.microsoft.com/office/drawing/2014/main" id="{B694C1FC-EE32-3B77-9E33-C4ED7A2D6593}"/>
              </a:ext>
              <a:ext uri="{C183D7F6-B498-43B3-948B-1728B52AA6E4}">
                <adec:decorative xmlns:adec="http://schemas.microsoft.com/office/drawing/2017/decorative" val="0"/>
              </a:ext>
            </a:extLst>
          </p:cNvPr>
          <p:cNvSpPr>
            <a:spLocks noGrp="1"/>
          </p:cNvSpPr>
          <p:nvPr userDrawn="1">
            <p:ph type="pic" sz="quarter" idx="17" hasCustomPrompt="1"/>
          </p:nvPr>
        </p:nvSpPr>
        <p:spPr bwMode="gray">
          <a:xfrm>
            <a:off x="4295838" y="3067980"/>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50" name="Textplatzhalter 49">
            <a:extLst>
              <a:ext uri="{FF2B5EF4-FFF2-40B4-BE49-F238E27FC236}">
                <a16:creationId xmlns:a16="http://schemas.microsoft.com/office/drawing/2014/main" id="{5B367049-C360-CF5F-A663-C8CA4DAAAF7C}"/>
              </a:ext>
            </a:extLst>
          </p:cNvPr>
          <p:cNvSpPr>
            <a:spLocks noGrp="1"/>
          </p:cNvSpPr>
          <p:nvPr userDrawn="1">
            <p:ph type="body" sz="quarter" idx="25"/>
          </p:nvPr>
        </p:nvSpPr>
        <p:spPr bwMode="gray">
          <a:xfrm>
            <a:off x="5163026" y="3067980"/>
            <a:ext cx="2371249" cy="647930"/>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8" name="Bildplatzhalter 27">
            <a:extLst>
              <a:ext uri="{FF2B5EF4-FFF2-40B4-BE49-F238E27FC236}">
                <a16:creationId xmlns:a16="http://schemas.microsoft.com/office/drawing/2014/main" id="{E4C3A348-4B8D-20F5-F1D5-D1C99235C7B5}"/>
              </a:ext>
              <a:ext uri="{C183D7F6-B498-43B3-948B-1728B52AA6E4}">
                <adec:decorative xmlns:adec="http://schemas.microsoft.com/office/drawing/2017/decorative" val="0"/>
              </a:ext>
            </a:extLst>
          </p:cNvPr>
          <p:cNvSpPr>
            <a:spLocks noGrp="1"/>
          </p:cNvSpPr>
          <p:nvPr userDrawn="1">
            <p:ph type="pic" sz="quarter" idx="18" hasCustomPrompt="1"/>
          </p:nvPr>
        </p:nvSpPr>
        <p:spPr bwMode="gray">
          <a:xfrm>
            <a:off x="4295838" y="3931736"/>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52" name="Textplatzhalter 51">
            <a:extLst>
              <a:ext uri="{FF2B5EF4-FFF2-40B4-BE49-F238E27FC236}">
                <a16:creationId xmlns:a16="http://schemas.microsoft.com/office/drawing/2014/main" id="{84B8B000-804A-CCD9-B993-C2AF922F74FD}"/>
              </a:ext>
            </a:extLst>
          </p:cNvPr>
          <p:cNvSpPr>
            <a:spLocks noGrp="1"/>
          </p:cNvSpPr>
          <p:nvPr userDrawn="1">
            <p:ph type="body" sz="quarter" idx="26"/>
          </p:nvPr>
        </p:nvSpPr>
        <p:spPr bwMode="gray">
          <a:xfrm>
            <a:off x="5163026" y="3931821"/>
            <a:ext cx="2371249" cy="647915"/>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30" name="Bildplatzhalter 29">
            <a:extLst>
              <a:ext uri="{FF2B5EF4-FFF2-40B4-BE49-F238E27FC236}">
                <a16:creationId xmlns:a16="http://schemas.microsoft.com/office/drawing/2014/main" id="{6025AF6B-626B-4CA2-042A-DA2046F619FD}"/>
              </a:ext>
              <a:ext uri="{C183D7F6-B498-43B3-948B-1728B52AA6E4}">
                <adec:decorative xmlns:adec="http://schemas.microsoft.com/office/drawing/2017/decorative" val="0"/>
              </a:ext>
            </a:extLst>
          </p:cNvPr>
          <p:cNvSpPr>
            <a:spLocks noGrp="1"/>
          </p:cNvSpPr>
          <p:nvPr userDrawn="1">
            <p:ph type="pic" sz="quarter" idx="19" hasCustomPrompt="1"/>
          </p:nvPr>
        </p:nvSpPr>
        <p:spPr bwMode="gray">
          <a:xfrm>
            <a:off x="4295838" y="4796315"/>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54" name="Textplatzhalter 53">
            <a:extLst>
              <a:ext uri="{FF2B5EF4-FFF2-40B4-BE49-F238E27FC236}">
                <a16:creationId xmlns:a16="http://schemas.microsoft.com/office/drawing/2014/main" id="{341F0D25-3E25-0B0C-6298-66A649CC88F9}"/>
              </a:ext>
            </a:extLst>
          </p:cNvPr>
          <p:cNvSpPr>
            <a:spLocks noGrp="1"/>
          </p:cNvSpPr>
          <p:nvPr userDrawn="1">
            <p:ph type="body" sz="quarter" idx="27"/>
          </p:nvPr>
        </p:nvSpPr>
        <p:spPr bwMode="gray">
          <a:xfrm>
            <a:off x="5163026" y="4796393"/>
            <a:ext cx="2371249" cy="647922"/>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pic>
        <p:nvPicPr>
          <p:cNvPr id="109" name="Grafik 108">
            <a:extLst>
              <a:ext uri="{FF2B5EF4-FFF2-40B4-BE49-F238E27FC236}">
                <a16:creationId xmlns:a16="http://schemas.microsoft.com/office/drawing/2014/main" id="{95A77FFF-0C7A-736B-B0F9-483B7AB9DE1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68" name="Gruppieren 67">
            <a:extLst>
              <a:ext uri="{FF2B5EF4-FFF2-40B4-BE49-F238E27FC236}">
                <a16:creationId xmlns:a16="http://schemas.microsoft.com/office/drawing/2014/main" id="{0D39DC80-40B4-A897-FB43-D17636078471}"/>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9" name="Gerader Verbinder 68">
              <a:extLst>
                <a:ext uri="{FF2B5EF4-FFF2-40B4-BE49-F238E27FC236}">
                  <a16:creationId xmlns:a16="http://schemas.microsoft.com/office/drawing/2014/main" id="{09FCE521-5BC2-D2CE-9900-34EAAF61DF69}"/>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57F8D318-538F-315E-0A08-9D0800DC2498}"/>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7" name="Gruppieren 56">
            <a:extLst>
              <a:ext uri="{FF2B5EF4-FFF2-40B4-BE49-F238E27FC236}">
                <a16:creationId xmlns:a16="http://schemas.microsoft.com/office/drawing/2014/main" id="{13ED8E3C-0E50-16E3-C002-BE85A65CE5D3}"/>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8" name="Gerader Verbinder 57">
              <a:extLst>
                <a:ext uri="{FF2B5EF4-FFF2-40B4-BE49-F238E27FC236}">
                  <a16:creationId xmlns:a16="http://schemas.microsoft.com/office/drawing/2014/main" id="{01F7DC44-65A7-F09D-9459-CADC3A107E4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5A984471-5282-1347-7793-6BE7EAFFCA9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11" name="Titel 11">
            <a:extLst>
              <a:ext uri="{FF2B5EF4-FFF2-40B4-BE49-F238E27FC236}">
                <a16:creationId xmlns:a16="http://schemas.microsoft.com/office/drawing/2014/main" id="{AA111270-B5D0-9002-B12D-7638901707CC}"/>
              </a:ext>
            </a:extLst>
          </p:cNvPr>
          <p:cNvSpPr txBox="1">
            <a:spLocks/>
          </p:cNvSpPr>
          <p:nvPr userDrawn="1"/>
        </p:nvSpPr>
        <p:spPr bwMode="gray">
          <a:xfrm>
            <a:off x="8763000" y="4566607"/>
            <a:ext cx="3094038" cy="1526392"/>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r>
              <a:rPr lang="de-DE" sz="1100" b="1" err="1">
                <a:latin typeface="+mj-lt"/>
              </a:rPr>
              <a:t>msg</a:t>
            </a:r>
            <a:r>
              <a:rPr lang="de-DE" sz="1100" b="1">
                <a:latin typeface="+mj-lt"/>
              </a:rPr>
              <a:t> </a:t>
            </a:r>
            <a:r>
              <a:rPr lang="de-DE" sz="1100" b="1" err="1">
                <a:latin typeface="+mj-lt"/>
              </a:rPr>
              <a:t>systems</a:t>
            </a:r>
            <a:r>
              <a:rPr lang="de-DE" sz="1100" b="1">
                <a:latin typeface="+mj-lt"/>
              </a:rPr>
              <a:t> AG </a:t>
            </a:r>
            <a:br>
              <a:rPr lang="de-DE" sz="1100"/>
            </a:br>
            <a:r>
              <a:rPr lang="de-DE" sz="1100"/>
              <a:t>Robert-Bürkle-Straße 1</a:t>
            </a:r>
            <a:br>
              <a:rPr lang="de-DE" sz="1100"/>
            </a:br>
            <a:r>
              <a:rPr lang="de-DE" sz="1100"/>
              <a:t>85737 Ismaning</a:t>
            </a:r>
          </a:p>
          <a:p>
            <a:pPr>
              <a:spcAft>
                <a:spcPts val="600"/>
              </a:spcAft>
            </a:pPr>
            <a:r>
              <a:rPr lang="de-DE" sz="1100"/>
              <a:t>+49 89 96101-0</a:t>
            </a:r>
            <a:br>
              <a:rPr lang="de-DE" sz="1100"/>
            </a:br>
            <a:r>
              <a:rPr lang="de-DE" sz="1100"/>
              <a:t>+49 89 96101-​1113</a:t>
            </a:r>
          </a:p>
          <a:p>
            <a:pPr>
              <a:spcAft>
                <a:spcPts val="600"/>
              </a:spcAft>
            </a:pPr>
            <a:r>
              <a:rPr lang="de-DE" sz="1100" err="1"/>
              <a:t>info@msg.group</a:t>
            </a:r>
            <a:endParaRPr lang="de-DE" sz="1100"/>
          </a:p>
        </p:txBody>
      </p:sp>
      <p:sp>
        <p:nvSpPr>
          <p:cNvPr id="12" name="Freihandform: Form 11" descr="Logo von X.">
            <a:extLst>
              <a:ext uri="{FF2B5EF4-FFF2-40B4-BE49-F238E27FC236}">
                <a16:creationId xmlns:a16="http://schemas.microsoft.com/office/drawing/2014/main" id="{3BB894A3-B6FD-18A7-EC25-BFE01C097D69}"/>
              </a:ext>
            </a:extLst>
          </p:cNvPr>
          <p:cNvSpPr>
            <a:spLocks/>
          </p:cNvSpPr>
          <p:nvPr userDrawn="1"/>
        </p:nvSpPr>
        <p:spPr bwMode="gray">
          <a:xfrm>
            <a:off x="10528883" y="5734050"/>
            <a:ext cx="157950" cy="157940"/>
          </a:xfrm>
          <a:custGeom>
            <a:avLst/>
            <a:gdLst>
              <a:gd name="connsiteX0" fmla="*/ 45533 w 199043"/>
              <a:gd name="connsiteY0" fmla="*/ 59631 h 199030"/>
              <a:gd name="connsiteX1" fmla="*/ 61493 w 199043"/>
              <a:gd name="connsiteY1" fmla="*/ 87817 h 199030"/>
              <a:gd name="connsiteX2" fmla="*/ 40604 w 199043"/>
              <a:gd name="connsiteY2" fmla="*/ 124708 h 199030"/>
              <a:gd name="connsiteX3" fmla="*/ 68687 w 199043"/>
              <a:gd name="connsiteY3" fmla="*/ 124708 h 199030"/>
              <a:gd name="connsiteX4" fmla="*/ 89465 w 199043"/>
              <a:gd name="connsiteY4" fmla="*/ 88013 h 199030"/>
              <a:gd name="connsiteX5" fmla="*/ 89686 w 199043"/>
              <a:gd name="connsiteY5" fmla="*/ 88013 h 199030"/>
              <a:gd name="connsiteX6" fmla="*/ 89575 w 199043"/>
              <a:gd name="connsiteY6" fmla="*/ 87817 h 199030"/>
              <a:gd name="connsiteX7" fmla="*/ 89686 w 199043"/>
              <a:gd name="connsiteY7" fmla="*/ 87621 h 199030"/>
              <a:gd name="connsiteX8" fmla="*/ 89464 w 199043"/>
              <a:gd name="connsiteY8" fmla="*/ 87621 h 199030"/>
              <a:gd name="connsiteX9" fmla="*/ 73615 w 199043"/>
              <a:gd name="connsiteY9" fmla="*/ 59631 h 199030"/>
              <a:gd name="connsiteX10" fmla="*/ 130360 w 199043"/>
              <a:gd name="connsiteY10" fmla="*/ 37561 h 199030"/>
              <a:gd name="connsiteX11" fmla="*/ 87645 w 199043"/>
              <a:gd name="connsiteY11" fmla="*/ 112998 h 199030"/>
              <a:gd name="connsiteX12" fmla="*/ 87423 w 199043"/>
              <a:gd name="connsiteY12" fmla="*/ 112998 h 199030"/>
              <a:gd name="connsiteX13" fmla="*/ 87534 w 199043"/>
              <a:gd name="connsiteY13" fmla="*/ 113194 h 199030"/>
              <a:gd name="connsiteX14" fmla="*/ 87423 w 199043"/>
              <a:gd name="connsiteY14" fmla="*/ 113390 h 199030"/>
              <a:gd name="connsiteX15" fmla="*/ 87645 w 199043"/>
              <a:gd name="connsiteY15" fmla="*/ 113390 h 199030"/>
              <a:gd name="connsiteX16" fmla="*/ 114869 w 199043"/>
              <a:gd name="connsiteY16" fmla="*/ 161469 h 199030"/>
              <a:gd name="connsiteX17" fmla="*/ 142951 w 199043"/>
              <a:gd name="connsiteY17" fmla="*/ 161469 h 199030"/>
              <a:gd name="connsiteX18" fmla="*/ 115616 w 199043"/>
              <a:gd name="connsiteY18" fmla="*/ 113194 h 199030"/>
              <a:gd name="connsiteX19" fmla="*/ 158442 w 199043"/>
              <a:gd name="connsiteY19" fmla="*/ 37561 h 199030"/>
              <a:gd name="connsiteX20" fmla="*/ 46256 w 199043"/>
              <a:gd name="connsiteY20" fmla="*/ 0 h 199030"/>
              <a:gd name="connsiteX21" fmla="*/ 152788 w 199043"/>
              <a:gd name="connsiteY21" fmla="*/ 0 h 199030"/>
              <a:gd name="connsiteX22" fmla="*/ 199043 w 199043"/>
              <a:gd name="connsiteY22" fmla="*/ 46252 h 199030"/>
              <a:gd name="connsiteX23" fmla="*/ 199043 w 199043"/>
              <a:gd name="connsiteY23" fmla="*/ 152778 h 199030"/>
              <a:gd name="connsiteX24" fmla="*/ 152788 w 199043"/>
              <a:gd name="connsiteY24" fmla="*/ 199030 h 199030"/>
              <a:gd name="connsiteX25" fmla="*/ 46256 w 199043"/>
              <a:gd name="connsiteY25" fmla="*/ 199030 h 199030"/>
              <a:gd name="connsiteX26" fmla="*/ 0 w 199043"/>
              <a:gd name="connsiteY26" fmla="*/ 152778 h 199030"/>
              <a:gd name="connsiteX27" fmla="*/ 0 w 199043"/>
              <a:gd name="connsiteY27" fmla="*/ 46252 h 199030"/>
              <a:gd name="connsiteX28" fmla="*/ 46256 w 199043"/>
              <a:gd name="connsiteY28"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9043" h="199030">
                <a:moveTo>
                  <a:pt x="45533" y="59631"/>
                </a:moveTo>
                <a:lnTo>
                  <a:pt x="61493" y="87817"/>
                </a:lnTo>
                <a:lnTo>
                  <a:pt x="40604" y="124708"/>
                </a:lnTo>
                <a:lnTo>
                  <a:pt x="68687" y="124708"/>
                </a:lnTo>
                <a:lnTo>
                  <a:pt x="89465" y="88013"/>
                </a:lnTo>
                <a:lnTo>
                  <a:pt x="89686" y="88013"/>
                </a:lnTo>
                <a:lnTo>
                  <a:pt x="89575" y="87817"/>
                </a:lnTo>
                <a:lnTo>
                  <a:pt x="89686" y="87621"/>
                </a:lnTo>
                <a:lnTo>
                  <a:pt x="89464" y="87621"/>
                </a:lnTo>
                <a:lnTo>
                  <a:pt x="73615" y="59631"/>
                </a:lnTo>
                <a:close/>
                <a:moveTo>
                  <a:pt x="130360" y="37561"/>
                </a:moveTo>
                <a:lnTo>
                  <a:pt x="87645" y="112998"/>
                </a:lnTo>
                <a:lnTo>
                  <a:pt x="87423" y="112998"/>
                </a:lnTo>
                <a:lnTo>
                  <a:pt x="87534" y="113194"/>
                </a:lnTo>
                <a:lnTo>
                  <a:pt x="87423" y="113390"/>
                </a:lnTo>
                <a:lnTo>
                  <a:pt x="87645" y="113390"/>
                </a:lnTo>
                <a:lnTo>
                  <a:pt x="114869" y="161469"/>
                </a:lnTo>
                <a:lnTo>
                  <a:pt x="142951" y="161469"/>
                </a:lnTo>
                <a:lnTo>
                  <a:pt x="115616" y="113194"/>
                </a:lnTo>
                <a:lnTo>
                  <a:pt x="158442" y="37561"/>
                </a:lnTo>
                <a:close/>
                <a:moveTo>
                  <a:pt x="46256" y="0"/>
                </a:moveTo>
                <a:lnTo>
                  <a:pt x="152788" y="0"/>
                </a:lnTo>
                <a:cubicBezTo>
                  <a:pt x="178334" y="0"/>
                  <a:pt x="199043" y="20708"/>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8"/>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13" name="Freihandform: Form 12" descr="Logo von LinkedIn.">
            <a:extLst>
              <a:ext uri="{FF2B5EF4-FFF2-40B4-BE49-F238E27FC236}">
                <a16:creationId xmlns:a16="http://schemas.microsoft.com/office/drawing/2014/main" id="{39D4E64A-970E-DED5-5D77-66AF2414DD09}"/>
              </a:ext>
            </a:extLst>
          </p:cNvPr>
          <p:cNvSpPr>
            <a:spLocks/>
          </p:cNvSpPr>
          <p:nvPr userDrawn="1"/>
        </p:nvSpPr>
        <p:spPr bwMode="gray">
          <a:xfrm>
            <a:off x="10772537" y="5734050"/>
            <a:ext cx="157950" cy="157940"/>
          </a:xfrm>
          <a:custGeom>
            <a:avLst/>
            <a:gdLst>
              <a:gd name="connsiteX0" fmla="*/ 216671 w 277293"/>
              <a:gd name="connsiteY0" fmla="*/ 0 h 277276"/>
              <a:gd name="connsiteX1" fmla="*/ 60623 w 277293"/>
              <a:gd name="connsiteY1" fmla="*/ 0 h 277276"/>
              <a:gd name="connsiteX2" fmla="*/ 0 w 277293"/>
              <a:gd name="connsiteY2" fmla="*/ 60619 h 277276"/>
              <a:gd name="connsiteX3" fmla="*/ 0 w 277293"/>
              <a:gd name="connsiteY3" fmla="*/ 216657 h 277276"/>
              <a:gd name="connsiteX4" fmla="*/ 60623 w 277293"/>
              <a:gd name="connsiteY4" fmla="*/ 277276 h 277276"/>
              <a:gd name="connsiteX5" fmla="*/ 216671 w 277293"/>
              <a:gd name="connsiteY5" fmla="*/ 277276 h 277276"/>
              <a:gd name="connsiteX6" fmla="*/ 277294 w 277293"/>
              <a:gd name="connsiteY6" fmla="*/ 216657 h 277276"/>
              <a:gd name="connsiteX7" fmla="*/ 277294 w 277293"/>
              <a:gd name="connsiteY7" fmla="*/ 60619 h 277276"/>
              <a:gd name="connsiteX8" fmla="*/ 216671 w 277293"/>
              <a:gd name="connsiteY8" fmla="*/ 0 h 277276"/>
              <a:gd name="connsiteX9" fmla="*/ 81881 w 277293"/>
              <a:gd name="connsiteY9" fmla="*/ 235422 h 277276"/>
              <a:gd name="connsiteX10" fmla="*/ 40284 w 277293"/>
              <a:gd name="connsiteY10" fmla="*/ 235422 h 277276"/>
              <a:gd name="connsiteX11" fmla="*/ 40284 w 277293"/>
              <a:gd name="connsiteY11" fmla="*/ 103583 h 277276"/>
              <a:gd name="connsiteX12" fmla="*/ 81881 w 277293"/>
              <a:gd name="connsiteY12" fmla="*/ 103583 h 277276"/>
              <a:gd name="connsiteX13" fmla="*/ 81881 w 277293"/>
              <a:gd name="connsiteY13" fmla="*/ 235422 h 277276"/>
              <a:gd name="connsiteX14" fmla="*/ 61400 w 277293"/>
              <a:gd name="connsiteY14" fmla="*/ 84984 h 277276"/>
              <a:gd name="connsiteX15" fmla="*/ 37465 w 277293"/>
              <a:gd name="connsiteY15" fmla="*/ 61051 h 277276"/>
              <a:gd name="connsiteX16" fmla="*/ 61400 w 277293"/>
              <a:gd name="connsiteY16" fmla="*/ 37118 h 277276"/>
              <a:gd name="connsiteX17" fmla="*/ 85335 w 277293"/>
              <a:gd name="connsiteY17" fmla="*/ 61051 h 277276"/>
              <a:gd name="connsiteX18" fmla="*/ 61400 w 277293"/>
              <a:gd name="connsiteY18" fmla="*/ 84984 h 277276"/>
              <a:gd name="connsiteX19" fmla="*/ 236227 w 277293"/>
              <a:gd name="connsiteY19" fmla="*/ 235422 h 277276"/>
              <a:gd name="connsiteX20" fmla="*/ 195154 w 277293"/>
              <a:gd name="connsiteY20" fmla="*/ 235422 h 277276"/>
              <a:gd name="connsiteX21" fmla="*/ 195154 w 277293"/>
              <a:gd name="connsiteY21" fmla="*/ 160607 h 277276"/>
              <a:gd name="connsiteX22" fmla="*/ 173704 w 277293"/>
              <a:gd name="connsiteY22" fmla="*/ 135755 h 277276"/>
              <a:gd name="connsiteX23" fmla="*/ 149375 w 277293"/>
              <a:gd name="connsiteY23" fmla="*/ 166361 h 277276"/>
              <a:gd name="connsiteX24" fmla="*/ 149375 w 277293"/>
              <a:gd name="connsiteY24" fmla="*/ 235416 h 277276"/>
              <a:gd name="connsiteX25" fmla="*/ 107777 w 277293"/>
              <a:gd name="connsiteY25" fmla="*/ 235416 h 277276"/>
              <a:gd name="connsiteX26" fmla="*/ 107777 w 277293"/>
              <a:gd name="connsiteY26" fmla="*/ 103577 h 277276"/>
              <a:gd name="connsiteX27" fmla="*/ 147802 w 277293"/>
              <a:gd name="connsiteY27" fmla="*/ 103577 h 277276"/>
              <a:gd name="connsiteX28" fmla="*/ 147802 w 277293"/>
              <a:gd name="connsiteY28" fmla="*/ 121627 h 277276"/>
              <a:gd name="connsiteX29" fmla="*/ 189134 w 277293"/>
              <a:gd name="connsiteY29" fmla="*/ 99655 h 277276"/>
              <a:gd name="connsiteX30" fmla="*/ 236221 w 277293"/>
              <a:gd name="connsiteY30" fmla="*/ 157203 h 277276"/>
              <a:gd name="connsiteX31" fmla="*/ 236221 w 277293"/>
              <a:gd name="connsiteY31" fmla="*/ 235416 h 27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7293" h="277276">
                <a:moveTo>
                  <a:pt x="216671" y="0"/>
                </a:moveTo>
                <a:lnTo>
                  <a:pt x="60623" y="0"/>
                </a:lnTo>
                <a:cubicBezTo>
                  <a:pt x="27142" y="0"/>
                  <a:pt x="0" y="27140"/>
                  <a:pt x="0" y="60619"/>
                </a:cubicBezTo>
                <a:lnTo>
                  <a:pt x="0" y="216657"/>
                </a:lnTo>
                <a:cubicBezTo>
                  <a:pt x="0" y="250136"/>
                  <a:pt x="27142" y="277276"/>
                  <a:pt x="60623" y="277276"/>
                </a:cubicBezTo>
                <a:lnTo>
                  <a:pt x="216671" y="277276"/>
                </a:lnTo>
                <a:cubicBezTo>
                  <a:pt x="250152" y="277276"/>
                  <a:pt x="277294" y="250136"/>
                  <a:pt x="277294" y="216657"/>
                </a:cubicBezTo>
                <a:lnTo>
                  <a:pt x="277294" y="60619"/>
                </a:lnTo>
                <a:cubicBezTo>
                  <a:pt x="277294" y="27140"/>
                  <a:pt x="250152" y="0"/>
                  <a:pt x="216671" y="0"/>
                </a:cubicBezTo>
                <a:close/>
                <a:moveTo>
                  <a:pt x="81881" y="235422"/>
                </a:moveTo>
                <a:lnTo>
                  <a:pt x="40284" y="235422"/>
                </a:lnTo>
                <a:lnTo>
                  <a:pt x="40284" y="103583"/>
                </a:lnTo>
                <a:lnTo>
                  <a:pt x="81881" y="103583"/>
                </a:lnTo>
                <a:lnTo>
                  <a:pt x="81881" y="235422"/>
                </a:lnTo>
                <a:close/>
                <a:moveTo>
                  <a:pt x="61400" y="84984"/>
                </a:moveTo>
                <a:cubicBezTo>
                  <a:pt x="48178" y="84984"/>
                  <a:pt x="37465" y="74266"/>
                  <a:pt x="37465" y="61051"/>
                </a:cubicBezTo>
                <a:cubicBezTo>
                  <a:pt x="37465" y="47836"/>
                  <a:pt x="48184" y="37118"/>
                  <a:pt x="61400" y="37118"/>
                </a:cubicBezTo>
                <a:cubicBezTo>
                  <a:pt x="74616" y="37118"/>
                  <a:pt x="85335" y="47836"/>
                  <a:pt x="85335" y="61051"/>
                </a:cubicBezTo>
                <a:cubicBezTo>
                  <a:pt x="85335" y="74266"/>
                  <a:pt x="74616" y="84984"/>
                  <a:pt x="61400" y="84984"/>
                </a:cubicBezTo>
                <a:close/>
                <a:moveTo>
                  <a:pt x="236227" y="235422"/>
                </a:moveTo>
                <a:lnTo>
                  <a:pt x="195154" y="235422"/>
                </a:lnTo>
                <a:lnTo>
                  <a:pt x="195154" y="160607"/>
                </a:lnTo>
                <a:cubicBezTo>
                  <a:pt x="195154" y="160607"/>
                  <a:pt x="195154" y="135755"/>
                  <a:pt x="173704" y="135755"/>
                </a:cubicBezTo>
                <a:cubicBezTo>
                  <a:pt x="152255" y="135755"/>
                  <a:pt x="149375" y="156944"/>
                  <a:pt x="149375" y="166361"/>
                </a:cubicBezTo>
                <a:lnTo>
                  <a:pt x="149375" y="235416"/>
                </a:lnTo>
                <a:lnTo>
                  <a:pt x="107777" y="235416"/>
                </a:lnTo>
                <a:lnTo>
                  <a:pt x="107777" y="103577"/>
                </a:lnTo>
                <a:lnTo>
                  <a:pt x="147802" y="103577"/>
                </a:lnTo>
                <a:lnTo>
                  <a:pt x="147802" y="121627"/>
                </a:lnTo>
                <a:cubicBezTo>
                  <a:pt x="147802" y="121627"/>
                  <a:pt x="156960" y="99655"/>
                  <a:pt x="189134" y="99655"/>
                </a:cubicBezTo>
                <a:cubicBezTo>
                  <a:pt x="221308" y="99655"/>
                  <a:pt x="236221" y="120061"/>
                  <a:pt x="236221" y="157203"/>
                </a:cubicBezTo>
                <a:lnTo>
                  <a:pt x="236221" y="235416"/>
                </a:lnTo>
                <a:close/>
              </a:path>
            </a:pathLst>
          </a:custGeom>
          <a:solidFill>
            <a:schemeClr val="accent1"/>
          </a:solidFill>
          <a:ln w="122" cap="flat">
            <a:noFill/>
            <a:prstDash val="solid"/>
            <a:miter/>
          </a:ln>
        </p:spPr>
        <p:txBody>
          <a:bodyPr rtlCol="0" anchor="ctr"/>
          <a:lstStyle/>
          <a:p>
            <a:endParaRPr lang="de-DE"/>
          </a:p>
        </p:txBody>
      </p:sp>
      <p:sp>
        <p:nvSpPr>
          <p:cNvPr id="14" name="Freihandform: Form 13" descr="Logo von Facebook.">
            <a:extLst>
              <a:ext uri="{FF2B5EF4-FFF2-40B4-BE49-F238E27FC236}">
                <a16:creationId xmlns:a16="http://schemas.microsoft.com/office/drawing/2014/main" id="{01AFCAD3-6E78-7034-9BFF-E12CE1B3514A}"/>
              </a:ext>
            </a:extLst>
          </p:cNvPr>
          <p:cNvSpPr>
            <a:spLocks/>
          </p:cNvSpPr>
          <p:nvPr userDrawn="1"/>
        </p:nvSpPr>
        <p:spPr bwMode="gray">
          <a:xfrm>
            <a:off x="11016191" y="5734050"/>
            <a:ext cx="157950" cy="157940"/>
          </a:xfrm>
          <a:custGeom>
            <a:avLst/>
            <a:gdLst>
              <a:gd name="connsiteX0" fmla="*/ 216073 w 277287"/>
              <a:gd name="connsiteY0" fmla="*/ 0 h 277282"/>
              <a:gd name="connsiteX1" fmla="*/ 61221 w 277287"/>
              <a:gd name="connsiteY1" fmla="*/ 0 h 277282"/>
              <a:gd name="connsiteX2" fmla="*/ 0 w 277287"/>
              <a:gd name="connsiteY2" fmla="*/ 61217 h 277282"/>
              <a:gd name="connsiteX3" fmla="*/ 0 w 277287"/>
              <a:gd name="connsiteY3" fmla="*/ 216059 h 277282"/>
              <a:gd name="connsiteX4" fmla="*/ 61221 w 277287"/>
              <a:gd name="connsiteY4" fmla="*/ 277276 h 277282"/>
              <a:gd name="connsiteX5" fmla="*/ 127858 w 277287"/>
              <a:gd name="connsiteY5" fmla="*/ 277276 h 277282"/>
              <a:gd name="connsiteX6" fmla="*/ 127858 w 277287"/>
              <a:gd name="connsiteY6" fmla="*/ 183961 h 277282"/>
              <a:gd name="connsiteX7" fmla="*/ 90071 w 277287"/>
              <a:gd name="connsiteY7" fmla="*/ 183961 h 277282"/>
              <a:gd name="connsiteX8" fmla="*/ 90071 w 277287"/>
              <a:gd name="connsiteY8" fmla="*/ 141028 h 277282"/>
              <a:gd name="connsiteX9" fmla="*/ 127858 w 277287"/>
              <a:gd name="connsiteY9" fmla="*/ 141028 h 277282"/>
              <a:gd name="connsiteX10" fmla="*/ 127858 w 277287"/>
              <a:gd name="connsiteY10" fmla="*/ 105538 h 277282"/>
              <a:gd name="connsiteX11" fmla="*/ 183387 w 277287"/>
              <a:gd name="connsiteY11" fmla="*/ 50012 h 277282"/>
              <a:gd name="connsiteX12" fmla="*/ 216017 w 277287"/>
              <a:gd name="connsiteY12" fmla="*/ 51159 h 277282"/>
              <a:gd name="connsiteX13" fmla="*/ 216017 w 277287"/>
              <a:gd name="connsiteY13" fmla="*/ 91231 h 277282"/>
              <a:gd name="connsiteX14" fmla="*/ 193994 w 277287"/>
              <a:gd name="connsiteY14" fmla="*/ 90658 h 277282"/>
              <a:gd name="connsiteX15" fmla="*/ 175369 w 277287"/>
              <a:gd name="connsiteY15" fmla="*/ 109281 h 277282"/>
              <a:gd name="connsiteX16" fmla="*/ 175369 w 277287"/>
              <a:gd name="connsiteY16" fmla="*/ 141034 h 277282"/>
              <a:gd name="connsiteX17" fmla="*/ 216017 w 277287"/>
              <a:gd name="connsiteY17" fmla="*/ 141034 h 277282"/>
              <a:gd name="connsiteX18" fmla="*/ 209147 w 277287"/>
              <a:gd name="connsiteY18" fmla="*/ 183967 h 277282"/>
              <a:gd name="connsiteX19" fmla="*/ 175369 w 277287"/>
              <a:gd name="connsiteY19" fmla="*/ 183967 h 277282"/>
              <a:gd name="connsiteX20" fmla="*/ 175369 w 277287"/>
              <a:gd name="connsiteY20" fmla="*/ 277282 h 277282"/>
              <a:gd name="connsiteX21" fmla="*/ 216066 w 277287"/>
              <a:gd name="connsiteY21" fmla="*/ 277282 h 277282"/>
              <a:gd name="connsiteX22" fmla="*/ 277288 w 277287"/>
              <a:gd name="connsiteY22" fmla="*/ 216065 h 277282"/>
              <a:gd name="connsiteX23" fmla="*/ 277288 w 277287"/>
              <a:gd name="connsiteY23" fmla="*/ 61217 h 277282"/>
              <a:gd name="connsiteX24" fmla="*/ 216066 w 277287"/>
              <a:gd name="connsiteY24" fmla="*/ 0 h 27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7287" h="277282">
                <a:moveTo>
                  <a:pt x="216073" y="0"/>
                </a:moveTo>
                <a:lnTo>
                  <a:pt x="61221" y="0"/>
                </a:lnTo>
                <a:cubicBezTo>
                  <a:pt x="27407" y="0"/>
                  <a:pt x="0" y="27405"/>
                  <a:pt x="0" y="61217"/>
                </a:cubicBezTo>
                <a:lnTo>
                  <a:pt x="0" y="216059"/>
                </a:lnTo>
                <a:cubicBezTo>
                  <a:pt x="0" y="249865"/>
                  <a:pt x="27407" y="277276"/>
                  <a:pt x="61221" y="277276"/>
                </a:cubicBezTo>
                <a:lnTo>
                  <a:pt x="127858" y="277276"/>
                </a:lnTo>
                <a:lnTo>
                  <a:pt x="127858" y="183961"/>
                </a:lnTo>
                <a:lnTo>
                  <a:pt x="90071" y="183961"/>
                </a:lnTo>
                <a:lnTo>
                  <a:pt x="90071" y="141028"/>
                </a:lnTo>
                <a:lnTo>
                  <a:pt x="127858" y="141028"/>
                </a:lnTo>
                <a:lnTo>
                  <a:pt x="127858" y="105538"/>
                </a:lnTo>
                <a:cubicBezTo>
                  <a:pt x="127858" y="74871"/>
                  <a:pt x="152717" y="50012"/>
                  <a:pt x="183387" y="50012"/>
                </a:cubicBezTo>
                <a:lnTo>
                  <a:pt x="216017" y="51159"/>
                </a:lnTo>
                <a:lnTo>
                  <a:pt x="216017" y="91231"/>
                </a:lnTo>
                <a:lnTo>
                  <a:pt x="193994" y="90658"/>
                </a:lnTo>
                <a:cubicBezTo>
                  <a:pt x="183707" y="90658"/>
                  <a:pt x="175369" y="98995"/>
                  <a:pt x="175369" y="109281"/>
                </a:cubicBezTo>
                <a:lnTo>
                  <a:pt x="175369" y="141034"/>
                </a:lnTo>
                <a:lnTo>
                  <a:pt x="216017" y="141034"/>
                </a:lnTo>
                <a:lnTo>
                  <a:pt x="209147" y="183967"/>
                </a:lnTo>
                <a:lnTo>
                  <a:pt x="175369" y="183967"/>
                </a:lnTo>
                <a:lnTo>
                  <a:pt x="175369" y="277282"/>
                </a:lnTo>
                <a:lnTo>
                  <a:pt x="216066" y="277282"/>
                </a:lnTo>
                <a:cubicBezTo>
                  <a:pt x="249875" y="277282"/>
                  <a:pt x="277288" y="249877"/>
                  <a:pt x="277288" y="216065"/>
                </a:cubicBezTo>
                <a:lnTo>
                  <a:pt x="277288" y="61217"/>
                </a:lnTo>
                <a:cubicBezTo>
                  <a:pt x="277288" y="27411"/>
                  <a:pt x="249881" y="0"/>
                  <a:pt x="216066" y="0"/>
                </a:cubicBezTo>
                <a:close/>
              </a:path>
            </a:pathLst>
          </a:custGeom>
          <a:solidFill>
            <a:schemeClr val="accent1"/>
          </a:solidFill>
          <a:ln w="122" cap="flat">
            <a:noFill/>
            <a:prstDash val="solid"/>
            <a:miter/>
          </a:ln>
        </p:spPr>
        <p:txBody>
          <a:bodyPr rtlCol="0" anchor="ctr"/>
          <a:lstStyle/>
          <a:p>
            <a:endParaRPr lang="de-DE"/>
          </a:p>
        </p:txBody>
      </p:sp>
      <p:sp>
        <p:nvSpPr>
          <p:cNvPr id="15" name="Freihandform: Form 14" descr="Logo von Instagram.">
            <a:extLst>
              <a:ext uri="{FF2B5EF4-FFF2-40B4-BE49-F238E27FC236}">
                <a16:creationId xmlns:a16="http://schemas.microsoft.com/office/drawing/2014/main" id="{D18DDA4A-2864-5F46-9765-7F4E4DB5B24F}"/>
              </a:ext>
            </a:extLst>
          </p:cNvPr>
          <p:cNvSpPr>
            <a:spLocks/>
          </p:cNvSpPr>
          <p:nvPr userDrawn="1"/>
        </p:nvSpPr>
        <p:spPr bwMode="gray">
          <a:xfrm>
            <a:off x="11259844" y="5734050"/>
            <a:ext cx="157951" cy="157940"/>
          </a:xfrm>
          <a:custGeom>
            <a:avLst/>
            <a:gdLst>
              <a:gd name="connsiteX0" fmla="*/ 105406 w 199044"/>
              <a:gd name="connsiteY0" fmla="*/ 74501 h 199030"/>
              <a:gd name="connsiteX1" fmla="*/ 124504 w 199044"/>
              <a:gd name="connsiteY1" fmla="*/ 105400 h 199030"/>
              <a:gd name="connsiteX2" fmla="*/ 93605 w 199044"/>
              <a:gd name="connsiteY2" fmla="*/ 124500 h 199030"/>
              <a:gd name="connsiteX3" fmla="*/ 74506 w 199044"/>
              <a:gd name="connsiteY3" fmla="*/ 93600 h 199030"/>
              <a:gd name="connsiteX4" fmla="*/ 105406 w 199044"/>
              <a:gd name="connsiteY4" fmla="*/ 74501 h 199030"/>
              <a:gd name="connsiteX5" fmla="*/ 99519 w 199044"/>
              <a:gd name="connsiteY5" fmla="*/ 61049 h 199030"/>
              <a:gd name="connsiteX6" fmla="*/ 61053 w 199044"/>
              <a:gd name="connsiteY6" fmla="*/ 99512 h 199030"/>
              <a:gd name="connsiteX7" fmla="*/ 99519 w 199044"/>
              <a:gd name="connsiteY7" fmla="*/ 137974 h 199030"/>
              <a:gd name="connsiteX8" fmla="*/ 137985 w 199044"/>
              <a:gd name="connsiteY8" fmla="*/ 99512 h 199030"/>
              <a:gd name="connsiteX9" fmla="*/ 99519 w 199044"/>
              <a:gd name="connsiteY9" fmla="*/ 61049 h 199030"/>
              <a:gd name="connsiteX10" fmla="*/ 138739 w 199044"/>
              <a:gd name="connsiteY10" fmla="*/ 50176 h 199030"/>
              <a:gd name="connsiteX11" fmla="*/ 129774 w 199044"/>
              <a:gd name="connsiteY11" fmla="*/ 59141 h 199030"/>
              <a:gd name="connsiteX12" fmla="*/ 138739 w 199044"/>
              <a:gd name="connsiteY12" fmla="*/ 68105 h 199030"/>
              <a:gd name="connsiteX13" fmla="*/ 147704 w 199044"/>
              <a:gd name="connsiteY13" fmla="*/ 59141 h 199030"/>
              <a:gd name="connsiteX14" fmla="*/ 138739 w 199044"/>
              <a:gd name="connsiteY14" fmla="*/ 50176 h 199030"/>
              <a:gd name="connsiteX15" fmla="*/ 67458 w 199044"/>
              <a:gd name="connsiteY15" fmla="*/ 38818 h 199030"/>
              <a:gd name="connsiteX16" fmla="*/ 131584 w 199044"/>
              <a:gd name="connsiteY16" fmla="*/ 38818 h 199030"/>
              <a:gd name="connsiteX17" fmla="*/ 160222 w 199044"/>
              <a:gd name="connsiteY17" fmla="*/ 67453 h 199030"/>
              <a:gd name="connsiteX18" fmla="*/ 160222 w 199044"/>
              <a:gd name="connsiteY18" fmla="*/ 131574 h 199030"/>
              <a:gd name="connsiteX19" fmla="*/ 131584 w 199044"/>
              <a:gd name="connsiteY19" fmla="*/ 160210 h 199030"/>
              <a:gd name="connsiteX20" fmla="*/ 67458 w 199044"/>
              <a:gd name="connsiteY20" fmla="*/ 160210 h 199030"/>
              <a:gd name="connsiteX21" fmla="*/ 38820 w 199044"/>
              <a:gd name="connsiteY21" fmla="*/ 131574 h 199030"/>
              <a:gd name="connsiteX22" fmla="*/ 38820 w 199044"/>
              <a:gd name="connsiteY22" fmla="*/ 67453 h 199030"/>
              <a:gd name="connsiteX23" fmla="*/ 67458 w 199044"/>
              <a:gd name="connsiteY23" fmla="*/ 38818 h 199030"/>
              <a:gd name="connsiteX24" fmla="*/ 67459 w 199044"/>
              <a:gd name="connsiteY24" fmla="*/ 23530 h 199030"/>
              <a:gd name="connsiteX25" fmla="*/ 23531 w 199044"/>
              <a:gd name="connsiteY25" fmla="*/ 67453 h 199030"/>
              <a:gd name="connsiteX26" fmla="*/ 23531 w 199044"/>
              <a:gd name="connsiteY26" fmla="*/ 131573 h 199030"/>
              <a:gd name="connsiteX27" fmla="*/ 67459 w 199044"/>
              <a:gd name="connsiteY27" fmla="*/ 175497 h 199030"/>
              <a:gd name="connsiteX28" fmla="*/ 131585 w 199044"/>
              <a:gd name="connsiteY28" fmla="*/ 175497 h 199030"/>
              <a:gd name="connsiteX29" fmla="*/ 175512 w 199044"/>
              <a:gd name="connsiteY29" fmla="*/ 131573 h 199030"/>
              <a:gd name="connsiteX30" fmla="*/ 175512 w 199044"/>
              <a:gd name="connsiteY30" fmla="*/ 67453 h 199030"/>
              <a:gd name="connsiteX31" fmla="*/ 131585 w 199044"/>
              <a:gd name="connsiteY31" fmla="*/ 23530 h 199030"/>
              <a:gd name="connsiteX32" fmla="*/ 155098 w 199044"/>
              <a:gd name="connsiteY32" fmla="*/ 0 h 199030"/>
              <a:gd name="connsiteX33" fmla="*/ 199044 w 199044"/>
              <a:gd name="connsiteY33" fmla="*/ 43942 h 199030"/>
              <a:gd name="connsiteX34" fmla="*/ 199044 w 199044"/>
              <a:gd name="connsiteY34" fmla="*/ 155089 h 199030"/>
              <a:gd name="connsiteX35" fmla="*/ 155098 w 199044"/>
              <a:gd name="connsiteY35" fmla="*/ 199030 h 199030"/>
              <a:gd name="connsiteX36" fmla="*/ 43946 w 199044"/>
              <a:gd name="connsiteY36" fmla="*/ 199030 h 199030"/>
              <a:gd name="connsiteX37" fmla="*/ 0 w 199044"/>
              <a:gd name="connsiteY37" fmla="*/ 155089 h 199030"/>
              <a:gd name="connsiteX38" fmla="*/ 0 w 199044"/>
              <a:gd name="connsiteY38" fmla="*/ 43946 h 199030"/>
              <a:gd name="connsiteX39" fmla="*/ 43946 w 199044"/>
              <a:gd name="connsiteY39" fmla="*/ 4 h 199030"/>
              <a:gd name="connsiteX40" fmla="*/ 155098 w 199044"/>
              <a:gd name="connsiteY40" fmla="*/ 4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9044" h="199030">
                <a:moveTo>
                  <a:pt x="105406" y="74501"/>
                </a:moveTo>
                <a:cubicBezTo>
                  <a:pt x="119212" y="77760"/>
                  <a:pt x="127762" y="91594"/>
                  <a:pt x="124504" y="105400"/>
                </a:cubicBezTo>
                <a:cubicBezTo>
                  <a:pt x="121245" y="119207"/>
                  <a:pt x="107412" y="127758"/>
                  <a:pt x="93605" y="124500"/>
                </a:cubicBezTo>
                <a:cubicBezTo>
                  <a:pt x="79798" y="121241"/>
                  <a:pt x="71248" y="107407"/>
                  <a:pt x="74506" y="93600"/>
                </a:cubicBezTo>
                <a:cubicBezTo>
                  <a:pt x="77765" y="79793"/>
                  <a:pt x="91599" y="71242"/>
                  <a:pt x="105406" y="74501"/>
                </a:cubicBezTo>
                <a:close/>
                <a:moveTo>
                  <a:pt x="99519" y="61049"/>
                </a:moveTo>
                <a:cubicBezTo>
                  <a:pt x="78310" y="61049"/>
                  <a:pt x="61053" y="78304"/>
                  <a:pt x="61053" y="99512"/>
                </a:cubicBezTo>
                <a:cubicBezTo>
                  <a:pt x="61053" y="120719"/>
                  <a:pt x="78310" y="137974"/>
                  <a:pt x="99519" y="137974"/>
                </a:cubicBezTo>
                <a:cubicBezTo>
                  <a:pt x="120728" y="137974"/>
                  <a:pt x="137985" y="120719"/>
                  <a:pt x="137985" y="99512"/>
                </a:cubicBezTo>
                <a:cubicBezTo>
                  <a:pt x="137985" y="78304"/>
                  <a:pt x="120728" y="61049"/>
                  <a:pt x="99519" y="61049"/>
                </a:cubicBezTo>
                <a:close/>
                <a:moveTo>
                  <a:pt x="138739" y="50176"/>
                </a:moveTo>
                <a:cubicBezTo>
                  <a:pt x="133789" y="50176"/>
                  <a:pt x="129774" y="54191"/>
                  <a:pt x="129774" y="59141"/>
                </a:cubicBezTo>
                <a:cubicBezTo>
                  <a:pt x="129774" y="64090"/>
                  <a:pt x="133789" y="68105"/>
                  <a:pt x="138739" y="68105"/>
                </a:cubicBezTo>
                <a:cubicBezTo>
                  <a:pt x="143689" y="68105"/>
                  <a:pt x="147704" y="64090"/>
                  <a:pt x="147704" y="59141"/>
                </a:cubicBezTo>
                <a:cubicBezTo>
                  <a:pt x="147704" y="54191"/>
                  <a:pt x="143689" y="50176"/>
                  <a:pt x="138739" y="50176"/>
                </a:cubicBezTo>
                <a:close/>
                <a:moveTo>
                  <a:pt x="67458" y="38818"/>
                </a:moveTo>
                <a:lnTo>
                  <a:pt x="131584" y="38818"/>
                </a:lnTo>
                <a:cubicBezTo>
                  <a:pt x="147376" y="38818"/>
                  <a:pt x="160222" y="51663"/>
                  <a:pt x="160222" y="67453"/>
                </a:cubicBezTo>
                <a:lnTo>
                  <a:pt x="160222" y="131574"/>
                </a:lnTo>
                <a:cubicBezTo>
                  <a:pt x="160222" y="147365"/>
                  <a:pt x="147376" y="160210"/>
                  <a:pt x="131584" y="160210"/>
                </a:cubicBezTo>
                <a:lnTo>
                  <a:pt x="67458" y="160210"/>
                </a:lnTo>
                <a:cubicBezTo>
                  <a:pt x="51666" y="160210"/>
                  <a:pt x="38820" y="147365"/>
                  <a:pt x="38820" y="131574"/>
                </a:cubicBezTo>
                <a:lnTo>
                  <a:pt x="38820" y="67453"/>
                </a:lnTo>
                <a:cubicBezTo>
                  <a:pt x="38820" y="51663"/>
                  <a:pt x="51666" y="38818"/>
                  <a:pt x="67458" y="38818"/>
                </a:cubicBezTo>
                <a:close/>
                <a:moveTo>
                  <a:pt x="67459" y="23530"/>
                </a:moveTo>
                <a:cubicBezTo>
                  <a:pt x="43236" y="23530"/>
                  <a:pt x="23531" y="43232"/>
                  <a:pt x="23531" y="67453"/>
                </a:cubicBezTo>
                <a:lnTo>
                  <a:pt x="23531" y="131573"/>
                </a:lnTo>
                <a:cubicBezTo>
                  <a:pt x="23531" y="155794"/>
                  <a:pt x="43236" y="175497"/>
                  <a:pt x="67459" y="175497"/>
                </a:cubicBezTo>
                <a:lnTo>
                  <a:pt x="131585" y="175497"/>
                </a:lnTo>
                <a:cubicBezTo>
                  <a:pt x="155808" y="175497"/>
                  <a:pt x="175512" y="155794"/>
                  <a:pt x="175512" y="131573"/>
                </a:cubicBezTo>
                <a:lnTo>
                  <a:pt x="175512" y="67453"/>
                </a:lnTo>
                <a:cubicBezTo>
                  <a:pt x="175512" y="43232"/>
                  <a:pt x="155808" y="23530"/>
                  <a:pt x="131585" y="23530"/>
                </a:cubicBezTo>
                <a:close/>
                <a:moveTo>
                  <a:pt x="155098" y="0"/>
                </a:moveTo>
                <a:cubicBezTo>
                  <a:pt x="179371" y="0"/>
                  <a:pt x="199044" y="19676"/>
                  <a:pt x="199044" y="43942"/>
                </a:cubicBezTo>
                <a:lnTo>
                  <a:pt x="199044" y="155089"/>
                </a:lnTo>
                <a:cubicBezTo>
                  <a:pt x="199044" y="179359"/>
                  <a:pt x="179366" y="199030"/>
                  <a:pt x="155098" y="199030"/>
                </a:cubicBezTo>
                <a:lnTo>
                  <a:pt x="43946" y="199030"/>
                </a:lnTo>
                <a:cubicBezTo>
                  <a:pt x="19673" y="199030"/>
                  <a:pt x="0" y="179355"/>
                  <a:pt x="0" y="155089"/>
                </a:cubicBezTo>
                <a:lnTo>
                  <a:pt x="0" y="43946"/>
                </a:lnTo>
                <a:cubicBezTo>
                  <a:pt x="0" y="19676"/>
                  <a:pt x="19677" y="4"/>
                  <a:pt x="43946" y="4"/>
                </a:cubicBezTo>
                <a:lnTo>
                  <a:pt x="155098" y="4"/>
                </a:lnTo>
                <a:close/>
              </a:path>
            </a:pathLst>
          </a:custGeom>
          <a:solidFill>
            <a:schemeClr val="accent1"/>
          </a:solidFill>
          <a:ln w="122" cap="flat">
            <a:noFill/>
            <a:prstDash val="solid"/>
            <a:miter/>
          </a:ln>
        </p:spPr>
        <p:txBody>
          <a:bodyPr rtlCol="0" anchor="ctr"/>
          <a:lstStyle/>
          <a:p>
            <a:endParaRPr lang="de-DE"/>
          </a:p>
        </p:txBody>
      </p:sp>
      <p:sp>
        <p:nvSpPr>
          <p:cNvPr id="17" name="Freihandform: Form 16" descr="Logo von WhatsApp.">
            <a:extLst>
              <a:ext uri="{FF2B5EF4-FFF2-40B4-BE49-F238E27FC236}">
                <a16:creationId xmlns:a16="http://schemas.microsoft.com/office/drawing/2014/main" id="{DA4AF295-723C-6E97-FABD-A35A0E40766A}"/>
              </a:ext>
            </a:extLst>
          </p:cNvPr>
          <p:cNvSpPr>
            <a:spLocks/>
          </p:cNvSpPr>
          <p:nvPr userDrawn="1"/>
        </p:nvSpPr>
        <p:spPr bwMode="gray">
          <a:xfrm>
            <a:off x="11503499" y="5734050"/>
            <a:ext cx="157950" cy="157940"/>
          </a:xfrm>
          <a:custGeom>
            <a:avLst/>
            <a:gdLst>
              <a:gd name="connsiteX0" fmla="*/ 79882 w 199043"/>
              <a:gd name="connsiteY0" fmla="*/ 64498 h 199030"/>
              <a:gd name="connsiteX1" fmla="*/ 68427 w 199043"/>
              <a:gd name="connsiteY1" fmla="*/ 73992 h 199030"/>
              <a:gd name="connsiteX2" fmla="*/ 86227 w 199043"/>
              <a:gd name="connsiteY2" fmla="*/ 115582 h 199030"/>
              <a:gd name="connsiteX3" fmla="*/ 114283 w 199043"/>
              <a:gd name="connsiteY3" fmla="*/ 130977 h 199030"/>
              <a:gd name="connsiteX4" fmla="*/ 129430 w 199043"/>
              <a:gd name="connsiteY4" fmla="*/ 128982 h 199030"/>
              <a:gd name="connsiteX5" fmla="*/ 129428 w 199043"/>
              <a:gd name="connsiteY5" fmla="*/ 128985 h 199030"/>
              <a:gd name="connsiteX6" fmla="*/ 129437 w 199043"/>
              <a:gd name="connsiteY6" fmla="*/ 128981 h 199030"/>
              <a:gd name="connsiteX7" fmla="*/ 129430 w 199043"/>
              <a:gd name="connsiteY7" fmla="*/ 128982 h 199030"/>
              <a:gd name="connsiteX8" fmla="*/ 137688 w 199043"/>
              <a:gd name="connsiteY8" fmla="*/ 116612 h 199030"/>
              <a:gd name="connsiteX9" fmla="*/ 134156 w 199043"/>
              <a:gd name="connsiteY9" fmla="*/ 112151 h 199030"/>
              <a:gd name="connsiteX10" fmla="*/ 119582 w 199043"/>
              <a:gd name="connsiteY10" fmla="*/ 107069 h 199030"/>
              <a:gd name="connsiteX11" fmla="*/ 115498 w 199043"/>
              <a:gd name="connsiteY11" fmla="*/ 108072 h 199030"/>
              <a:gd name="connsiteX12" fmla="*/ 114091 w 199043"/>
              <a:gd name="connsiteY12" fmla="*/ 109571 h 199030"/>
              <a:gd name="connsiteX13" fmla="*/ 104994 w 199043"/>
              <a:gd name="connsiteY13" fmla="*/ 112050 h 199030"/>
              <a:gd name="connsiteX14" fmla="*/ 94864 w 199043"/>
              <a:gd name="connsiteY14" fmla="*/ 106004 h 199030"/>
              <a:gd name="connsiteX15" fmla="*/ 87800 w 199043"/>
              <a:gd name="connsiteY15" fmla="*/ 96553 h 199030"/>
              <a:gd name="connsiteX16" fmla="*/ 89324 w 199043"/>
              <a:gd name="connsiteY16" fmla="*/ 87246 h 199030"/>
              <a:gd name="connsiteX17" fmla="*/ 90670 w 199043"/>
              <a:gd name="connsiteY17" fmla="*/ 85691 h 199030"/>
              <a:gd name="connsiteX18" fmla="*/ 91249 w 199043"/>
              <a:gd name="connsiteY18" fmla="*/ 81524 h 199030"/>
              <a:gd name="connsiteX19" fmla="*/ 84684 w 199043"/>
              <a:gd name="connsiteY19" fmla="*/ 67551 h 199030"/>
              <a:gd name="connsiteX20" fmla="*/ 79882 w 199043"/>
              <a:gd name="connsiteY20" fmla="*/ 64498 h 199030"/>
              <a:gd name="connsiteX21" fmla="*/ 102006 w 199043"/>
              <a:gd name="connsiteY21" fmla="*/ 38523 h 199030"/>
              <a:gd name="connsiteX22" fmla="*/ 102010 w 199043"/>
              <a:gd name="connsiteY22" fmla="*/ 38523 h 199030"/>
              <a:gd name="connsiteX23" fmla="*/ 160895 w 199043"/>
              <a:gd name="connsiteY23" fmla="*/ 97403 h 199030"/>
              <a:gd name="connsiteX24" fmla="*/ 102010 w 199043"/>
              <a:gd name="connsiteY24" fmla="*/ 156283 h 199030"/>
              <a:gd name="connsiteX25" fmla="*/ 70049 w 199043"/>
              <a:gd name="connsiteY25" fmla="*/ 146862 h 199030"/>
              <a:gd name="connsiteX26" fmla="*/ 47508 w 199043"/>
              <a:gd name="connsiteY26" fmla="*/ 152830 h 199030"/>
              <a:gd name="connsiteX27" fmla="*/ 53814 w 199043"/>
              <a:gd name="connsiteY27" fmla="*/ 131242 h 199030"/>
              <a:gd name="connsiteX28" fmla="*/ 43122 w 199043"/>
              <a:gd name="connsiteY28" fmla="*/ 97403 h 199030"/>
              <a:gd name="connsiteX29" fmla="*/ 102006 w 199043"/>
              <a:gd name="connsiteY29" fmla="*/ 38523 h 199030"/>
              <a:gd name="connsiteX30" fmla="*/ 102006 w 199043"/>
              <a:gd name="connsiteY30" fmla="*/ 26185 h 199030"/>
              <a:gd name="connsiteX31" fmla="*/ 30783 w 199043"/>
              <a:gd name="connsiteY31" fmla="*/ 97403 h 199030"/>
              <a:gd name="connsiteX32" fmla="*/ 40458 w 199043"/>
              <a:gd name="connsiteY32" fmla="*/ 133262 h 199030"/>
              <a:gd name="connsiteX33" fmla="*/ 30783 w 199043"/>
              <a:gd name="connsiteY33" fmla="*/ 169652 h 199030"/>
              <a:gd name="connsiteX34" fmla="*/ 68055 w 199043"/>
              <a:gd name="connsiteY34" fmla="*/ 160025 h 199030"/>
              <a:gd name="connsiteX35" fmla="*/ 102006 w 199043"/>
              <a:gd name="connsiteY35" fmla="*/ 168622 h 199030"/>
              <a:gd name="connsiteX36" fmla="*/ 173229 w 199043"/>
              <a:gd name="connsiteY36" fmla="*/ 97403 h 199030"/>
              <a:gd name="connsiteX37" fmla="*/ 102006 w 199043"/>
              <a:gd name="connsiteY37" fmla="*/ 26185 h 199030"/>
              <a:gd name="connsiteX38" fmla="*/ 46256 w 199043"/>
              <a:gd name="connsiteY38" fmla="*/ 0 h 199030"/>
              <a:gd name="connsiteX39" fmla="*/ 152788 w 199043"/>
              <a:gd name="connsiteY39" fmla="*/ 0 h 199030"/>
              <a:gd name="connsiteX40" fmla="*/ 199043 w 199043"/>
              <a:gd name="connsiteY40" fmla="*/ 46252 h 199030"/>
              <a:gd name="connsiteX41" fmla="*/ 199043 w 199043"/>
              <a:gd name="connsiteY41" fmla="*/ 152778 h 199030"/>
              <a:gd name="connsiteX42" fmla="*/ 152788 w 199043"/>
              <a:gd name="connsiteY42" fmla="*/ 199030 h 199030"/>
              <a:gd name="connsiteX43" fmla="*/ 46256 w 199043"/>
              <a:gd name="connsiteY43" fmla="*/ 199030 h 199030"/>
              <a:gd name="connsiteX44" fmla="*/ 0 w 199043"/>
              <a:gd name="connsiteY44" fmla="*/ 152778 h 199030"/>
              <a:gd name="connsiteX45" fmla="*/ 0 w 199043"/>
              <a:gd name="connsiteY45" fmla="*/ 46252 h 199030"/>
              <a:gd name="connsiteX46" fmla="*/ 46256 w 199043"/>
              <a:gd name="connsiteY46"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43" h="199030">
                <a:moveTo>
                  <a:pt x="79882" y="64498"/>
                </a:moveTo>
                <a:cubicBezTo>
                  <a:pt x="75215" y="64493"/>
                  <a:pt x="70614" y="68309"/>
                  <a:pt x="68427" y="73992"/>
                </a:cubicBezTo>
                <a:cubicBezTo>
                  <a:pt x="66237" y="79697"/>
                  <a:pt x="63577" y="95168"/>
                  <a:pt x="86227" y="115582"/>
                </a:cubicBezTo>
                <a:cubicBezTo>
                  <a:pt x="97552" y="125789"/>
                  <a:pt x="106993" y="129832"/>
                  <a:pt x="114283" y="130977"/>
                </a:cubicBezTo>
                <a:lnTo>
                  <a:pt x="129430" y="128982"/>
                </a:lnTo>
                <a:lnTo>
                  <a:pt x="129428" y="128985"/>
                </a:lnTo>
                <a:lnTo>
                  <a:pt x="129437" y="128981"/>
                </a:lnTo>
                <a:lnTo>
                  <a:pt x="129430" y="128982"/>
                </a:lnTo>
                <a:lnTo>
                  <a:pt x="137688" y="116612"/>
                </a:lnTo>
                <a:cubicBezTo>
                  <a:pt x="137477" y="114566"/>
                  <a:pt x="136097" y="112830"/>
                  <a:pt x="134156" y="112151"/>
                </a:cubicBezTo>
                <a:lnTo>
                  <a:pt x="119582" y="107069"/>
                </a:lnTo>
                <a:cubicBezTo>
                  <a:pt x="118140" y="106565"/>
                  <a:pt x="116541" y="106959"/>
                  <a:pt x="115498" y="108072"/>
                </a:cubicBezTo>
                <a:lnTo>
                  <a:pt x="114091" y="109571"/>
                </a:lnTo>
                <a:cubicBezTo>
                  <a:pt x="111769" y="112042"/>
                  <a:pt x="108241" y="113032"/>
                  <a:pt x="104994" y="112050"/>
                </a:cubicBezTo>
                <a:cubicBezTo>
                  <a:pt x="102194" y="111205"/>
                  <a:pt x="98715" y="109474"/>
                  <a:pt x="94864" y="106004"/>
                </a:cubicBezTo>
                <a:cubicBezTo>
                  <a:pt x="91012" y="102534"/>
                  <a:pt x="88931" y="99252"/>
                  <a:pt x="87800" y="96553"/>
                </a:cubicBezTo>
                <a:cubicBezTo>
                  <a:pt x="86489" y="93420"/>
                  <a:pt x="87108" y="89814"/>
                  <a:pt x="89324" y="87246"/>
                </a:cubicBezTo>
                <a:lnTo>
                  <a:pt x="90670" y="85691"/>
                </a:lnTo>
                <a:cubicBezTo>
                  <a:pt x="91669" y="84538"/>
                  <a:pt x="91897" y="82904"/>
                  <a:pt x="91249" y="81524"/>
                </a:cubicBezTo>
                <a:lnTo>
                  <a:pt x="84684" y="67551"/>
                </a:lnTo>
                <a:cubicBezTo>
                  <a:pt x="83812" y="65689"/>
                  <a:pt x="81941" y="64498"/>
                  <a:pt x="79882" y="64498"/>
                </a:cubicBezTo>
                <a:close/>
                <a:moveTo>
                  <a:pt x="102006" y="38523"/>
                </a:moveTo>
                <a:lnTo>
                  <a:pt x="102010" y="38523"/>
                </a:lnTo>
                <a:cubicBezTo>
                  <a:pt x="134533" y="38523"/>
                  <a:pt x="160895" y="64883"/>
                  <a:pt x="160895" y="97403"/>
                </a:cubicBezTo>
                <a:cubicBezTo>
                  <a:pt x="160895" y="129923"/>
                  <a:pt x="134533" y="156283"/>
                  <a:pt x="102010" y="156283"/>
                </a:cubicBezTo>
                <a:cubicBezTo>
                  <a:pt x="90228" y="156283"/>
                  <a:pt x="79255" y="152821"/>
                  <a:pt x="70049" y="146862"/>
                </a:cubicBezTo>
                <a:lnTo>
                  <a:pt x="47508" y="152830"/>
                </a:lnTo>
                <a:lnTo>
                  <a:pt x="53814" y="131242"/>
                </a:lnTo>
                <a:cubicBezTo>
                  <a:pt x="47079" y="121669"/>
                  <a:pt x="43122" y="110000"/>
                  <a:pt x="43122" y="97403"/>
                </a:cubicBezTo>
                <a:cubicBezTo>
                  <a:pt x="43122" y="64883"/>
                  <a:pt x="69484" y="38523"/>
                  <a:pt x="102006" y="38523"/>
                </a:cubicBezTo>
                <a:close/>
                <a:moveTo>
                  <a:pt x="102006" y="26185"/>
                </a:moveTo>
                <a:cubicBezTo>
                  <a:pt x="62670" y="26185"/>
                  <a:pt x="30783" y="58069"/>
                  <a:pt x="30783" y="97403"/>
                </a:cubicBezTo>
                <a:cubicBezTo>
                  <a:pt x="30783" y="110478"/>
                  <a:pt x="34310" y="122729"/>
                  <a:pt x="40458" y="133262"/>
                </a:cubicBezTo>
                <a:lnTo>
                  <a:pt x="30783" y="169652"/>
                </a:lnTo>
                <a:lnTo>
                  <a:pt x="68055" y="160025"/>
                </a:lnTo>
                <a:cubicBezTo>
                  <a:pt x="78151" y="165506"/>
                  <a:pt x="89715" y="168622"/>
                  <a:pt x="102006" y="168622"/>
                </a:cubicBezTo>
                <a:cubicBezTo>
                  <a:pt x="141342" y="168622"/>
                  <a:pt x="173229" y="136737"/>
                  <a:pt x="173229" y="97403"/>
                </a:cubicBezTo>
                <a:cubicBezTo>
                  <a:pt x="173229" y="58069"/>
                  <a:pt x="141342" y="26185"/>
                  <a:pt x="102006" y="26185"/>
                </a:cubicBezTo>
                <a:close/>
                <a:moveTo>
                  <a:pt x="46256" y="0"/>
                </a:moveTo>
                <a:lnTo>
                  <a:pt x="152788" y="0"/>
                </a:lnTo>
                <a:cubicBezTo>
                  <a:pt x="178334" y="0"/>
                  <a:pt x="199043" y="20707"/>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7"/>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9" name="Fußzeilenplatzhalter 8">
            <a:extLst>
              <a:ext uri="{FF2B5EF4-FFF2-40B4-BE49-F238E27FC236}">
                <a16:creationId xmlns:a16="http://schemas.microsoft.com/office/drawing/2014/main" id="{D03EB9C7-5B0D-40C1-4C1E-90D2B3B10616}"/>
              </a:ext>
            </a:extLst>
          </p:cNvPr>
          <p:cNvSpPr>
            <a:spLocks noGrp="1"/>
          </p:cNvSpPr>
          <p:nvPr userDrawn="1">
            <p:ph type="ftr" sz="quarter" idx="10"/>
          </p:nvPr>
        </p:nvSpPr>
        <p:spPr bwMode="gray"/>
        <p:txBody>
          <a:bodyPr>
            <a:noAutofit/>
          </a:bodyPr>
          <a:lstStyle>
            <a:lvl1pPr rtl="0">
              <a:defRPr>
                <a:solidFill>
                  <a:schemeClr val="tx1"/>
                </a:solidFill>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userDrawn="1">
            <p:ph type="sldNum" sz="quarter" idx="11"/>
          </p:nvPr>
        </p:nvSpPr>
        <p:spPr bwMode="gray"/>
        <p:txBody>
          <a:bodyPr>
            <a:noAutofit/>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13916550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Kontakt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258817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Grafik 16" descr="Bild mit grüner Wellenstruktur füllt 1/3 der Folie aus, darauf die Anschrift der msg systems ag und die Logos von X, Linkedin, Facebook, Instagram und Whatsapp. Links der Titel und bis zu 2 Kontaktpersonen mit Bild.">
            <a:extLst>
              <a:ext uri="{FF2B5EF4-FFF2-40B4-BE49-F238E27FC236}">
                <a16:creationId xmlns:a16="http://schemas.microsoft.com/office/drawing/2014/main" id="{2C46E2E2-FAAD-8778-F409-FE935D426992}"/>
              </a:ext>
              <a:ext uri="{C183D7F6-B498-43B3-948B-1728B52AA6E4}">
                <adec:decorative xmlns:adec="http://schemas.microsoft.com/office/drawing/2017/decorative" val="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flipH="1" flipV="1">
            <a:off x="8400680" y="2772"/>
            <a:ext cx="3791319" cy="6855228"/>
          </a:xfrm>
          <a:prstGeom prst="rect">
            <a:avLst/>
          </a:prstGeom>
        </p:spPr>
      </p:pic>
      <p:sp>
        <p:nvSpPr>
          <p:cNvPr id="2" name="Titel 1">
            <a:extLst>
              <a:ext uri="{FF2B5EF4-FFF2-40B4-BE49-F238E27FC236}">
                <a16:creationId xmlns:a16="http://schemas.microsoft.com/office/drawing/2014/main" id="{67B2DF5E-A3CA-9898-6D8E-0DBB2CA2736F}"/>
              </a:ext>
            </a:extLst>
          </p:cNvPr>
          <p:cNvSpPr>
            <a:spLocks noGrp="1"/>
          </p:cNvSpPr>
          <p:nvPr>
            <p:ph type="title"/>
          </p:nvPr>
        </p:nvSpPr>
        <p:spPr bwMode="gray">
          <a:xfrm>
            <a:off x="623889" y="620713"/>
            <a:ext cx="6912280" cy="738664"/>
          </a:xfrm>
        </p:spPr>
        <p:txBody>
          <a:bodyPr vert="horz"/>
          <a:lstStyle/>
          <a:p>
            <a:r>
              <a:rPr lang="de-DE"/>
              <a:t>Mastertitelformat bearbeiten</a:t>
            </a:r>
          </a:p>
        </p:txBody>
      </p:sp>
      <p:sp>
        <p:nvSpPr>
          <p:cNvPr id="16" name="Bildplatzhalter 15">
            <a:extLst>
              <a:ext uri="{FF2B5EF4-FFF2-40B4-BE49-F238E27FC236}">
                <a16:creationId xmlns:a16="http://schemas.microsoft.com/office/drawing/2014/main" id="{971D89B3-93B1-57A2-2934-C51B985EA126}"/>
              </a:ext>
              <a:ext uri="{C183D7F6-B498-43B3-948B-1728B52AA6E4}">
                <adec:decorative xmlns:adec="http://schemas.microsoft.com/office/drawing/2017/decorative" val="0"/>
              </a:ext>
            </a:extLst>
          </p:cNvPr>
          <p:cNvSpPr>
            <a:spLocks noGrp="1"/>
          </p:cNvSpPr>
          <p:nvPr>
            <p:ph type="pic" sz="quarter" idx="12" hasCustomPrompt="1"/>
          </p:nvPr>
        </p:nvSpPr>
        <p:spPr bwMode="gray">
          <a:xfrm>
            <a:off x="623890" y="2205195"/>
            <a:ext cx="1295703" cy="1295703"/>
          </a:xfrm>
          <a:prstGeom prst="ellipse">
            <a:avLst/>
          </a:prstGeom>
          <a:solidFill>
            <a:schemeClr val="bg2"/>
          </a:solidFill>
        </p:spPr>
        <p:txBody>
          <a:bodyPr wrap="square">
            <a:noAutofit/>
          </a:bodyPr>
          <a:lstStyle>
            <a:lvl1pPr rtl="0">
              <a:defRPr sz="1100">
                <a:solidFill>
                  <a:schemeClr val="tx1"/>
                </a:solidFill>
              </a:defRPr>
            </a:lvl1pPr>
          </a:lstStyle>
          <a:p>
            <a:r>
              <a:rPr lang="de-DE"/>
              <a:t>Bild hinzufügen</a:t>
            </a:r>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623889" y="3720129"/>
            <a:ext cx="3251820" cy="1077218"/>
          </a:xfrm>
        </p:spPr>
        <p:txBody>
          <a:bodyPr anchor="t">
            <a:noAutofit/>
          </a:bodyPr>
          <a:lstStyle>
            <a:lvl1pPr marL="0" indent="0" rtl="0">
              <a:spcAft>
                <a:spcPts val="0"/>
              </a:spcAft>
              <a:buFont typeface="Arial" panose="020B0604020202020204" pitchFamily="34" charset="0"/>
              <a:buNone/>
              <a:defRPr sz="1600" b="0">
                <a:solidFill>
                  <a:schemeClr val="tx1"/>
                </a:solidFill>
                <a:latin typeface="+mn-lt"/>
              </a:defRPr>
            </a:lvl1pPr>
            <a:lvl2pPr marL="0" indent="0" rtl="0">
              <a:spcAft>
                <a:spcPts val="0"/>
              </a:spcAft>
              <a:buNone/>
              <a:defRPr sz="16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18" name="Bildplatzhalter 17">
            <a:extLst>
              <a:ext uri="{FF2B5EF4-FFF2-40B4-BE49-F238E27FC236}">
                <a16:creationId xmlns:a16="http://schemas.microsoft.com/office/drawing/2014/main" id="{B8743BA9-5CC3-01F3-D460-A28E65028C1E}"/>
              </a:ext>
              <a:ext uri="{C183D7F6-B498-43B3-948B-1728B52AA6E4}">
                <adec:decorative xmlns:adec="http://schemas.microsoft.com/office/drawing/2017/decorative" val="0"/>
              </a:ext>
            </a:extLst>
          </p:cNvPr>
          <p:cNvSpPr>
            <a:spLocks noGrp="1"/>
          </p:cNvSpPr>
          <p:nvPr>
            <p:ph type="pic" sz="quarter" idx="13" hasCustomPrompt="1"/>
          </p:nvPr>
        </p:nvSpPr>
        <p:spPr bwMode="gray">
          <a:xfrm>
            <a:off x="4305078" y="2205195"/>
            <a:ext cx="1295703" cy="1295703"/>
          </a:xfrm>
          <a:prstGeom prst="ellipse">
            <a:avLst/>
          </a:prstGeom>
          <a:solidFill>
            <a:schemeClr val="bg2"/>
          </a:solidFill>
        </p:spPr>
        <p:txBody>
          <a:bodyPr wrap="square">
            <a:noAutofit/>
          </a:bodyPr>
          <a:lstStyle>
            <a:lvl1pPr rtl="0">
              <a:defRPr sz="11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4305077" y="3720129"/>
            <a:ext cx="3231091" cy="1077218"/>
          </a:xfrm>
        </p:spPr>
        <p:txBody>
          <a:bodyPr anchor="t">
            <a:noAutofit/>
          </a:bodyPr>
          <a:lstStyle>
            <a:lvl1pPr marL="0" indent="0" rtl="0">
              <a:spcAft>
                <a:spcPts val="0"/>
              </a:spcAft>
              <a:buFont typeface="Arial" panose="020B0604020202020204" pitchFamily="34" charset="0"/>
              <a:buNone/>
              <a:defRPr sz="1600" b="0">
                <a:solidFill>
                  <a:schemeClr val="tx1"/>
                </a:solidFill>
                <a:latin typeface="+mn-lt"/>
              </a:defRPr>
            </a:lvl1pPr>
            <a:lvl2pPr marL="0" indent="0" rtl="0">
              <a:spcAft>
                <a:spcPts val="0"/>
              </a:spcAft>
              <a:buNone/>
              <a:defRPr sz="16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pic>
        <p:nvPicPr>
          <p:cNvPr id="61" name="Grafik 60">
            <a:extLst>
              <a:ext uri="{FF2B5EF4-FFF2-40B4-BE49-F238E27FC236}">
                <a16:creationId xmlns:a16="http://schemas.microsoft.com/office/drawing/2014/main" id="{3B3717A0-5228-5D82-B8DF-3B2F9751835B}"/>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27" name="Gruppieren 26">
            <a:extLst>
              <a:ext uri="{FF2B5EF4-FFF2-40B4-BE49-F238E27FC236}">
                <a16:creationId xmlns:a16="http://schemas.microsoft.com/office/drawing/2014/main" id="{D004AE93-6883-EEA0-5811-9F1FA9B7B87D}"/>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29" name="Gerader Verbinder 28">
              <a:extLst>
                <a:ext uri="{FF2B5EF4-FFF2-40B4-BE49-F238E27FC236}">
                  <a16:creationId xmlns:a16="http://schemas.microsoft.com/office/drawing/2014/main" id="{4113D0DE-D42C-0AC8-9E6D-28DBA70BB5E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2C91D47-E966-3E11-5309-F6092AD08C9F}"/>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1" name="Gruppieren 40">
            <a:extLst>
              <a:ext uri="{FF2B5EF4-FFF2-40B4-BE49-F238E27FC236}">
                <a16:creationId xmlns:a16="http://schemas.microsoft.com/office/drawing/2014/main" id="{CF6C7B07-4851-0848-015E-0F064A497590}"/>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43" name="Gerader Verbinder 42">
              <a:extLst>
                <a:ext uri="{FF2B5EF4-FFF2-40B4-BE49-F238E27FC236}">
                  <a16:creationId xmlns:a16="http://schemas.microsoft.com/office/drawing/2014/main" id="{C691887C-E36A-DC95-1877-3D247F69B54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FF25B5F9-3311-5725-039B-F67F7868AD4B}"/>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3" name="Titel 11">
            <a:extLst>
              <a:ext uri="{FF2B5EF4-FFF2-40B4-BE49-F238E27FC236}">
                <a16:creationId xmlns:a16="http://schemas.microsoft.com/office/drawing/2014/main" id="{7044AC19-7BA1-D234-E297-9C750842E162}"/>
              </a:ext>
            </a:extLst>
          </p:cNvPr>
          <p:cNvSpPr txBox="1">
            <a:spLocks/>
          </p:cNvSpPr>
          <p:nvPr userDrawn="1"/>
        </p:nvSpPr>
        <p:spPr bwMode="gray">
          <a:xfrm>
            <a:off x="8763000" y="4566607"/>
            <a:ext cx="3094038" cy="1526392"/>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r>
              <a:rPr lang="de-DE" sz="1100" b="1" kern="1200" err="1">
                <a:solidFill>
                  <a:schemeClr val="tx1"/>
                </a:solidFill>
                <a:latin typeface="+mj-lt"/>
                <a:ea typeface="+mj-ea"/>
                <a:cs typeface="+mj-cs"/>
              </a:rPr>
              <a:t>msg</a:t>
            </a:r>
            <a:r>
              <a:rPr lang="de-DE" sz="1100" b="1" kern="1200">
                <a:solidFill>
                  <a:schemeClr val="tx1"/>
                </a:solidFill>
                <a:latin typeface="+mj-lt"/>
                <a:ea typeface="+mj-ea"/>
                <a:cs typeface="+mj-cs"/>
              </a:rPr>
              <a:t> </a:t>
            </a:r>
            <a:r>
              <a:rPr lang="de-DE" sz="1100" b="1" kern="1200" err="1">
                <a:solidFill>
                  <a:schemeClr val="tx1"/>
                </a:solidFill>
                <a:latin typeface="+mj-lt"/>
                <a:ea typeface="+mj-ea"/>
                <a:cs typeface="+mj-cs"/>
              </a:rPr>
              <a:t>systems</a:t>
            </a:r>
            <a:r>
              <a:rPr lang="de-DE" sz="1100" b="1" kern="1200">
                <a:solidFill>
                  <a:schemeClr val="tx1"/>
                </a:solidFill>
                <a:latin typeface="+mj-lt"/>
                <a:ea typeface="+mj-ea"/>
                <a:cs typeface="+mj-cs"/>
              </a:rPr>
              <a:t> AG </a:t>
            </a:r>
            <a:br>
              <a:rPr lang="de-DE" sz="1100"/>
            </a:br>
            <a:r>
              <a:rPr lang="de-DE" sz="1100"/>
              <a:t>Robert-Bürkle-Straße 1</a:t>
            </a:r>
            <a:br>
              <a:rPr lang="de-DE" sz="1100"/>
            </a:br>
            <a:r>
              <a:rPr lang="de-DE" sz="1100"/>
              <a:t>85737 Ismaning</a:t>
            </a:r>
          </a:p>
          <a:p>
            <a:pPr>
              <a:spcAft>
                <a:spcPts val="600"/>
              </a:spcAft>
            </a:pPr>
            <a:r>
              <a:rPr lang="de-DE" sz="1100"/>
              <a:t>+49 89 96101-0</a:t>
            </a:r>
            <a:br>
              <a:rPr lang="de-DE" sz="1100"/>
            </a:br>
            <a:r>
              <a:rPr lang="de-DE" sz="1100"/>
              <a:t>+49 89 96101-​1113</a:t>
            </a:r>
          </a:p>
          <a:p>
            <a:pPr>
              <a:spcAft>
                <a:spcPts val="600"/>
              </a:spcAft>
            </a:pPr>
            <a:r>
              <a:rPr lang="de-DE" sz="1100" err="1"/>
              <a:t>info@msg.group</a:t>
            </a:r>
            <a:endParaRPr lang="de-DE" sz="1100"/>
          </a:p>
        </p:txBody>
      </p:sp>
      <p:sp>
        <p:nvSpPr>
          <p:cNvPr id="4" name="Freihandform: Form 3" descr="Logo von X.">
            <a:extLst>
              <a:ext uri="{FF2B5EF4-FFF2-40B4-BE49-F238E27FC236}">
                <a16:creationId xmlns:a16="http://schemas.microsoft.com/office/drawing/2014/main" id="{615C6C00-7645-48A8-B26F-6FC90C9B5424}"/>
              </a:ext>
            </a:extLst>
          </p:cNvPr>
          <p:cNvSpPr>
            <a:spLocks/>
          </p:cNvSpPr>
          <p:nvPr userDrawn="1"/>
        </p:nvSpPr>
        <p:spPr bwMode="gray">
          <a:xfrm>
            <a:off x="10528883" y="5734050"/>
            <a:ext cx="157950" cy="157940"/>
          </a:xfrm>
          <a:custGeom>
            <a:avLst/>
            <a:gdLst>
              <a:gd name="connsiteX0" fmla="*/ 45533 w 199043"/>
              <a:gd name="connsiteY0" fmla="*/ 59631 h 199030"/>
              <a:gd name="connsiteX1" fmla="*/ 61493 w 199043"/>
              <a:gd name="connsiteY1" fmla="*/ 87817 h 199030"/>
              <a:gd name="connsiteX2" fmla="*/ 40604 w 199043"/>
              <a:gd name="connsiteY2" fmla="*/ 124708 h 199030"/>
              <a:gd name="connsiteX3" fmla="*/ 68687 w 199043"/>
              <a:gd name="connsiteY3" fmla="*/ 124708 h 199030"/>
              <a:gd name="connsiteX4" fmla="*/ 89465 w 199043"/>
              <a:gd name="connsiteY4" fmla="*/ 88013 h 199030"/>
              <a:gd name="connsiteX5" fmla="*/ 89686 w 199043"/>
              <a:gd name="connsiteY5" fmla="*/ 88013 h 199030"/>
              <a:gd name="connsiteX6" fmla="*/ 89575 w 199043"/>
              <a:gd name="connsiteY6" fmla="*/ 87817 h 199030"/>
              <a:gd name="connsiteX7" fmla="*/ 89686 w 199043"/>
              <a:gd name="connsiteY7" fmla="*/ 87621 h 199030"/>
              <a:gd name="connsiteX8" fmla="*/ 89464 w 199043"/>
              <a:gd name="connsiteY8" fmla="*/ 87621 h 199030"/>
              <a:gd name="connsiteX9" fmla="*/ 73615 w 199043"/>
              <a:gd name="connsiteY9" fmla="*/ 59631 h 199030"/>
              <a:gd name="connsiteX10" fmla="*/ 130360 w 199043"/>
              <a:gd name="connsiteY10" fmla="*/ 37561 h 199030"/>
              <a:gd name="connsiteX11" fmla="*/ 87645 w 199043"/>
              <a:gd name="connsiteY11" fmla="*/ 112998 h 199030"/>
              <a:gd name="connsiteX12" fmla="*/ 87423 w 199043"/>
              <a:gd name="connsiteY12" fmla="*/ 112998 h 199030"/>
              <a:gd name="connsiteX13" fmla="*/ 87534 w 199043"/>
              <a:gd name="connsiteY13" fmla="*/ 113194 h 199030"/>
              <a:gd name="connsiteX14" fmla="*/ 87423 w 199043"/>
              <a:gd name="connsiteY14" fmla="*/ 113390 h 199030"/>
              <a:gd name="connsiteX15" fmla="*/ 87645 w 199043"/>
              <a:gd name="connsiteY15" fmla="*/ 113390 h 199030"/>
              <a:gd name="connsiteX16" fmla="*/ 114869 w 199043"/>
              <a:gd name="connsiteY16" fmla="*/ 161469 h 199030"/>
              <a:gd name="connsiteX17" fmla="*/ 142951 w 199043"/>
              <a:gd name="connsiteY17" fmla="*/ 161469 h 199030"/>
              <a:gd name="connsiteX18" fmla="*/ 115616 w 199043"/>
              <a:gd name="connsiteY18" fmla="*/ 113194 h 199030"/>
              <a:gd name="connsiteX19" fmla="*/ 158442 w 199043"/>
              <a:gd name="connsiteY19" fmla="*/ 37561 h 199030"/>
              <a:gd name="connsiteX20" fmla="*/ 46256 w 199043"/>
              <a:gd name="connsiteY20" fmla="*/ 0 h 199030"/>
              <a:gd name="connsiteX21" fmla="*/ 152788 w 199043"/>
              <a:gd name="connsiteY21" fmla="*/ 0 h 199030"/>
              <a:gd name="connsiteX22" fmla="*/ 199043 w 199043"/>
              <a:gd name="connsiteY22" fmla="*/ 46252 h 199030"/>
              <a:gd name="connsiteX23" fmla="*/ 199043 w 199043"/>
              <a:gd name="connsiteY23" fmla="*/ 152778 h 199030"/>
              <a:gd name="connsiteX24" fmla="*/ 152788 w 199043"/>
              <a:gd name="connsiteY24" fmla="*/ 199030 h 199030"/>
              <a:gd name="connsiteX25" fmla="*/ 46256 w 199043"/>
              <a:gd name="connsiteY25" fmla="*/ 199030 h 199030"/>
              <a:gd name="connsiteX26" fmla="*/ 0 w 199043"/>
              <a:gd name="connsiteY26" fmla="*/ 152778 h 199030"/>
              <a:gd name="connsiteX27" fmla="*/ 0 w 199043"/>
              <a:gd name="connsiteY27" fmla="*/ 46252 h 199030"/>
              <a:gd name="connsiteX28" fmla="*/ 46256 w 199043"/>
              <a:gd name="connsiteY28"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9043" h="199030">
                <a:moveTo>
                  <a:pt x="45533" y="59631"/>
                </a:moveTo>
                <a:lnTo>
                  <a:pt x="61493" y="87817"/>
                </a:lnTo>
                <a:lnTo>
                  <a:pt x="40604" y="124708"/>
                </a:lnTo>
                <a:lnTo>
                  <a:pt x="68687" y="124708"/>
                </a:lnTo>
                <a:lnTo>
                  <a:pt x="89465" y="88013"/>
                </a:lnTo>
                <a:lnTo>
                  <a:pt x="89686" y="88013"/>
                </a:lnTo>
                <a:lnTo>
                  <a:pt x="89575" y="87817"/>
                </a:lnTo>
                <a:lnTo>
                  <a:pt x="89686" y="87621"/>
                </a:lnTo>
                <a:lnTo>
                  <a:pt x="89464" y="87621"/>
                </a:lnTo>
                <a:lnTo>
                  <a:pt x="73615" y="59631"/>
                </a:lnTo>
                <a:close/>
                <a:moveTo>
                  <a:pt x="130360" y="37561"/>
                </a:moveTo>
                <a:lnTo>
                  <a:pt x="87645" y="112998"/>
                </a:lnTo>
                <a:lnTo>
                  <a:pt x="87423" y="112998"/>
                </a:lnTo>
                <a:lnTo>
                  <a:pt x="87534" y="113194"/>
                </a:lnTo>
                <a:lnTo>
                  <a:pt x="87423" y="113390"/>
                </a:lnTo>
                <a:lnTo>
                  <a:pt x="87645" y="113390"/>
                </a:lnTo>
                <a:lnTo>
                  <a:pt x="114869" y="161469"/>
                </a:lnTo>
                <a:lnTo>
                  <a:pt x="142951" y="161469"/>
                </a:lnTo>
                <a:lnTo>
                  <a:pt x="115616" y="113194"/>
                </a:lnTo>
                <a:lnTo>
                  <a:pt x="158442" y="37561"/>
                </a:lnTo>
                <a:close/>
                <a:moveTo>
                  <a:pt x="46256" y="0"/>
                </a:moveTo>
                <a:lnTo>
                  <a:pt x="152788" y="0"/>
                </a:lnTo>
                <a:cubicBezTo>
                  <a:pt x="178334" y="0"/>
                  <a:pt x="199043" y="20708"/>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8"/>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5" name="Freihandform: Form 4" descr="Logo von LinkedIn.">
            <a:extLst>
              <a:ext uri="{FF2B5EF4-FFF2-40B4-BE49-F238E27FC236}">
                <a16:creationId xmlns:a16="http://schemas.microsoft.com/office/drawing/2014/main" id="{FF807BBF-8DB4-420C-E6E8-5764AF0321EC}"/>
              </a:ext>
            </a:extLst>
          </p:cNvPr>
          <p:cNvSpPr>
            <a:spLocks/>
          </p:cNvSpPr>
          <p:nvPr userDrawn="1"/>
        </p:nvSpPr>
        <p:spPr bwMode="gray">
          <a:xfrm>
            <a:off x="10772537" y="5734050"/>
            <a:ext cx="157950" cy="157940"/>
          </a:xfrm>
          <a:custGeom>
            <a:avLst/>
            <a:gdLst>
              <a:gd name="connsiteX0" fmla="*/ 216671 w 277293"/>
              <a:gd name="connsiteY0" fmla="*/ 0 h 277276"/>
              <a:gd name="connsiteX1" fmla="*/ 60623 w 277293"/>
              <a:gd name="connsiteY1" fmla="*/ 0 h 277276"/>
              <a:gd name="connsiteX2" fmla="*/ 0 w 277293"/>
              <a:gd name="connsiteY2" fmla="*/ 60619 h 277276"/>
              <a:gd name="connsiteX3" fmla="*/ 0 w 277293"/>
              <a:gd name="connsiteY3" fmla="*/ 216657 h 277276"/>
              <a:gd name="connsiteX4" fmla="*/ 60623 w 277293"/>
              <a:gd name="connsiteY4" fmla="*/ 277276 h 277276"/>
              <a:gd name="connsiteX5" fmla="*/ 216671 w 277293"/>
              <a:gd name="connsiteY5" fmla="*/ 277276 h 277276"/>
              <a:gd name="connsiteX6" fmla="*/ 277294 w 277293"/>
              <a:gd name="connsiteY6" fmla="*/ 216657 h 277276"/>
              <a:gd name="connsiteX7" fmla="*/ 277294 w 277293"/>
              <a:gd name="connsiteY7" fmla="*/ 60619 h 277276"/>
              <a:gd name="connsiteX8" fmla="*/ 216671 w 277293"/>
              <a:gd name="connsiteY8" fmla="*/ 0 h 277276"/>
              <a:gd name="connsiteX9" fmla="*/ 81881 w 277293"/>
              <a:gd name="connsiteY9" fmla="*/ 235422 h 277276"/>
              <a:gd name="connsiteX10" fmla="*/ 40284 w 277293"/>
              <a:gd name="connsiteY10" fmla="*/ 235422 h 277276"/>
              <a:gd name="connsiteX11" fmla="*/ 40284 w 277293"/>
              <a:gd name="connsiteY11" fmla="*/ 103583 h 277276"/>
              <a:gd name="connsiteX12" fmla="*/ 81881 w 277293"/>
              <a:gd name="connsiteY12" fmla="*/ 103583 h 277276"/>
              <a:gd name="connsiteX13" fmla="*/ 81881 w 277293"/>
              <a:gd name="connsiteY13" fmla="*/ 235422 h 277276"/>
              <a:gd name="connsiteX14" fmla="*/ 61400 w 277293"/>
              <a:gd name="connsiteY14" fmla="*/ 84984 h 277276"/>
              <a:gd name="connsiteX15" fmla="*/ 37465 w 277293"/>
              <a:gd name="connsiteY15" fmla="*/ 61051 h 277276"/>
              <a:gd name="connsiteX16" fmla="*/ 61400 w 277293"/>
              <a:gd name="connsiteY16" fmla="*/ 37118 h 277276"/>
              <a:gd name="connsiteX17" fmla="*/ 85335 w 277293"/>
              <a:gd name="connsiteY17" fmla="*/ 61051 h 277276"/>
              <a:gd name="connsiteX18" fmla="*/ 61400 w 277293"/>
              <a:gd name="connsiteY18" fmla="*/ 84984 h 277276"/>
              <a:gd name="connsiteX19" fmla="*/ 236227 w 277293"/>
              <a:gd name="connsiteY19" fmla="*/ 235422 h 277276"/>
              <a:gd name="connsiteX20" fmla="*/ 195154 w 277293"/>
              <a:gd name="connsiteY20" fmla="*/ 235422 h 277276"/>
              <a:gd name="connsiteX21" fmla="*/ 195154 w 277293"/>
              <a:gd name="connsiteY21" fmla="*/ 160607 h 277276"/>
              <a:gd name="connsiteX22" fmla="*/ 173704 w 277293"/>
              <a:gd name="connsiteY22" fmla="*/ 135755 h 277276"/>
              <a:gd name="connsiteX23" fmla="*/ 149375 w 277293"/>
              <a:gd name="connsiteY23" fmla="*/ 166361 h 277276"/>
              <a:gd name="connsiteX24" fmla="*/ 149375 w 277293"/>
              <a:gd name="connsiteY24" fmla="*/ 235416 h 277276"/>
              <a:gd name="connsiteX25" fmla="*/ 107777 w 277293"/>
              <a:gd name="connsiteY25" fmla="*/ 235416 h 277276"/>
              <a:gd name="connsiteX26" fmla="*/ 107777 w 277293"/>
              <a:gd name="connsiteY26" fmla="*/ 103577 h 277276"/>
              <a:gd name="connsiteX27" fmla="*/ 147802 w 277293"/>
              <a:gd name="connsiteY27" fmla="*/ 103577 h 277276"/>
              <a:gd name="connsiteX28" fmla="*/ 147802 w 277293"/>
              <a:gd name="connsiteY28" fmla="*/ 121627 h 277276"/>
              <a:gd name="connsiteX29" fmla="*/ 189134 w 277293"/>
              <a:gd name="connsiteY29" fmla="*/ 99655 h 277276"/>
              <a:gd name="connsiteX30" fmla="*/ 236221 w 277293"/>
              <a:gd name="connsiteY30" fmla="*/ 157203 h 277276"/>
              <a:gd name="connsiteX31" fmla="*/ 236221 w 277293"/>
              <a:gd name="connsiteY31" fmla="*/ 235416 h 27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7293" h="277276">
                <a:moveTo>
                  <a:pt x="216671" y="0"/>
                </a:moveTo>
                <a:lnTo>
                  <a:pt x="60623" y="0"/>
                </a:lnTo>
                <a:cubicBezTo>
                  <a:pt x="27142" y="0"/>
                  <a:pt x="0" y="27140"/>
                  <a:pt x="0" y="60619"/>
                </a:cubicBezTo>
                <a:lnTo>
                  <a:pt x="0" y="216657"/>
                </a:lnTo>
                <a:cubicBezTo>
                  <a:pt x="0" y="250136"/>
                  <a:pt x="27142" y="277276"/>
                  <a:pt x="60623" y="277276"/>
                </a:cubicBezTo>
                <a:lnTo>
                  <a:pt x="216671" y="277276"/>
                </a:lnTo>
                <a:cubicBezTo>
                  <a:pt x="250152" y="277276"/>
                  <a:pt x="277294" y="250136"/>
                  <a:pt x="277294" y="216657"/>
                </a:cubicBezTo>
                <a:lnTo>
                  <a:pt x="277294" y="60619"/>
                </a:lnTo>
                <a:cubicBezTo>
                  <a:pt x="277294" y="27140"/>
                  <a:pt x="250152" y="0"/>
                  <a:pt x="216671" y="0"/>
                </a:cubicBezTo>
                <a:close/>
                <a:moveTo>
                  <a:pt x="81881" y="235422"/>
                </a:moveTo>
                <a:lnTo>
                  <a:pt x="40284" y="235422"/>
                </a:lnTo>
                <a:lnTo>
                  <a:pt x="40284" y="103583"/>
                </a:lnTo>
                <a:lnTo>
                  <a:pt x="81881" y="103583"/>
                </a:lnTo>
                <a:lnTo>
                  <a:pt x="81881" y="235422"/>
                </a:lnTo>
                <a:close/>
                <a:moveTo>
                  <a:pt x="61400" y="84984"/>
                </a:moveTo>
                <a:cubicBezTo>
                  <a:pt x="48178" y="84984"/>
                  <a:pt x="37465" y="74266"/>
                  <a:pt x="37465" y="61051"/>
                </a:cubicBezTo>
                <a:cubicBezTo>
                  <a:pt x="37465" y="47836"/>
                  <a:pt x="48184" y="37118"/>
                  <a:pt x="61400" y="37118"/>
                </a:cubicBezTo>
                <a:cubicBezTo>
                  <a:pt x="74616" y="37118"/>
                  <a:pt x="85335" y="47836"/>
                  <a:pt x="85335" y="61051"/>
                </a:cubicBezTo>
                <a:cubicBezTo>
                  <a:pt x="85335" y="74266"/>
                  <a:pt x="74616" y="84984"/>
                  <a:pt x="61400" y="84984"/>
                </a:cubicBezTo>
                <a:close/>
                <a:moveTo>
                  <a:pt x="236227" y="235422"/>
                </a:moveTo>
                <a:lnTo>
                  <a:pt x="195154" y="235422"/>
                </a:lnTo>
                <a:lnTo>
                  <a:pt x="195154" y="160607"/>
                </a:lnTo>
                <a:cubicBezTo>
                  <a:pt x="195154" y="160607"/>
                  <a:pt x="195154" y="135755"/>
                  <a:pt x="173704" y="135755"/>
                </a:cubicBezTo>
                <a:cubicBezTo>
                  <a:pt x="152255" y="135755"/>
                  <a:pt x="149375" y="156944"/>
                  <a:pt x="149375" y="166361"/>
                </a:cubicBezTo>
                <a:lnTo>
                  <a:pt x="149375" y="235416"/>
                </a:lnTo>
                <a:lnTo>
                  <a:pt x="107777" y="235416"/>
                </a:lnTo>
                <a:lnTo>
                  <a:pt x="107777" y="103577"/>
                </a:lnTo>
                <a:lnTo>
                  <a:pt x="147802" y="103577"/>
                </a:lnTo>
                <a:lnTo>
                  <a:pt x="147802" y="121627"/>
                </a:lnTo>
                <a:cubicBezTo>
                  <a:pt x="147802" y="121627"/>
                  <a:pt x="156960" y="99655"/>
                  <a:pt x="189134" y="99655"/>
                </a:cubicBezTo>
                <a:cubicBezTo>
                  <a:pt x="221308" y="99655"/>
                  <a:pt x="236221" y="120061"/>
                  <a:pt x="236221" y="157203"/>
                </a:cubicBezTo>
                <a:lnTo>
                  <a:pt x="236221" y="235416"/>
                </a:lnTo>
                <a:close/>
              </a:path>
            </a:pathLst>
          </a:custGeom>
          <a:solidFill>
            <a:schemeClr val="accent1"/>
          </a:solidFill>
          <a:ln w="122" cap="flat">
            <a:noFill/>
            <a:prstDash val="solid"/>
            <a:miter/>
          </a:ln>
        </p:spPr>
        <p:txBody>
          <a:bodyPr rtlCol="0" anchor="ctr"/>
          <a:lstStyle/>
          <a:p>
            <a:endParaRPr lang="de-DE"/>
          </a:p>
        </p:txBody>
      </p:sp>
      <p:sp>
        <p:nvSpPr>
          <p:cNvPr id="6" name="Freihandform: Form 5" descr="Logo von Facebook.">
            <a:extLst>
              <a:ext uri="{FF2B5EF4-FFF2-40B4-BE49-F238E27FC236}">
                <a16:creationId xmlns:a16="http://schemas.microsoft.com/office/drawing/2014/main" id="{9D39F3E4-848D-175E-34DC-47DACB095525}"/>
              </a:ext>
            </a:extLst>
          </p:cNvPr>
          <p:cNvSpPr>
            <a:spLocks/>
          </p:cNvSpPr>
          <p:nvPr userDrawn="1"/>
        </p:nvSpPr>
        <p:spPr bwMode="gray">
          <a:xfrm>
            <a:off x="11016191" y="5734050"/>
            <a:ext cx="157950" cy="157940"/>
          </a:xfrm>
          <a:custGeom>
            <a:avLst/>
            <a:gdLst>
              <a:gd name="connsiteX0" fmla="*/ 216073 w 277287"/>
              <a:gd name="connsiteY0" fmla="*/ 0 h 277282"/>
              <a:gd name="connsiteX1" fmla="*/ 61221 w 277287"/>
              <a:gd name="connsiteY1" fmla="*/ 0 h 277282"/>
              <a:gd name="connsiteX2" fmla="*/ 0 w 277287"/>
              <a:gd name="connsiteY2" fmla="*/ 61217 h 277282"/>
              <a:gd name="connsiteX3" fmla="*/ 0 w 277287"/>
              <a:gd name="connsiteY3" fmla="*/ 216059 h 277282"/>
              <a:gd name="connsiteX4" fmla="*/ 61221 w 277287"/>
              <a:gd name="connsiteY4" fmla="*/ 277276 h 277282"/>
              <a:gd name="connsiteX5" fmla="*/ 127858 w 277287"/>
              <a:gd name="connsiteY5" fmla="*/ 277276 h 277282"/>
              <a:gd name="connsiteX6" fmla="*/ 127858 w 277287"/>
              <a:gd name="connsiteY6" fmla="*/ 183961 h 277282"/>
              <a:gd name="connsiteX7" fmla="*/ 90071 w 277287"/>
              <a:gd name="connsiteY7" fmla="*/ 183961 h 277282"/>
              <a:gd name="connsiteX8" fmla="*/ 90071 w 277287"/>
              <a:gd name="connsiteY8" fmla="*/ 141028 h 277282"/>
              <a:gd name="connsiteX9" fmla="*/ 127858 w 277287"/>
              <a:gd name="connsiteY9" fmla="*/ 141028 h 277282"/>
              <a:gd name="connsiteX10" fmla="*/ 127858 w 277287"/>
              <a:gd name="connsiteY10" fmla="*/ 105538 h 277282"/>
              <a:gd name="connsiteX11" fmla="*/ 183387 w 277287"/>
              <a:gd name="connsiteY11" fmla="*/ 50012 h 277282"/>
              <a:gd name="connsiteX12" fmla="*/ 216017 w 277287"/>
              <a:gd name="connsiteY12" fmla="*/ 51159 h 277282"/>
              <a:gd name="connsiteX13" fmla="*/ 216017 w 277287"/>
              <a:gd name="connsiteY13" fmla="*/ 91231 h 277282"/>
              <a:gd name="connsiteX14" fmla="*/ 193994 w 277287"/>
              <a:gd name="connsiteY14" fmla="*/ 90658 h 277282"/>
              <a:gd name="connsiteX15" fmla="*/ 175369 w 277287"/>
              <a:gd name="connsiteY15" fmla="*/ 109281 h 277282"/>
              <a:gd name="connsiteX16" fmla="*/ 175369 w 277287"/>
              <a:gd name="connsiteY16" fmla="*/ 141034 h 277282"/>
              <a:gd name="connsiteX17" fmla="*/ 216017 w 277287"/>
              <a:gd name="connsiteY17" fmla="*/ 141034 h 277282"/>
              <a:gd name="connsiteX18" fmla="*/ 209147 w 277287"/>
              <a:gd name="connsiteY18" fmla="*/ 183967 h 277282"/>
              <a:gd name="connsiteX19" fmla="*/ 175369 w 277287"/>
              <a:gd name="connsiteY19" fmla="*/ 183967 h 277282"/>
              <a:gd name="connsiteX20" fmla="*/ 175369 w 277287"/>
              <a:gd name="connsiteY20" fmla="*/ 277282 h 277282"/>
              <a:gd name="connsiteX21" fmla="*/ 216066 w 277287"/>
              <a:gd name="connsiteY21" fmla="*/ 277282 h 277282"/>
              <a:gd name="connsiteX22" fmla="*/ 277288 w 277287"/>
              <a:gd name="connsiteY22" fmla="*/ 216065 h 277282"/>
              <a:gd name="connsiteX23" fmla="*/ 277288 w 277287"/>
              <a:gd name="connsiteY23" fmla="*/ 61217 h 277282"/>
              <a:gd name="connsiteX24" fmla="*/ 216066 w 277287"/>
              <a:gd name="connsiteY24" fmla="*/ 0 h 27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7287" h="277282">
                <a:moveTo>
                  <a:pt x="216073" y="0"/>
                </a:moveTo>
                <a:lnTo>
                  <a:pt x="61221" y="0"/>
                </a:lnTo>
                <a:cubicBezTo>
                  <a:pt x="27407" y="0"/>
                  <a:pt x="0" y="27405"/>
                  <a:pt x="0" y="61217"/>
                </a:cubicBezTo>
                <a:lnTo>
                  <a:pt x="0" y="216059"/>
                </a:lnTo>
                <a:cubicBezTo>
                  <a:pt x="0" y="249865"/>
                  <a:pt x="27407" y="277276"/>
                  <a:pt x="61221" y="277276"/>
                </a:cubicBezTo>
                <a:lnTo>
                  <a:pt x="127858" y="277276"/>
                </a:lnTo>
                <a:lnTo>
                  <a:pt x="127858" y="183961"/>
                </a:lnTo>
                <a:lnTo>
                  <a:pt x="90071" y="183961"/>
                </a:lnTo>
                <a:lnTo>
                  <a:pt x="90071" y="141028"/>
                </a:lnTo>
                <a:lnTo>
                  <a:pt x="127858" y="141028"/>
                </a:lnTo>
                <a:lnTo>
                  <a:pt x="127858" y="105538"/>
                </a:lnTo>
                <a:cubicBezTo>
                  <a:pt x="127858" y="74871"/>
                  <a:pt x="152717" y="50012"/>
                  <a:pt x="183387" y="50012"/>
                </a:cubicBezTo>
                <a:lnTo>
                  <a:pt x="216017" y="51159"/>
                </a:lnTo>
                <a:lnTo>
                  <a:pt x="216017" y="91231"/>
                </a:lnTo>
                <a:lnTo>
                  <a:pt x="193994" y="90658"/>
                </a:lnTo>
                <a:cubicBezTo>
                  <a:pt x="183707" y="90658"/>
                  <a:pt x="175369" y="98995"/>
                  <a:pt x="175369" y="109281"/>
                </a:cubicBezTo>
                <a:lnTo>
                  <a:pt x="175369" y="141034"/>
                </a:lnTo>
                <a:lnTo>
                  <a:pt x="216017" y="141034"/>
                </a:lnTo>
                <a:lnTo>
                  <a:pt x="209147" y="183967"/>
                </a:lnTo>
                <a:lnTo>
                  <a:pt x="175369" y="183967"/>
                </a:lnTo>
                <a:lnTo>
                  <a:pt x="175369" y="277282"/>
                </a:lnTo>
                <a:lnTo>
                  <a:pt x="216066" y="277282"/>
                </a:lnTo>
                <a:cubicBezTo>
                  <a:pt x="249875" y="277282"/>
                  <a:pt x="277288" y="249877"/>
                  <a:pt x="277288" y="216065"/>
                </a:cubicBezTo>
                <a:lnTo>
                  <a:pt x="277288" y="61217"/>
                </a:lnTo>
                <a:cubicBezTo>
                  <a:pt x="277288" y="27411"/>
                  <a:pt x="249881" y="0"/>
                  <a:pt x="216066" y="0"/>
                </a:cubicBezTo>
                <a:close/>
              </a:path>
            </a:pathLst>
          </a:custGeom>
          <a:solidFill>
            <a:schemeClr val="accent1"/>
          </a:solidFill>
          <a:ln w="122" cap="flat">
            <a:noFill/>
            <a:prstDash val="solid"/>
            <a:miter/>
          </a:ln>
        </p:spPr>
        <p:txBody>
          <a:bodyPr rtlCol="0" anchor="ctr"/>
          <a:lstStyle/>
          <a:p>
            <a:endParaRPr lang="de-DE"/>
          </a:p>
        </p:txBody>
      </p:sp>
      <p:sp>
        <p:nvSpPr>
          <p:cNvPr id="7" name="Freihandform: Form 6" descr="Logo von Instagram.">
            <a:extLst>
              <a:ext uri="{FF2B5EF4-FFF2-40B4-BE49-F238E27FC236}">
                <a16:creationId xmlns:a16="http://schemas.microsoft.com/office/drawing/2014/main" id="{86869B5A-2E35-A567-C379-65EE09109D4C}"/>
              </a:ext>
            </a:extLst>
          </p:cNvPr>
          <p:cNvSpPr>
            <a:spLocks/>
          </p:cNvSpPr>
          <p:nvPr userDrawn="1"/>
        </p:nvSpPr>
        <p:spPr bwMode="gray">
          <a:xfrm>
            <a:off x="11259844" y="5734050"/>
            <a:ext cx="157951" cy="157940"/>
          </a:xfrm>
          <a:custGeom>
            <a:avLst/>
            <a:gdLst>
              <a:gd name="connsiteX0" fmla="*/ 105406 w 199044"/>
              <a:gd name="connsiteY0" fmla="*/ 74501 h 199030"/>
              <a:gd name="connsiteX1" fmla="*/ 124504 w 199044"/>
              <a:gd name="connsiteY1" fmla="*/ 105400 h 199030"/>
              <a:gd name="connsiteX2" fmla="*/ 93605 w 199044"/>
              <a:gd name="connsiteY2" fmla="*/ 124500 h 199030"/>
              <a:gd name="connsiteX3" fmla="*/ 74506 w 199044"/>
              <a:gd name="connsiteY3" fmla="*/ 93600 h 199030"/>
              <a:gd name="connsiteX4" fmla="*/ 105406 w 199044"/>
              <a:gd name="connsiteY4" fmla="*/ 74501 h 199030"/>
              <a:gd name="connsiteX5" fmla="*/ 99519 w 199044"/>
              <a:gd name="connsiteY5" fmla="*/ 61049 h 199030"/>
              <a:gd name="connsiteX6" fmla="*/ 61053 w 199044"/>
              <a:gd name="connsiteY6" fmla="*/ 99512 h 199030"/>
              <a:gd name="connsiteX7" fmla="*/ 99519 w 199044"/>
              <a:gd name="connsiteY7" fmla="*/ 137974 h 199030"/>
              <a:gd name="connsiteX8" fmla="*/ 137985 w 199044"/>
              <a:gd name="connsiteY8" fmla="*/ 99512 h 199030"/>
              <a:gd name="connsiteX9" fmla="*/ 99519 w 199044"/>
              <a:gd name="connsiteY9" fmla="*/ 61049 h 199030"/>
              <a:gd name="connsiteX10" fmla="*/ 138739 w 199044"/>
              <a:gd name="connsiteY10" fmla="*/ 50176 h 199030"/>
              <a:gd name="connsiteX11" fmla="*/ 129774 w 199044"/>
              <a:gd name="connsiteY11" fmla="*/ 59141 h 199030"/>
              <a:gd name="connsiteX12" fmla="*/ 138739 w 199044"/>
              <a:gd name="connsiteY12" fmla="*/ 68105 h 199030"/>
              <a:gd name="connsiteX13" fmla="*/ 147704 w 199044"/>
              <a:gd name="connsiteY13" fmla="*/ 59141 h 199030"/>
              <a:gd name="connsiteX14" fmla="*/ 138739 w 199044"/>
              <a:gd name="connsiteY14" fmla="*/ 50176 h 199030"/>
              <a:gd name="connsiteX15" fmla="*/ 67458 w 199044"/>
              <a:gd name="connsiteY15" fmla="*/ 38818 h 199030"/>
              <a:gd name="connsiteX16" fmla="*/ 131584 w 199044"/>
              <a:gd name="connsiteY16" fmla="*/ 38818 h 199030"/>
              <a:gd name="connsiteX17" fmla="*/ 160222 w 199044"/>
              <a:gd name="connsiteY17" fmla="*/ 67453 h 199030"/>
              <a:gd name="connsiteX18" fmla="*/ 160222 w 199044"/>
              <a:gd name="connsiteY18" fmla="*/ 131574 h 199030"/>
              <a:gd name="connsiteX19" fmla="*/ 131584 w 199044"/>
              <a:gd name="connsiteY19" fmla="*/ 160210 h 199030"/>
              <a:gd name="connsiteX20" fmla="*/ 67458 w 199044"/>
              <a:gd name="connsiteY20" fmla="*/ 160210 h 199030"/>
              <a:gd name="connsiteX21" fmla="*/ 38820 w 199044"/>
              <a:gd name="connsiteY21" fmla="*/ 131574 h 199030"/>
              <a:gd name="connsiteX22" fmla="*/ 38820 w 199044"/>
              <a:gd name="connsiteY22" fmla="*/ 67453 h 199030"/>
              <a:gd name="connsiteX23" fmla="*/ 67458 w 199044"/>
              <a:gd name="connsiteY23" fmla="*/ 38818 h 199030"/>
              <a:gd name="connsiteX24" fmla="*/ 67459 w 199044"/>
              <a:gd name="connsiteY24" fmla="*/ 23530 h 199030"/>
              <a:gd name="connsiteX25" fmla="*/ 23531 w 199044"/>
              <a:gd name="connsiteY25" fmla="*/ 67453 h 199030"/>
              <a:gd name="connsiteX26" fmla="*/ 23531 w 199044"/>
              <a:gd name="connsiteY26" fmla="*/ 131573 h 199030"/>
              <a:gd name="connsiteX27" fmla="*/ 67459 w 199044"/>
              <a:gd name="connsiteY27" fmla="*/ 175497 h 199030"/>
              <a:gd name="connsiteX28" fmla="*/ 131585 w 199044"/>
              <a:gd name="connsiteY28" fmla="*/ 175497 h 199030"/>
              <a:gd name="connsiteX29" fmla="*/ 175512 w 199044"/>
              <a:gd name="connsiteY29" fmla="*/ 131573 h 199030"/>
              <a:gd name="connsiteX30" fmla="*/ 175512 w 199044"/>
              <a:gd name="connsiteY30" fmla="*/ 67453 h 199030"/>
              <a:gd name="connsiteX31" fmla="*/ 131585 w 199044"/>
              <a:gd name="connsiteY31" fmla="*/ 23530 h 199030"/>
              <a:gd name="connsiteX32" fmla="*/ 155098 w 199044"/>
              <a:gd name="connsiteY32" fmla="*/ 0 h 199030"/>
              <a:gd name="connsiteX33" fmla="*/ 199044 w 199044"/>
              <a:gd name="connsiteY33" fmla="*/ 43942 h 199030"/>
              <a:gd name="connsiteX34" fmla="*/ 199044 w 199044"/>
              <a:gd name="connsiteY34" fmla="*/ 155089 h 199030"/>
              <a:gd name="connsiteX35" fmla="*/ 155098 w 199044"/>
              <a:gd name="connsiteY35" fmla="*/ 199030 h 199030"/>
              <a:gd name="connsiteX36" fmla="*/ 43946 w 199044"/>
              <a:gd name="connsiteY36" fmla="*/ 199030 h 199030"/>
              <a:gd name="connsiteX37" fmla="*/ 0 w 199044"/>
              <a:gd name="connsiteY37" fmla="*/ 155089 h 199030"/>
              <a:gd name="connsiteX38" fmla="*/ 0 w 199044"/>
              <a:gd name="connsiteY38" fmla="*/ 43946 h 199030"/>
              <a:gd name="connsiteX39" fmla="*/ 43946 w 199044"/>
              <a:gd name="connsiteY39" fmla="*/ 4 h 199030"/>
              <a:gd name="connsiteX40" fmla="*/ 155098 w 199044"/>
              <a:gd name="connsiteY40" fmla="*/ 4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9044" h="199030">
                <a:moveTo>
                  <a:pt x="105406" y="74501"/>
                </a:moveTo>
                <a:cubicBezTo>
                  <a:pt x="119212" y="77760"/>
                  <a:pt x="127762" y="91594"/>
                  <a:pt x="124504" y="105400"/>
                </a:cubicBezTo>
                <a:cubicBezTo>
                  <a:pt x="121245" y="119207"/>
                  <a:pt x="107412" y="127758"/>
                  <a:pt x="93605" y="124500"/>
                </a:cubicBezTo>
                <a:cubicBezTo>
                  <a:pt x="79798" y="121241"/>
                  <a:pt x="71248" y="107407"/>
                  <a:pt x="74506" y="93600"/>
                </a:cubicBezTo>
                <a:cubicBezTo>
                  <a:pt x="77765" y="79793"/>
                  <a:pt x="91599" y="71242"/>
                  <a:pt x="105406" y="74501"/>
                </a:cubicBezTo>
                <a:close/>
                <a:moveTo>
                  <a:pt x="99519" y="61049"/>
                </a:moveTo>
                <a:cubicBezTo>
                  <a:pt x="78310" y="61049"/>
                  <a:pt x="61053" y="78304"/>
                  <a:pt x="61053" y="99512"/>
                </a:cubicBezTo>
                <a:cubicBezTo>
                  <a:pt x="61053" y="120719"/>
                  <a:pt x="78310" y="137974"/>
                  <a:pt x="99519" y="137974"/>
                </a:cubicBezTo>
                <a:cubicBezTo>
                  <a:pt x="120728" y="137974"/>
                  <a:pt x="137985" y="120719"/>
                  <a:pt x="137985" y="99512"/>
                </a:cubicBezTo>
                <a:cubicBezTo>
                  <a:pt x="137985" y="78304"/>
                  <a:pt x="120728" y="61049"/>
                  <a:pt x="99519" y="61049"/>
                </a:cubicBezTo>
                <a:close/>
                <a:moveTo>
                  <a:pt x="138739" y="50176"/>
                </a:moveTo>
                <a:cubicBezTo>
                  <a:pt x="133789" y="50176"/>
                  <a:pt x="129774" y="54191"/>
                  <a:pt x="129774" y="59141"/>
                </a:cubicBezTo>
                <a:cubicBezTo>
                  <a:pt x="129774" y="64090"/>
                  <a:pt x="133789" y="68105"/>
                  <a:pt x="138739" y="68105"/>
                </a:cubicBezTo>
                <a:cubicBezTo>
                  <a:pt x="143689" y="68105"/>
                  <a:pt x="147704" y="64090"/>
                  <a:pt x="147704" y="59141"/>
                </a:cubicBezTo>
                <a:cubicBezTo>
                  <a:pt x="147704" y="54191"/>
                  <a:pt x="143689" y="50176"/>
                  <a:pt x="138739" y="50176"/>
                </a:cubicBezTo>
                <a:close/>
                <a:moveTo>
                  <a:pt x="67458" y="38818"/>
                </a:moveTo>
                <a:lnTo>
                  <a:pt x="131584" y="38818"/>
                </a:lnTo>
                <a:cubicBezTo>
                  <a:pt x="147376" y="38818"/>
                  <a:pt x="160222" y="51663"/>
                  <a:pt x="160222" y="67453"/>
                </a:cubicBezTo>
                <a:lnTo>
                  <a:pt x="160222" y="131574"/>
                </a:lnTo>
                <a:cubicBezTo>
                  <a:pt x="160222" y="147365"/>
                  <a:pt x="147376" y="160210"/>
                  <a:pt x="131584" y="160210"/>
                </a:cubicBezTo>
                <a:lnTo>
                  <a:pt x="67458" y="160210"/>
                </a:lnTo>
                <a:cubicBezTo>
                  <a:pt x="51666" y="160210"/>
                  <a:pt x="38820" y="147365"/>
                  <a:pt x="38820" y="131574"/>
                </a:cubicBezTo>
                <a:lnTo>
                  <a:pt x="38820" y="67453"/>
                </a:lnTo>
                <a:cubicBezTo>
                  <a:pt x="38820" y="51663"/>
                  <a:pt x="51666" y="38818"/>
                  <a:pt x="67458" y="38818"/>
                </a:cubicBezTo>
                <a:close/>
                <a:moveTo>
                  <a:pt x="67459" y="23530"/>
                </a:moveTo>
                <a:cubicBezTo>
                  <a:pt x="43236" y="23530"/>
                  <a:pt x="23531" y="43232"/>
                  <a:pt x="23531" y="67453"/>
                </a:cubicBezTo>
                <a:lnTo>
                  <a:pt x="23531" y="131573"/>
                </a:lnTo>
                <a:cubicBezTo>
                  <a:pt x="23531" y="155794"/>
                  <a:pt x="43236" y="175497"/>
                  <a:pt x="67459" y="175497"/>
                </a:cubicBezTo>
                <a:lnTo>
                  <a:pt x="131585" y="175497"/>
                </a:lnTo>
                <a:cubicBezTo>
                  <a:pt x="155808" y="175497"/>
                  <a:pt x="175512" y="155794"/>
                  <a:pt x="175512" y="131573"/>
                </a:cubicBezTo>
                <a:lnTo>
                  <a:pt x="175512" y="67453"/>
                </a:lnTo>
                <a:cubicBezTo>
                  <a:pt x="175512" y="43232"/>
                  <a:pt x="155808" y="23530"/>
                  <a:pt x="131585" y="23530"/>
                </a:cubicBezTo>
                <a:close/>
                <a:moveTo>
                  <a:pt x="155098" y="0"/>
                </a:moveTo>
                <a:cubicBezTo>
                  <a:pt x="179371" y="0"/>
                  <a:pt x="199044" y="19676"/>
                  <a:pt x="199044" y="43942"/>
                </a:cubicBezTo>
                <a:lnTo>
                  <a:pt x="199044" y="155089"/>
                </a:lnTo>
                <a:cubicBezTo>
                  <a:pt x="199044" y="179359"/>
                  <a:pt x="179366" y="199030"/>
                  <a:pt x="155098" y="199030"/>
                </a:cubicBezTo>
                <a:lnTo>
                  <a:pt x="43946" y="199030"/>
                </a:lnTo>
                <a:cubicBezTo>
                  <a:pt x="19673" y="199030"/>
                  <a:pt x="0" y="179355"/>
                  <a:pt x="0" y="155089"/>
                </a:cubicBezTo>
                <a:lnTo>
                  <a:pt x="0" y="43946"/>
                </a:lnTo>
                <a:cubicBezTo>
                  <a:pt x="0" y="19676"/>
                  <a:pt x="19677" y="4"/>
                  <a:pt x="43946" y="4"/>
                </a:cubicBezTo>
                <a:lnTo>
                  <a:pt x="155098" y="4"/>
                </a:lnTo>
                <a:close/>
              </a:path>
            </a:pathLst>
          </a:custGeom>
          <a:solidFill>
            <a:schemeClr val="accent1"/>
          </a:solidFill>
          <a:ln w="122" cap="flat">
            <a:noFill/>
            <a:prstDash val="solid"/>
            <a:miter/>
          </a:ln>
        </p:spPr>
        <p:txBody>
          <a:bodyPr rtlCol="0" anchor="ctr"/>
          <a:lstStyle/>
          <a:p>
            <a:endParaRPr lang="de-DE"/>
          </a:p>
        </p:txBody>
      </p:sp>
      <p:sp>
        <p:nvSpPr>
          <p:cNvPr id="11" name="Freihandform: Form 10" descr="Logo von WhatsApp.">
            <a:extLst>
              <a:ext uri="{FF2B5EF4-FFF2-40B4-BE49-F238E27FC236}">
                <a16:creationId xmlns:a16="http://schemas.microsoft.com/office/drawing/2014/main" id="{8AC6137B-C8DE-EA2E-80A5-E358C21DE18F}"/>
              </a:ext>
            </a:extLst>
          </p:cNvPr>
          <p:cNvSpPr>
            <a:spLocks/>
          </p:cNvSpPr>
          <p:nvPr userDrawn="1"/>
        </p:nvSpPr>
        <p:spPr bwMode="gray">
          <a:xfrm>
            <a:off x="11503499" y="5734050"/>
            <a:ext cx="157950" cy="157940"/>
          </a:xfrm>
          <a:custGeom>
            <a:avLst/>
            <a:gdLst>
              <a:gd name="connsiteX0" fmla="*/ 79882 w 199043"/>
              <a:gd name="connsiteY0" fmla="*/ 64498 h 199030"/>
              <a:gd name="connsiteX1" fmla="*/ 68427 w 199043"/>
              <a:gd name="connsiteY1" fmla="*/ 73992 h 199030"/>
              <a:gd name="connsiteX2" fmla="*/ 86227 w 199043"/>
              <a:gd name="connsiteY2" fmla="*/ 115582 h 199030"/>
              <a:gd name="connsiteX3" fmla="*/ 114283 w 199043"/>
              <a:gd name="connsiteY3" fmla="*/ 130977 h 199030"/>
              <a:gd name="connsiteX4" fmla="*/ 129430 w 199043"/>
              <a:gd name="connsiteY4" fmla="*/ 128982 h 199030"/>
              <a:gd name="connsiteX5" fmla="*/ 129428 w 199043"/>
              <a:gd name="connsiteY5" fmla="*/ 128985 h 199030"/>
              <a:gd name="connsiteX6" fmla="*/ 129437 w 199043"/>
              <a:gd name="connsiteY6" fmla="*/ 128981 h 199030"/>
              <a:gd name="connsiteX7" fmla="*/ 129430 w 199043"/>
              <a:gd name="connsiteY7" fmla="*/ 128982 h 199030"/>
              <a:gd name="connsiteX8" fmla="*/ 137688 w 199043"/>
              <a:gd name="connsiteY8" fmla="*/ 116612 h 199030"/>
              <a:gd name="connsiteX9" fmla="*/ 134156 w 199043"/>
              <a:gd name="connsiteY9" fmla="*/ 112151 h 199030"/>
              <a:gd name="connsiteX10" fmla="*/ 119582 w 199043"/>
              <a:gd name="connsiteY10" fmla="*/ 107069 h 199030"/>
              <a:gd name="connsiteX11" fmla="*/ 115498 w 199043"/>
              <a:gd name="connsiteY11" fmla="*/ 108072 h 199030"/>
              <a:gd name="connsiteX12" fmla="*/ 114091 w 199043"/>
              <a:gd name="connsiteY12" fmla="*/ 109571 h 199030"/>
              <a:gd name="connsiteX13" fmla="*/ 104994 w 199043"/>
              <a:gd name="connsiteY13" fmla="*/ 112050 h 199030"/>
              <a:gd name="connsiteX14" fmla="*/ 94864 w 199043"/>
              <a:gd name="connsiteY14" fmla="*/ 106004 h 199030"/>
              <a:gd name="connsiteX15" fmla="*/ 87800 w 199043"/>
              <a:gd name="connsiteY15" fmla="*/ 96553 h 199030"/>
              <a:gd name="connsiteX16" fmla="*/ 89324 w 199043"/>
              <a:gd name="connsiteY16" fmla="*/ 87246 h 199030"/>
              <a:gd name="connsiteX17" fmla="*/ 90670 w 199043"/>
              <a:gd name="connsiteY17" fmla="*/ 85691 h 199030"/>
              <a:gd name="connsiteX18" fmla="*/ 91249 w 199043"/>
              <a:gd name="connsiteY18" fmla="*/ 81524 h 199030"/>
              <a:gd name="connsiteX19" fmla="*/ 84684 w 199043"/>
              <a:gd name="connsiteY19" fmla="*/ 67551 h 199030"/>
              <a:gd name="connsiteX20" fmla="*/ 79882 w 199043"/>
              <a:gd name="connsiteY20" fmla="*/ 64498 h 199030"/>
              <a:gd name="connsiteX21" fmla="*/ 102006 w 199043"/>
              <a:gd name="connsiteY21" fmla="*/ 38523 h 199030"/>
              <a:gd name="connsiteX22" fmla="*/ 102010 w 199043"/>
              <a:gd name="connsiteY22" fmla="*/ 38523 h 199030"/>
              <a:gd name="connsiteX23" fmla="*/ 160895 w 199043"/>
              <a:gd name="connsiteY23" fmla="*/ 97403 h 199030"/>
              <a:gd name="connsiteX24" fmla="*/ 102010 w 199043"/>
              <a:gd name="connsiteY24" fmla="*/ 156283 h 199030"/>
              <a:gd name="connsiteX25" fmla="*/ 70049 w 199043"/>
              <a:gd name="connsiteY25" fmla="*/ 146862 h 199030"/>
              <a:gd name="connsiteX26" fmla="*/ 47508 w 199043"/>
              <a:gd name="connsiteY26" fmla="*/ 152830 h 199030"/>
              <a:gd name="connsiteX27" fmla="*/ 53814 w 199043"/>
              <a:gd name="connsiteY27" fmla="*/ 131242 h 199030"/>
              <a:gd name="connsiteX28" fmla="*/ 43122 w 199043"/>
              <a:gd name="connsiteY28" fmla="*/ 97403 h 199030"/>
              <a:gd name="connsiteX29" fmla="*/ 102006 w 199043"/>
              <a:gd name="connsiteY29" fmla="*/ 38523 h 199030"/>
              <a:gd name="connsiteX30" fmla="*/ 102006 w 199043"/>
              <a:gd name="connsiteY30" fmla="*/ 26185 h 199030"/>
              <a:gd name="connsiteX31" fmla="*/ 30783 w 199043"/>
              <a:gd name="connsiteY31" fmla="*/ 97403 h 199030"/>
              <a:gd name="connsiteX32" fmla="*/ 40458 w 199043"/>
              <a:gd name="connsiteY32" fmla="*/ 133262 h 199030"/>
              <a:gd name="connsiteX33" fmla="*/ 30783 w 199043"/>
              <a:gd name="connsiteY33" fmla="*/ 169652 h 199030"/>
              <a:gd name="connsiteX34" fmla="*/ 68055 w 199043"/>
              <a:gd name="connsiteY34" fmla="*/ 160025 h 199030"/>
              <a:gd name="connsiteX35" fmla="*/ 102006 w 199043"/>
              <a:gd name="connsiteY35" fmla="*/ 168622 h 199030"/>
              <a:gd name="connsiteX36" fmla="*/ 173229 w 199043"/>
              <a:gd name="connsiteY36" fmla="*/ 97403 h 199030"/>
              <a:gd name="connsiteX37" fmla="*/ 102006 w 199043"/>
              <a:gd name="connsiteY37" fmla="*/ 26185 h 199030"/>
              <a:gd name="connsiteX38" fmla="*/ 46256 w 199043"/>
              <a:gd name="connsiteY38" fmla="*/ 0 h 199030"/>
              <a:gd name="connsiteX39" fmla="*/ 152788 w 199043"/>
              <a:gd name="connsiteY39" fmla="*/ 0 h 199030"/>
              <a:gd name="connsiteX40" fmla="*/ 199043 w 199043"/>
              <a:gd name="connsiteY40" fmla="*/ 46252 h 199030"/>
              <a:gd name="connsiteX41" fmla="*/ 199043 w 199043"/>
              <a:gd name="connsiteY41" fmla="*/ 152778 h 199030"/>
              <a:gd name="connsiteX42" fmla="*/ 152788 w 199043"/>
              <a:gd name="connsiteY42" fmla="*/ 199030 h 199030"/>
              <a:gd name="connsiteX43" fmla="*/ 46256 w 199043"/>
              <a:gd name="connsiteY43" fmla="*/ 199030 h 199030"/>
              <a:gd name="connsiteX44" fmla="*/ 0 w 199043"/>
              <a:gd name="connsiteY44" fmla="*/ 152778 h 199030"/>
              <a:gd name="connsiteX45" fmla="*/ 0 w 199043"/>
              <a:gd name="connsiteY45" fmla="*/ 46252 h 199030"/>
              <a:gd name="connsiteX46" fmla="*/ 46256 w 199043"/>
              <a:gd name="connsiteY46"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43" h="199030">
                <a:moveTo>
                  <a:pt x="79882" y="64498"/>
                </a:moveTo>
                <a:cubicBezTo>
                  <a:pt x="75215" y="64493"/>
                  <a:pt x="70614" y="68309"/>
                  <a:pt x="68427" y="73992"/>
                </a:cubicBezTo>
                <a:cubicBezTo>
                  <a:pt x="66237" y="79697"/>
                  <a:pt x="63577" y="95168"/>
                  <a:pt x="86227" y="115582"/>
                </a:cubicBezTo>
                <a:cubicBezTo>
                  <a:pt x="97552" y="125789"/>
                  <a:pt x="106993" y="129832"/>
                  <a:pt x="114283" y="130977"/>
                </a:cubicBezTo>
                <a:lnTo>
                  <a:pt x="129430" y="128982"/>
                </a:lnTo>
                <a:lnTo>
                  <a:pt x="129428" y="128985"/>
                </a:lnTo>
                <a:lnTo>
                  <a:pt x="129437" y="128981"/>
                </a:lnTo>
                <a:lnTo>
                  <a:pt x="129430" y="128982"/>
                </a:lnTo>
                <a:lnTo>
                  <a:pt x="137688" y="116612"/>
                </a:lnTo>
                <a:cubicBezTo>
                  <a:pt x="137477" y="114566"/>
                  <a:pt x="136097" y="112830"/>
                  <a:pt x="134156" y="112151"/>
                </a:cubicBezTo>
                <a:lnTo>
                  <a:pt x="119582" y="107069"/>
                </a:lnTo>
                <a:cubicBezTo>
                  <a:pt x="118140" y="106565"/>
                  <a:pt x="116541" y="106959"/>
                  <a:pt x="115498" y="108072"/>
                </a:cubicBezTo>
                <a:lnTo>
                  <a:pt x="114091" y="109571"/>
                </a:lnTo>
                <a:cubicBezTo>
                  <a:pt x="111769" y="112042"/>
                  <a:pt x="108241" y="113032"/>
                  <a:pt x="104994" y="112050"/>
                </a:cubicBezTo>
                <a:cubicBezTo>
                  <a:pt x="102194" y="111205"/>
                  <a:pt x="98715" y="109474"/>
                  <a:pt x="94864" y="106004"/>
                </a:cubicBezTo>
                <a:cubicBezTo>
                  <a:pt x="91012" y="102534"/>
                  <a:pt x="88931" y="99252"/>
                  <a:pt x="87800" y="96553"/>
                </a:cubicBezTo>
                <a:cubicBezTo>
                  <a:pt x="86489" y="93420"/>
                  <a:pt x="87108" y="89814"/>
                  <a:pt x="89324" y="87246"/>
                </a:cubicBezTo>
                <a:lnTo>
                  <a:pt x="90670" y="85691"/>
                </a:lnTo>
                <a:cubicBezTo>
                  <a:pt x="91669" y="84538"/>
                  <a:pt x="91897" y="82904"/>
                  <a:pt x="91249" y="81524"/>
                </a:cubicBezTo>
                <a:lnTo>
                  <a:pt x="84684" y="67551"/>
                </a:lnTo>
                <a:cubicBezTo>
                  <a:pt x="83812" y="65689"/>
                  <a:pt x="81941" y="64498"/>
                  <a:pt x="79882" y="64498"/>
                </a:cubicBezTo>
                <a:close/>
                <a:moveTo>
                  <a:pt x="102006" y="38523"/>
                </a:moveTo>
                <a:lnTo>
                  <a:pt x="102010" y="38523"/>
                </a:lnTo>
                <a:cubicBezTo>
                  <a:pt x="134533" y="38523"/>
                  <a:pt x="160895" y="64883"/>
                  <a:pt x="160895" y="97403"/>
                </a:cubicBezTo>
                <a:cubicBezTo>
                  <a:pt x="160895" y="129923"/>
                  <a:pt x="134533" y="156283"/>
                  <a:pt x="102010" y="156283"/>
                </a:cubicBezTo>
                <a:cubicBezTo>
                  <a:pt x="90228" y="156283"/>
                  <a:pt x="79255" y="152821"/>
                  <a:pt x="70049" y="146862"/>
                </a:cubicBezTo>
                <a:lnTo>
                  <a:pt x="47508" y="152830"/>
                </a:lnTo>
                <a:lnTo>
                  <a:pt x="53814" y="131242"/>
                </a:lnTo>
                <a:cubicBezTo>
                  <a:pt x="47079" y="121669"/>
                  <a:pt x="43122" y="110000"/>
                  <a:pt x="43122" y="97403"/>
                </a:cubicBezTo>
                <a:cubicBezTo>
                  <a:pt x="43122" y="64883"/>
                  <a:pt x="69484" y="38523"/>
                  <a:pt x="102006" y="38523"/>
                </a:cubicBezTo>
                <a:close/>
                <a:moveTo>
                  <a:pt x="102006" y="26185"/>
                </a:moveTo>
                <a:cubicBezTo>
                  <a:pt x="62670" y="26185"/>
                  <a:pt x="30783" y="58069"/>
                  <a:pt x="30783" y="97403"/>
                </a:cubicBezTo>
                <a:cubicBezTo>
                  <a:pt x="30783" y="110478"/>
                  <a:pt x="34310" y="122729"/>
                  <a:pt x="40458" y="133262"/>
                </a:cubicBezTo>
                <a:lnTo>
                  <a:pt x="30783" y="169652"/>
                </a:lnTo>
                <a:lnTo>
                  <a:pt x="68055" y="160025"/>
                </a:lnTo>
                <a:cubicBezTo>
                  <a:pt x="78151" y="165506"/>
                  <a:pt x="89715" y="168622"/>
                  <a:pt x="102006" y="168622"/>
                </a:cubicBezTo>
                <a:cubicBezTo>
                  <a:pt x="141342" y="168622"/>
                  <a:pt x="173229" y="136737"/>
                  <a:pt x="173229" y="97403"/>
                </a:cubicBezTo>
                <a:cubicBezTo>
                  <a:pt x="173229" y="58069"/>
                  <a:pt x="141342" y="26185"/>
                  <a:pt x="102006" y="26185"/>
                </a:cubicBezTo>
                <a:close/>
                <a:moveTo>
                  <a:pt x="46256" y="0"/>
                </a:moveTo>
                <a:lnTo>
                  <a:pt x="152788" y="0"/>
                </a:lnTo>
                <a:cubicBezTo>
                  <a:pt x="178334" y="0"/>
                  <a:pt x="199043" y="20707"/>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7"/>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noAutofit/>
          </a:bodyPr>
          <a:lstStyle>
            <a:lvl1pPr rtl="0">
              <a:defRPr>
                <a:solidFill>
                  <a:schemeClr val="tx1"/>
                </a:solidFill>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25302213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557C6E-E0BD-90A0-C797-59F42268DEF3}"/>
              </a:ext>
            </a:extLst>
          </p:cNvPr>
          <p:cNvGraphicFramePr>
            <a:graphicFrameLocks noChangeAspect="1"/>
          </p:cNvGraphicFramePr>
          <p:nvPr userDrawn="1">
            <p:custDataLst>
              <p:tags r:id="rId1"/>
            </p:custDataLst>
            <p:extLst>
              <p:ext uri="{D42A27DB-BD31-4B8C-83A1-F6EECF244321}">
                <p14:modId xmlns:p14="http://schemas.microsoft.com/office/powerpoint/2010/main" val="1510059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43557C6E-E0BD-90A0-C797-59F42268DE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descr="Bild füllt 1/3 der Folie aus, rechts daneben eine Textbox mit Verabschiedung. Das Bild ist änderbar">
            <a:extLst>
              <a:ext uri="{FF2B5EF4-FFF2-40B4-BE49-F238E27FC236}">
                <a16:creationId xmlns:a16="http://schemas.microsoft.com/office/drawing/2014/main" id="{8A0BDE57-5FB6-EBC0-0A2B-8FC1EBF53F23}"/>
              </a:ext>
            </a:extLst>
          </p:cNvPr>
          <p:cNvSpPr>
            <a:spLocks noGrp="1"/>
          </p:cNvSpPr>
          <p:nvPr>
            <p:ph type="pic" sz="quarter" idx="10"/>
          </p:nvPr>
        </p:nvSpPr>
        <p:spPr bwMode="gray">
          <a:xfrm>
            <a:off x="0" y="0"/>
            <a:ext cx="4732016" cy="6858000"/>
          </a:xfrm>
          <a:custGeom>
            <a:avLst/>
            <a:gdLst>
              <a:gd name="connsiteX0" fmla="*/ 4731108 w 4732016"/>
              <a:gd name="connsiteY0" fmla="*/ 2672511 h 6858000"/>
              <a:gd name="connsiteX1" fmla="*/ 4732016 w 4732016"/>
              <a:gd name="connsiteY1" fmla="*/ 2672557 h 6858000"/>
              <a:gd name="connsiteX2" fmla="*/ 4732016 w 4732016"/>
              <a:gd name="connsiteY2" fmla="*/ 5415665 h 6858000"/>
              <a:gd name="connsiteX3" fmla="*/ 4731108 w 4732016"/>
              <a:gd name="connsiteY3" fmla="*/ 5415711 h 6858000"/>
              <a:gd name="connsiteX4" fmla="*/ 3359508 w 4732016"/>
              <a:gd name="connsiteY4" fmla="*/ 4044111 h 6858000"/>
              <a:gd name="connsiteX5" fmla="*/ 4731108 w 4732016"/>
              <a:gd name="connsiteY5" fmla="*/ 2672511 h 6858000"/>
              <a:gd name="connsiteX6" fmla="*/ 0 w 4732016"/>
              <a:gd name="connsiteY6" fmla="*/ 0 h 6858000"/>
              <a:gd name="connsiteX7" fmla="*/ 4732016 w 4732016"/>
              <a:gd name="connsiteY7" fmla="*/ 0 h 6858000"/>
              <a:gd name="connsiteX8" fmla="*/ 4732016 w 4732016"/>
              <a:gd name="connsiteY8" fmla="*/ 2595445 h 6858000"/>
              <a:gd name="connsiteX9" fmla="*/ 4731108 w 4732016"/>
              <a:gd name="connsiteY9" fmla="*/ 2595399 h 6858000"/>
              <a:gd name="connsiteX10" fmla="*/ 3282396 w 4732016"/>
              <a:gd name="connsiteY10" fmla="*/ 4044111 h 6858000"/>
              <a:gd name="connsiteX11" fmla="*/ 4731108 w 4732016"/>
              <a:gd name="connsiteY11" fmla="*/ 5492823 h 6858000"/>
              <a:gd name="connsiteX12" fmla="*/ 4732016 w 4732016"/>
              <a:gd name="connsiteY12" fmla="*/ 5492777 h 6858000"/>
              <a:gd name="connsiteX13" fmla="*/ 4732016 w 4732016"/>
              <a:gd name="connsiteY13" fmla="*/ 6858000 h 6858000"/>
              <a:gd name="connsiteX14" fmla="*/ 0 w 4732016"/>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2016" h="6858000">
                <a:moveTo>
                  <a:pt x="4731108" y="2672511"/>
                </a:moveTo>
                <a:lnTo>
                  <a:pt x="4732016" y="2672557"/>
                </a:lnTo>
                <a:lnTo>
                  <a:pt x="4732016" y="5415665"/>
                </a:lnTo>
                <a:lnTo>
                  <a:pt x="4731108" y="5415711"/>
                </a:lnTo>
                <a:cubicBezTo>
                  <a:pt x="3973594" y="5415711"/>
                  <a:pt x="3359508" y="4801625"/>
                  <a:pt x="3359508" y="4044111"/>
                </a:cubicBezTo>
                <a:cubicBezTo>
                  <a:pt x="3359508" y="3286597"/>
                  <a:pt x="3973594" y="2672511"/>
                  <a:pt x="4731108" y="2672511"/>
                </a:cubicBezTo>
                <a:close/>
                <a:moveTo>
                  <a:pt x="0" y="0"/>
                </a:moveTo>
                <a:lnTo>
                  <a:pt x="4732016" y="0"/>
                </a:lnTo>
                <a:lnTo>
                  <a:pt x="4732016" y="2595445"/>
                </a:lnTo>
                <a:lnTo>
                  <a:pt x="4731108" y="2595399"/>
                </a:lnTo>
                <a:cubicBezTo>
                  <a:pt x="3931006" y="2595399"/>
                  <a:pt x="3282396" y="3244009"/>
                  <a:pt x="3282396" y="4044111"/>
                </a:cubicBezTo>
                <a:cubicBezTo>
                  <a:pt x="3282396" y="4844213"/>
                  <a:pt x="3931006" y="5492823"/>
                  <a:pt x="4731108" y="5492823"/>
                </a:cubicBezTo>
                <a:lnTo>
                  <a:pt x="4732016" y="5492777"/>
                </a:lnTo>
                <a:lnTo>
                  <a:pt x="4732016" y="6858000"/>
                </a:lnTo>
                <a:lnTo>
                  <a:pt x="0" y="6858000"/>
                </a:lnTo>
                <a:close/>
              </a:path>
            </a:pathLst>
          </a:custGeom>
          <a:solidFill>
            <a:schemeClr val="bg2"/>
          </a:solidFill>
        </p:spPr>
        <p:txBody>
          <a:bodyPr wrap="square">
            <a:noAutofit/>
          </a:bodyPr>
          <a:lstStyle>
            <a:lvl1pPr>
              <a:defRPr/>
            </a:lvl1pPr>
          </a:lstStyle>
          <a:p>
            <a:r>
              <a:rPr lang="de-DE"/>
              <a:t>Bild durch Klicken auf Symbol hinzufügen</a:t>
            </a:r>
          </a:p>
        </p:txBody>
      </p:sp>
      <p:sp>
        <p:nvSpPr>
          <p:cNvPr id="2" name="Titel 1">
            <a:extLst>
              <a:ext uri="{FF2B5EF4-FFF2-40B4-BE49-F238E27FC236}">
                <a16:creationId xmlns:a16="http://schemas.microsoft.com/office/drawing/2014/main" id="{F411F345-D99E-DC01-54AD-CFF488F1540D}"/>
              </a:ext>
            </a:extLst>
          </p:cNvPr>
          <p:cNvSpPr>
            <a:spLocks noGrp="1"/>
          </p:cNvSpPr>
          <p:nvPr>
            <p:ph type="title" hasCustomPrompt="1"/>
          </p:nvPr>
        </p:nvSpPr>
        <p:spPr bwMode="gray">
          <a:xfrm>
            <a:off x="5171444" y="2637155"/>
            <a:ext cx="5389027" cy="1079886"/>
          </a:xfrm>
        </p:spPr>
        <p:txBody>
          <a:bodyPr vert="horz" anchor="b">
            <a:noAutofit/>
          </a:bodyPr>
          <a:lstStyle>
            <a:lvl1pPr rtl="0">
              <a:defRPr sz="7200">
                <a:solidFill>
                  <a:schemeClr val="accent1"/>
                </a:solidFill>
              </a:defRPr>
            </a:lvl1pPr>
          </a:lstStyle>
          <a:p>
            <a:r>
              <a:rPr lang="de-DE"/>
              <a:t>Vielen Dank</a:t>
            </a:r>
          </a:p>
        </p:txBody>
      </p:sp>
      <p:pic>
        <p:nvPicPr>
          <p:cNvPr id="4" name="Grafik 3">
            <a:extLst>
              <a:ext uri="{FF2B5EF4-FFF2-40B4-BE49-F238E27FC236}">
                <a16:creationId xmlns:a16="http://schemas.microsoft.com/office/drawing/2014/main" id="{E61D11C2-59E6-B47D-9725-493B567FE06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bwMode="gray">
          <a:xfrm>
            <a:off x="10704521" y="296864"/>
            <a:ext cx="1152942" cy="360000"/>
          </a:xfrm>
          <a:prstGeom prst="rect">
            <a:avLst/>
          </a:prstGeom>
        </p:spPr>
      </p:pic>
      <p:sp>
        <p:nvSpPr>
          <p:cNvPr id="13" name="Freihandform: Form 12">
            <a:extLst>
              <a:ext uri="{FF2B5EF4-FFF2-40B4-BE49-F238E27FC236}">
                <a16:creationId xmlns:a16="http://schemas.microsoft.com/office/drawing/2014/main" id="{C853E75E-DDB2-41C0-26F3-9A404FCBC4BC}"/>
              </a:ext>
              <a:ext uri="{C183D7F6-B498-43B3-948B-1728B52AA6E4}">
                <adec:decorative xmlns:adec="http://schemas.microsoft.com/office/drawing/2017/decorative" val="1"/>
              </a:ext>
            </a:extLst>
          </p:cNvPr>
          <p:cNvSpPr>
            <a:spLocks/>
          </p:cNvSpPr>
          <p:nvPr userDrawn="1"/>
        </p:nvSpPr>
        <p:spPr bwMode="gray">
          <a:xfrm>
            <a:off x="4732016" y="4038601"/>
            <a:ext cx="1447804" cy="1454177"/>
          </a:xfrm>
          <a:custGeom>
            <a:avLst/>
            <a:gdLst>
              <a:gd name="connsiteX0" fmla="*/ 1370414 w 1447804"/>
              <a:gd name="connsiteY0" fmla="*/ 0 h 1454177"/>
              <a:gd name="connsiteX1" fmla="*/ 1447526 w 1447804"/>
              <a:gd name="connsiteY1" fmla="*/ 0 h 1454177"/>
              <a:gd name="connsiteX2" fmla="*/ 1447804 w 1447804"/>
              <a:gd name="connsiteY2" fmla="*/ 5511 h 1454177"/>
              <a:gd name="connsiteX3" fmla="*/ 147215 w 1447804"/>
              <a:gd name="connsiteY3" fmla="*/ 1446744 h 1454177"/>
              <a:gd name="connsiteX4" fmla="*/ 0 w 1447804"/>
              <a:gd name="connsiteY4" fmla="*/ 1454177 h 1454177"/>
              <a:gd name="connsiteX5" fmla="*/ 0 w 1447804"/>
              <a:gd name="connsiteY5" fmla="*/ 1377065 h 1454177"/>
              <a:gd name="connsiteX6" fmla="*/ 139330 w 1447804"/>
              <a:gd name="connsiteY6" fmla="*/ 1370030 h 1454177"/>
              <a:gd name="connsiteX7" fmla="*/ 1370692 w 1447804"/>
              <a:gd name="connsiteY7" fmla="*/ 5511 h 145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4" h="1454177">
                <a:moveTo>
                  <a:pt x="1370414" y="0"/>
                </a:moveTo>
                <a:lnTo>
                  <a:pt x="1447526" y="0"/>
                </a:lnTo>
                <a:lnTo>
                  <a:pt x="1447804" y="5511"/>
                </a:lnTo>
                <a:cubicBezTo>
                  <a:pt x="1447804" y="755607"/>
                  <a:pt x="877737" y="1372555"/>
                  <a:pt x="147215" y="1446744"/>
                </a:cubicBezTo>
                <a:lnTo>
                  <a:pt x="0" y="1454177"/>
                </a:lnTo>
                <a:lnTo>
                  <a:pt x="0" y="1377065"/>
                </a:lnTo>
                <a:lnTo>
                  <a:pt x="139330" y="1370030"/>
                </a:lnTo>
                <a:cubicBezTo>
                  <a:pt x="830968" y="1299790"/>
                  <a:pt x="1370692" y="715681"/>
                  <a:pt x="1370692" y="551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grpSp>
        <p:nvGrpSpPr>
          <p:cNvPr id="23" name="Gruppieren 22">
            <a:extLst>
              <a:ext uri="{FF2B5EF4-FFF2-40B4-BE49-F238E27FC236}">
                <a16:creationId xmlns:a16="http://schemas.microsoft.com/office/drawing/2014/main" id="{DC4E1B5C-FA2B-A25F-98F2-EAB6D242AB0D}"/>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24" name="Gerader Verbinder 23">
              <a:extLst>
                <a:ext uri="{FF2B5EF4-FFF2-40B4-BE49-F238E27FC236}">
                  <a16:creationId xmlns:a16="http://schemas.microsoft.com/office/drawing/2014/main" id="{8700D640-C026-81DF-9BEC-4AA2A2CA6FC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95EB4F89-3FBB-615D-089C-8B9A94D1720B}"/>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4" name="Gruppieren 33">
            <a:extLst>
              <a:ext uri="{FF2B5EF4-FFF2-40B4-BE49-F238E27FC236}">
                <a16:creationId xmlns:a16="http://schemas.microsoft.com/office/drawing/2014/main" id="{AE1B60D7-E3D7-1291-5C40-0F365A12796A}"/>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35" name="Gerader Verbinder 34">
              <a:extLst>
                <a:ext uri="{FF2B5EF4-FFF2-40B4-BE49-F238E27FC236}">
                  <a16:creationId xmlns:a16="http://schemas.microsoft.com/office/drawing/2014/main" id="{DF51E956-5109-9B37-947A-C66912F3EF7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6BA94E57-9184-7056-0256-7B938B9F35C8}"/>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55" name="Gruppieren 254">
            <a:extLst>
              <a:ext uri="{FF2B5EF4-FFF2-40B4-BE49-F238E27FC236}">
                <a16:creationId xmlns:a16="http://schemas.microsoft.com/office/drawing/2014/main" id="{3E5391CA-E519-76AB-4391-44D965D46B5B}"/>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256" name="Gerader Verbinder 255">
              <a:extLst>
                <a:ext uri="{FF2B5EF4-FFF2-40B4-BE49-F238E27FC236}">
                  <a16:creationId xmlns:a16="http://schemas.microsoft.com/office/drawing/2014/main" id="{3D5CF162-9356-8961-7485-E975EFEF31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a16="http://schemas.microsoft.com/office/drawing/2014/main" id="{88DE2A7E-3339-A825-6D86-C6FFE468CC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8" name="Gerader Verbinder 257">
              <a:extLst>
                <a:ext uri="{FF2B5EF4-FFF2-40B4-BE49-F238E27FC236}">
                  <a16:creationId xmlns:a16="http://schemas.microsoft.com/office/drawing/2014/main" id="{AB1D1473-27B0-133A-72CA-46D22658ED0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9" name="Gerader Verbinder 258">
              <a:extLst>
                <a:ext uri="{FF2B5EF4-FFF2-40B4-BE49-F238E27FC236}">
                  <a16:creationId xmlns:a16="http://schemas.microsoft.com/office/drawing/2014/main" id="{1E940AEB-D178-02FF-70E9-E501265D193A}"/>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a16="http://schemas.microsoft.com/office/drawing/2014/main" id="{B58477F6-72E0-6D73-AA37-159DBC36BE8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1" name="Gerader Verbinder 260">
              <a:extLst>
                <a:ext uri="{FF2B5EF4-FFF2-40B4-BE49-F238E27FC236}">
                  <a16:creationId xmlns:a16="http://schemas.microsoft.com/office/drawing/2014/main" id="{75810A12-D3BD-DCE6-076A-E96EEA6ABF0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2" name="Gerader Verbinder 261">
              <a:extLst>
                <a:ext uri="{FF2B5EF4-FFF2-40B4-BE49-F238E27FC236}">
                  <a16:creationId xmlns:a16="http://schemas.microsoft.com/office/drawing/2014/main" id="{F2B0E949-A9CB-7365-01C9-8A6DF67AE2A9}"/>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3" name="Gruppieren 262">
            <a:extLst>
              <a:ext uri="{FF2B5EF4-FFF2-40B4-BE49-F238E27FC236}">
                <a16:creationId xmlns:a16="http://schemas.microsoft.com/office/drawing/2014/main" id="{E1AA2A90-B7AD-39FC-9421-FCB18C79E3C1}"/>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64" name="Gerader Verbinder 263">
              <a:extLst>
                <a:ext uri="{FF2B5EF4-FFF2-40B4-BE49-F238E27FC236}">
                  <a16:creationId xmlns:a16="http://schemas.microsoft.com/office/drawing/2014/main" id="{EC992BC4-1D1C-C6AC-E564-8E8883B6885C}"/>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5" name="Gerader Verbinder 264">
              <a:extLst>
                <a:ext uri="{FF2B5EF4-FFF2-40B4-BE49-F238E27FC236}">
                  <a16:creationId xmlns:a16="http://schemas.microsoft.com/office/drawing/2014/main" id="{3095DD07-ED94-455A-D0E9-23995317758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6" name="Gerader Verbinder 265">
              <a:extLst>
                <a:ext uri="{FF2B5EF4-FFF2-40B4-BE49-F238E27FC236}">
                  <a16:creationId xmlns:a16="http://schemas.microsoft.com/office/drawing/2014/main" id="{63CA2019-0C1D-3FD4-01EB-B40A418427A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7" name="Gerader Verbinder 266">
              <a:extLst>
                <a:ext uri="{FF2B5EF4-FFF2-40B4-BE49-F238E27FC236}">
                  <a16:creationId xmlns:a16="http://schemas.microsoft.com/office/drawing/2014/main" id="{2CB73853-CAF7-7DB3-6F1E-91C21531047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8" name="Gerader Verbinder 267">
              <a:extLst>
                <a:ext uri="{FF2B5EF4-FFF2-40B4-BE49-F238E27FC236}">
                  <a16:creationId xmlns:a16="http://schemas.microsoft.com/office/drawing/2014/main" id="{0A0325C9-46EF-914F-E083-4986A9A05F0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9" name="Gerader Verbinder 268">
              <a:extLst>
                <a:ext uri="{FF2B5EF4-FFF2-40B4-BE49-F238E27FC236}">
                  <a16:creationId xmlns:a16="http://schemas.microsoft.com/office/drawing/2014/main" id="{8689EBEB-57E4-6EE7-1089-1CD41EB9B67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0" name="Gerader Verbinder 269">
              <a:extLst>
                <a:ext uri="{FF2B5EF4-FFF2-40B4-BE49-F238E27FC236}">
                  <a16:creationId xmlns:a16="http://schemas.microsoft.com/office/drawing/2014/main" id="{968F8860-7501-5AA5-FE12-BEA00350C92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842667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61DADEE-A415-FFD1-F733-F9D31551A778}"/>
              </a:ext>
            </a:extLst>
          </p:cNvPr>
          <p:cNvGraphicFramePr>
            <a:graphicFrameLocks noChangeAspect="1"/>
          </p:cNvGraphicFramePr>
          <p:nvPr userDrawn="1">
            <p:custDataLst>
              <p:tags r:id="rId1"/>
            </p:custDataLst>
            <p:extLst>
              <p:ext uri="{D42A27DB-BD31-4B8C-83A1-F6EECF244321}">
                <p14:modId xmlns:p14="http://schemas.microsoft.com/office/powerpoint/2010/main" val="851280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think-cell data - do not delete" hidden="1">
                        <a:extLst>
                          <a:ext uri="{FF2B5EF4-FFF2-40B4-BE49-F238E27FC236}">
                            <a16:creationId xmlns:a16="http://schemas.microsoft.com/office/drawing/2014/main" id="{361DADEE-A415-FFD1-F733-F9D31551A7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ußzeilenplatzhalter 2">
            <a:extLst>
              <a:ext uri="{FF2B5EF4-FFF2-40B4-BE49-F238E27FC236}">
                <a16:creationId xmlns:a16="http://schemas.microsoft.com/office/drawing/2014/main" id="{0EBC34C9-5AE0-0DD2-DA55-7E282D984085}"/>
              </a:ext>
            </a:extLst>
          </p:cNvPr>
          <p:cNvSpPr>
            <a:spLocks noGrp="1"/>
          </p:cNvSpPr>
          <p:nvPr>
            <p:ph type="ftr" sz="quarter" idx="10"/>
          </p:nvPr>
        </p:nvSpPr>
        <p:spPr/>
        <p:txBody>
          <a:bodyPr/>
          <a:lstStyle>
            <a:lvl1pPr rtl="0">
              <a:defRPr/>
            </a:lvl1pPr>
          </a:lstStyle>
          <a:p>
            <a:r>
              <a:rPr lang="de-DE"/>
              <a:t>© msg systems ag | 2026 | msg-Unternehmenspräsentation</a:t>
            </a:r>
          </a:p>
        </p:txBody>
      </p:sp>
      <p:sp>
        <p:nvSpPr>
          <p:cNvPr id="4" name="Foliennummernplatzhalter 3">
            <a:extLst>
              <a:ext uri="{FF2B5EF4-FFF2-40B4-BE49-F238E27FC236}">
                <a16:creationId xmlns:a16="http://schemas.microsoft.com/office/drawing/2014/main" id="{6AF84FBF-4920-3C3F-4CB7-6B19E22E05F5}"/>
              </a:ext>
            </a:extLst>
          </p:cNvPr>
          <p:cNvSpPr>
            <a:spLocks noGrp="1"/>
          </p:cNvSpPr>
          <p:nvPr>
            <p:ph type="sldNum" sz="quarter" idx="11"/>
          </p:nvPr>
        </p:nvSpPr>
        <p:spPr/>
        <p:txBody>
          <a:bodyPr/>
          <a:lstStyle>
            <a:lvl1pPr rtl="0">
              <a:defRPr/>
            </a:lvl1pPr>
          </a:lstStyle>
          <a:p>
            <a:fld id="{B27B0579-4238-4E44-9A9E-134B676F827C}" type="slidenum">
              <a:rPr lang="de-DE" smtClean="0"/>
              <a:pPr/>
              <a:t>‹Nr.›</a:t>
            </a:fld>
            <a:endParaRPr lang="de-DE"/>
          </a:p>
        </p:txBody>
      </p:sp>
    </p:spTree>
    <p:extLst>
      <p:ext uri="{BB962C8B-B14F-4D97-AF65-F5344CB8AC3E}">
        <p14:creationId xmlns:p14="http://schemas.microsoft.com/office/powerpoint/2010/main" val="14028541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3">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75676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5" name="Titel 84">
            <a:extLst>
              <a:ext uri="{FF2B5EF4-FFF2-40B4-BE49-F238E27FC236}">
                <a16:creationId xmlns:a16="http://schemas.microsoft.com/office/drawing/2014/main" id="{1C5AFEA5-AB8B-AE9B-F802-98E24FCBE5BF}"/>
              </a:ext>
            </a:extLst>
          </p:cNvPr>
          <p:cNvSpPr>
            <a:spLocks noGrp="1"/>
          </p:cNvSpPr>
          <p:nvPr>
            <p:ph type="ctrTitle"/>
          </p:nvPr>
        </p:nvSpPr>
        <p:spPr bwMode="gray">
          <a:xfrm>
            <a:off x="2146201" y="2211159"/>
            <a:ext cx="8198670" cy="1505863"/>
          </a:xfrm>
          <a:prstGeom prst="rect">
            <a:avLst/>
          </a:prstGeom>
          <a:noFill/>
        </p:spPr>
        <p:txBody>
          <a:bodyPr vert="horz" wrap="square" lIns="0" tIns="0" rIns="0" bIns="0" anchor="t">
            <a:noAutofit/>
          </a:bodyPr>
          <a:lstStyle>
            <a:lvl1pPr algn="l" rtl="0">
              <a:defRPr sz="4800">
                <a:solidFill>
                  <a:schemeClr val="tx1"/>
                </a:solidFill>
                <a:latin typeface="+mn-lt"/>
              </a:defRPr>
            </a:lvl1pPr>
          </a:lstStyle>
          <a:p>
            <a:r>
              <a:rPr lang="de-DE"/>
              <a:t>Mastertitelformat bearbeiten</a:t>
            </a:r>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2146201" y="3717048"/>
            <a:ext cx="8198670" cy="369332"/>
          </a:xfrm>
          <a:noFill/>
        </p:spPr>
        <p:txBody>
          <a:bodyPr wrap="square" lIns="0" tIns="0" rIns="0" bIns="0" anchor="t">
            <a:noAutofit/>
          </a:bodyPr>
          <a:lstStyle>
            <a:lvl1pPr rtl="0">
              <a:defRPr sz="2400" b="0">
                <a:solidFill>
                  <a:schemeClr val="tx1"/>
                </a:solidFill>
              </a:defRPr>
            </a:lvl1pPr>
          </a:lstStyle>
          <a:p>
            <a:pPr lvl="0"/>
            <a:r>
              <a:rPr lang="de-DE" err="1"/>
              <a:t>Subtitle</a:t>
            </a:r>
            <a:r>
              <a:rPr lang="de-DE"/>
              <a:t> einfügen</a:t>
            </a:r>
          </a:p>
        </p:txBody>
      </p:sp>
      <p:grpSp>
        <p:nvGrpSpPr>
          <p:cNvPr id="33" name="Gruppieren 32">
            <a:extLst>
              <a:ext uri="{FF2B5EF4-FFF2-40B4-BE49-F238E27FC236}">
                <a16:creationId xmlns:a16="http://schemas.microsoft.com/office/drawing/2014/main" id="{0CB106EF-3BA3-D76F-C56B-E342B8AAF22E}"/>
              </a:ext>
              <a:ext uri="{C183D7F6-B498-43B3-948B-1728B52AA6E4}">
                <adec:decorative xmlns:adec="http://schemas.microsoft.com/office/drawing/2017/decorative" val="1"/>
              </a:ext>
            </a:extLst>
          </p:cNvPr>
          <p:cNvGrpSpPr/>
          <p:nvPr userDrawn="1"/>
        </p:nvGrpSpPr>
        <p:grpSpPr>
          <a:xfrm>
            <a:off x="996459" y="1160678"/>
            <a:ext cx="1861676" cy="1861676"/>
            <a:chOff x="986299" y="1089558"/>
            <a:chExt cx="1367360" cy="1367360"/>
          </a:xfrm>
        </p:grpSpPr>
        <p:sp>
          <p:nvSpPr>
            <p:cNvPr id="17" name="Bogen 16">
              <a:extLst>
                <a:ext uri="{FF2B5EF4-FFF2-40B4-BE49-F238E27FC236}">
                  <a16:creationId xmlns:a16="http://schemas.microsoft.com/office/drawing/2014/main" id="{40BF3617-F480-F93D-1B46-2842F9036DA8}"/>
                </a:ext>
              </a:extLst>
            </p:cNvPr>
            <p:cNvSpPr>
              <a:spLocks/>
            </p:cNvSpPr>
            <p:nvPr userDrawn="1"/>
          </p:nvSpPr>
          <p:spPr bwMode="gray">
            <a:xfrm flipH="1">
              <a:off x="986299" y="1089558"/>
              <a:ext cx="1367360" cy="1367360"/>
            </a:xfrm>
            <a:prstGeom prst="arc">
              <a:avLst>
                <a:gd name="adj1" fmla="val 10811763"/>
                <a:gd name="adj2" fmla="val 21579546"/>
              </a:avLst>
            </a:prstGeom>
            <a:ln w="635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6" name="Bogen 15">
              <a:extLst>
                <a:ext uri="{FF2B5EF4-FFF2-40B4-BE49-F238E27FC236}">
                  <a16:creationId xmlns:a16="http://schemas.microsoft.com/office/drawing/2014/main" id="{5CB9498F-724C-1927-C59B-9E545F43910F}"/>
                </a:ext>
              </a:extLst>
            </p:cNvPr>
            <p:cNvSpPr>
              <a:spLocks/>
            </p:cNvSpPr>
            <p:nvPr userDrawn="1"/>
          </p:nvSpPr>
          <p:spPr bwMode="gray">
            <a:xfrm flipH="1">
              <a:off x="986299" y="1089558"/>
              <a:ext cx="1367360" cy="1367360"/>
            </a:xfrm>
            <a:prstGeom prst="arc">
              <a:avLst>
                <a:gd name="adj1" fmla="val 21583410"/>
                <a:gd name="adj2" fmla="val 5403393"/>
              </a:avLst>
            </a:prstGeom>
            <a:ln w="635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69AD8A91-7AEB-C53B-7F6C-16297FC0020C}"/>
              </a:ext>
              <a:ext uri="{C183D7F6-B498-43B3-948B-1728B52AA6E4}">
                <adec:decorative xmlns:adec="http://schemas.microsoft.com/office/drawing/2017/decorative" val="1"/>
              </a:ext>
            </a:extLst>
          </p:cNvPr>
          <p:cNvPicPr>
            <a:picLocks/>
          </p:cNvPicPr>
          <p:nvPr userDrawn="1"/>
        </p:nvPicPr>
        <p:blipFill rotWithShape="1">
          <a:blip r:embed="rId5">
            <a:extLst>
              <a:ext uri="{28A0092B-C50C-407E-A947-70E740481C1C}">
                <a14:useLocalDpi xmlns:a14="http://schemas.microsoft.com/office/drawing/2010/main" val="0"/>
              </a:ext>
            </a:extLst>
          </a:blip>
          <a:srcRect/>
          <a:stretch/>
        </p:blipFill>
        <p:spPr bwMode="gray">
          <a:xfrm>
            <a:off x="0" y="0"/>
            <a:ext cx="12192000" cy="142290"/>
          </a:xfrm>
          <a:prstGeom prst="rect">
            <a:avLst/>
          </a:prstGeom>
        </p:spPr>
      </p:pic>
      <p:grpSp>
        <p:nvGrpSpPr>
          <p:cNvPr id="2" name="Gruppieren 1">
            <a:extLst>
              <a:ext uri="{FF2B5EF4-FFF2-40B4-BE49-F238E27FC236}">
                <a16:creationId xmlns:a16="http://schemas.microsoft.com/office/drawing/2014/main" id="{926F182A-DC90-3BD4-F0E4-FE4E818F8300}"/>
              </a:ext>
              <a:ext uri="{C183D7F6-B498-43B3-948B-1728B52AA6E4}">
                <adec:decorative xmlns:adec="http://schemas.microsoft.com/office/drawing/2017/decorative" val="1"/>
              </a:ext>
            </a:extLst>
          </p:cNvPr>
          <p:cNvGrpSpPr>
            <a:grpSpLocks/>
          </p:cNvGrpSpPr>
          <p:nvPr userDrawn="1"/>
        </p:nvGrpSpPr>
        <p:grpSpPr bwMode="gray">
          <a:xfrm>
            <a:off x="9768114" y="5710720"/>
            <a:ext cx="1915180" cy="598005"/>
            <a:chOff x="5324475" y="3186112"/>
            <a:chExt cx="1546859" cy="483775"/>
          </a:xfrm>
        </p:grpSpPr>
        <p:sp>
          <p:nvSpPr>
            <p:cNvPr id="4" name="Freihandform: Form 3">
              <a:extLst>
                <a:ext uri="{FF2B5EF4-FFF2-40B4-BE49-F238E27FC236}">
                  <a16:creationId xmlns:a16="http://schemas.microsoft.com/office/drawing/2014/main" id="{BD7D5D96-8F90-E036-05B2-C58D1BF4E30D}"/>
                </a:ext>
              </a:extLst>
            </p:cNvPr>
            <p:cNvSpPr/>
            <p:nvPr/>
          </p:nvSpPr>
          <p:spPr bwMode="gray">
            <a:xfrm>
              <a:off x="5324475" y="3397471"/>
              <a:ext cx="161163" cy="160972"/>
            </a:xfrm>
            <a:custGeom>
              <a:avLst/>
              <a:gdLst>
                <a:gd name="connsiteX0" fmla="*/ 0 w 161163"/>
                <a:gd name="connsiteY0" fmla="*/ 80581 h 160972"/>
                <a:gd name="connsiteX1" fmla="*/ 80582 w 161163"/>
                <a:gd name="connsiteY1" fmla="*/ 0 h 160972"/>
                <a:gd name="connsiteX2" fmla="*/ 161163 w 161163"/>
                <a:gd name="connsiteY2" fmla="*/ 80486 h 160972"/>
                <a:gd name="connsiteX3" fmla="*/ 80582 w 161163"/>
                <a:gd name="connsiteY3" fmla="*/ 160973 h 160972"/>
                <a:gd name="connsiteX4" fmla="*/ 0 w 161163"/>
                <a:gd name="connsiteY4" fmla="*/ 80581 h 160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163" h="160972">
                  <a:moveTo>
                    <a:pt x="0" y="80581"/>
                  </a:moveTo>
                  <a:cubicBezTo>
                    <a:pt x="0" y="36100"/>
                    <a:pt x="36100" y="0"/>
                    <a:pt x="80582" y="0"/>
                  </a:cubicBezTo>
                  <a:cubicBezTo>
                    <a:pt x="125063" y="0"/>
                    <a:pt x="161163" y="36100"/>
                    <a:pt x="161163" y="80486"/>
                  </a:cubicBezTo>
                  <a:cubicBezTo>
                    <a:pt x="161163" y="124873"/>
                    <a:pt x="125063" y="160973"/>
                    <a:pt x="80582" y="160973"/>
                  </a:cubicBezTo>
                  <a:cubicBezTo>
                    <a:pt x="36100" y="160973"/>
                    <a:pt x="0" y="124968"/>
                    <a:pt x="0" y="80581"/>
                  </a:cubicBezTo>
                </a:path>
              </a:pathLst>
            </a:custGeom>
            <a:solidFill>
              <a:schemeClr val="accent1"/>
            </a:solidFill>
            <a:ln w="9525" cap="flat">
              <a:noFill/>
              <a:prstDash val="solid"/>
              <a:miter/>
            </a:ln>
          </p:spPr>
          <p:txBody>
            <a:bodyPr rtlCol="0" anchor="ctr"/>
            <a:lstStyle/>
            <a:p>
              <a:endParaRPr lang="de-DE">
                <a:latin typeface="Carnac Light" panose="02000503000000020004" pitchFamily="2" charset="77"/>
              </a:endParaRPr>
            </a:p>
          </p:txBody>
        </p:sp>
        <p:sp>
          <p:nvSpPr>
            <p:cNvPr id="7" name="Freihandform: Form 6">
              <a:extLst>
                <a:ext uri="{FF2B5EF4-FFF2-40B4-BE49-F238E27FC236}">
                  <a16:creationId xmlns:a16="http://schemas.microsoft.com/office/drawing/2014/main" id="{CB64F509-0955-4AC8-66B6-76413CD8620E}"/>
                </a:ext>
              </a:extLst>
            </p:cNvPr>
            <p:cNvSpPr/>
            <p:nvPr/>
          </p:nvSpPr>
          <p:spPr bwMode="gray">
            <a:xfrm>
              <a:off x="5537454" y="3186112"/>
              <a:ext cx="1333880" cy="483775"/>
            </a:xfrm>
            <a:custGeom>
              <a:avLst/>
              <a:gdLst>
                <a:gd name="connsiteX0" fmla="*/ 1127855 w 1333880"/>
                <a:gd name="connsiteY0" fmla="*/ 56388 h 483775"/>
                <a:gd name="connsiteX1" fmla="*/ 1039367 w 1333880"/>
                <a:gd name="connsiteY1" fmla="*/ 116396 h 483775"/>
                <a:gd name="connsiteX2" fmla="*/ 1039367 w 1333880"/>
                <a:gd name="connsiteY2" fmla="*/ 182404 h 483775"/>
                <a:gd name="connsiteX3" fmla="*/ 1039367 w 1333880"/>
                <a:gd name="connsiteY3" fmla="*/ 262604 h 483775"/>
                <a:gd name="connsiteX4" fmla="*/ 1124807 w 1333880"/>
                <a:gd name="connsiteY4" fmla="*/ 313658 h 483775"/>
                <a:gd name="connsiteX5" fmla="*/ 1266539 w 1333880"/>
                <a:gd name="connsiteY5" fmla="*/ 313658 h 483775"/>
                <a:gd name="connsiteX6" fmla="*/ 1266634 w 1333880"/>
                <a:gd name="connsiteY6" fmla="*/ 313754 h 483775"/>
                <a:gd name="connsiteX7" fmla="*/ 1266634 w 1333880"/>
                <a:gd name="connsiteY7" fmla="*/ 56388 h 483775"/>
                <a:gd name="connsiteX8" fmla="*/ 1127855 w 1333880"/>
                <a:gd name="connsiteY8" fmla="*/ 56388 h 483775"/>
                <a:gd name="connsiteX9" fmla="*/ 1104233 w 1333880"/>
                <a:gd name="connsiteY9" fmla="*/ 0 h 483775"/>
                <a:gd name="connsiteX10" fmla="*/ 1104328 w 1333880"/>
                <a:gd name="connsiteY10" fmla="*/ 0 h 483775"/>
                <a:gd name="connsiteX11" fmla="*/ 1333880 w 1333880"/>
                <a:gd name="connsiteY11" fmla="*/ 0 h 483775"/>
                <a:gd name="connsiteX12" fmla="*/ 1333880 w 1333880"/>
                <a:gd name="connsiteY12" fmla="*/ 403098 h 483775"/>
                <a:gd name="connsiteX13" fmla="*/ 1250727 w 1333880"/>
                <a:gd name="connsiteY13" fmla="*/ 483775 h 483775"/>
                <a:gd name="connsiteX14" fmla="*/ 1017841 w 1333880"/>
                <a:gd name="connsiteY14" fmla="*/ 483775 h 483775"/>
                <a:gd name="connsiteX15" fmla="*/ 1017841 w 1333880"/>
                <a:gd name="connsiteY15" fmla="*/ 424529 h 483775"/>
                <a:gd name="connsiteX16" fmla="*/ 1229105 w 1333880"/>
                <a:gd name="connsiteY16" fmla="*/ 424529 h 483775"/>
                <a:gd name="connsiteX17" fmla="*/ 1266539 w 1333880"/>
                <a:gd name="connsiteY17" fmla="*/ 384429 h 483775"/>
                <a:gd name="connsiteX18" fmla="*/ 1266539 w 1333880"/>
                <a:gd name="connsiteY18" fmla="*/ 370142 h 483775"/>
                <a:gd name="connsiteX19" fmla="*/ 1104423 w 1333880"/>
                <a:gd name="connsiteY19" fmla="*/ 370142 h 483775"/>
                <a:gd name="connsiteX20" fmla="*/ 1007173 w 1333880"/>
                <a:gd name="connsiteY20" fmla="*/ 350901 h 483775"/>
                <a:gd name="connsiteX21" fmla="*/ 970216 w 1333880"/>
                <a:gd name="connsiteY21" fmla="*/ 251079 h 483775"/>
                <a:gd name="connsiteX22" fmla="*/ 970216 w 1333880"/>
                <a:gd name="connsiteY22" fmla="*/ 117443 h 483775"/>
                <a:gd name="connsiteX23" fmla="*/ 1005077 w 1333880"/>
                <a:gd name="connsiteY23" fmla="*/ 22765 h 483775"/>
                <a:gd name="connsiteX24" fmla="*/ 1104233 w 1333880"/>
                <a:gd name="connsiteY24" fmla="*/ 0 h 483775"/>
                <a:gd name="connsiteX25" fmla="*/ 655033 w 1333880"/>
                <a:gd name="connsiteY25" fmla="*/ 0 h 483775"/>
                <a:gd name="connsiteX26" fmla="*/ 915923 w 1333880"/>
                <a:gd name="connsiteY26" fmla="*/ 0 h 483775"/>
                <a:gd name="connsiteX27" fmla="*/ 915923 w 1333880"/>
                <a:gd name="connsiteY27" fmla="*/ 56293 h 483775"/>
                <a:gd name="connsiteX28" fmla="*/ 678751 w 1333880"/>
                <a:gd name="connsiteY28" fmla="*/ 56293 h 483775"/>
                <a:gd name="connsiteX29" fmla="*/ 627411 w 1333880"/>
                <a:gd name="connsiteY29" fmla="*/ 103823 h 483775"/>
                <a:gd name="connsiteX30" fmla="*/ 671226 w 1333880"/>
                <a:gd name="connsiteY30" fmla="*/ 153162 h 483775"/>
                <a:gd name="connsiteX31" fmla="*/ 844867 w 1333880"/>
                <a:gd name="connsiteY31" fmla="*/ 153162 h 483775"/>
                <a:gd name="connsiteX32" fmla="*/ 928591 w 1333880"/>
                <a:gd name="connsiteY32" fmla="*/ 264986 h 483775"/>
                <a:gd name="connsiteX33" fmla="*/ 840581 w 1333880"/>
                <a:gd name="connsiteY33" fmla="*/ 369951 h 483775"/>
                <a:gd name="connsiteX34" fmla="*/ 566260 w 1333880"/>
                <a:gd name="connsiteY34" fmla="*/ 369951 h 483775"/>
                <a:gd name="connsiteX35" fmla="*/ 566260 w 1333880"/>
                <a:gd name="connsiteY35" fmla="*/ 313563 h 483775"/>
                <a:gd name="connsiteX36" fmla="*/ 812387 w 1333880"/>
                <a:gd name="connsiteY36" fmla="*/ 313563 h 483775"/>
                <a:gd name="connsiteX37" fmla="*/ 860393 w 1333880"/>
                <a:gd name="connsiteY37" fmla="*/ 264509 h 483775"/>
                <a:gd name="connsiteX38" fmla="*/ 811148 w 1333880"/>
                <a:gd name="connsiteY38" fmla="*/ 209455 h 483775"/>
                <a:gd name="connsiteX39" fmla="*/ 650366 w 1333880"/>
                <a:gd name="connsiteY39" fmla="*/ 209455 h 483775"/>
                <a:gd name="connsiteX40" fmla="*/ 559974 w 1333880"/>
                <a:gd name="connsiteY40" fmla="*/ 102680 h 483775"/>
                <a:gd name="connsiteX41" fmla="*/ 655033 w 1333880"/>
                <a:gd name="connsiteY41" fmla="*/ 0 h 483775"/>
                <a:gd name="connsiteX42" fmla="*/ 0 w 1333880"/>
                <a:gd name="connsiteY42" fmla="*/ 0 h 483775"/>
                <a:gd name="connsiteX43" fmla="*/ 426911 w 1333880"/>
                <a:gd name="connsiteY43" fmla="*/ 0 h 483775"/>
                <a:gd name="connsiteX44" fmla="*/ 519684 w 1333880"/>
                <a:gd name="connsiteY44" fmla="*/ 103632 h 483775"/>
                <a:gd name="connsiteX45" fmla="*/ 519684 w 1333880"/>
                <a:gd name="connsiteY45" fmla="*/ 370046 h 483775"/>
                <a:gd name="connsiteX46" fmla="*/ 452057 w 1333880"/>
                <a:gd name="connsiteY46" fmla="*/ 370046 h 483775"/>
                <a:gd name="connsiteX47" fmla="*/ 452057 w 1333880"/>
                <a:gd name="connsiteY47" fmla="*/ 122396 h 483775"/>
                <a:gd name="connsiteX48" fmla="*/ 392811 w 1333880"/>
                <a:gd name="connsiteY48" fmla="*/ 56293 h 483775"/>
                <a:gd name="connsiteX49" fmla="*/ 289941 w 1333880"/>
                <a:gd name="connsiteY49" fmla="*/ 56293 h 483775"/>
                <a:gd name="connsiteX50" fmla="*/ 289941 w 1333880"/>
                <a:gd name="connsiteY50" fmla="*/ 370046 h 483775"/>
                <a:gd name="connsiteX51" fmla="*/ 222218 w 1333880"/>
                <a:gd name="connsiteY51" fmla="*/ 370046 h 483775"/>
                <a:gd name="connsiteX52" fmla="*/ 222218 w 1333880"/>
                <a:gd name="connsiteY52" fmla="*/ 56293 h 483775"/>
                <a:gd name="connsiteX53" fmla="*/ 67532 w 1333880"/>
                <a:gd name="connsiteY53" fmla="*/ 56293 h 483775"/>
                <a:gd name="connsiteX54" fmla="*/ 67532 w 1333880"/>
                <a:gd name="connsiteY54" fmla="*/ 370046 h 483775"/>
                <a:gd name="connsiteX55" fmla="*/ 0 w 1333880"/>
                <a:gd name="connsiteY55" fmla="*/ 370046 h 48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33880" h="483775">
                  <a:moveTo>
                    <a:pt x="1127855" y="56388"/>
                  </a:moveTo>
                  <a:cubicBezTo>
                    <a:pt x="1058513" y="54769"/>
                    <a:pt x="1041654" y="70961"/>
                    <a:pt x="1039367" y="116396"/>
                  </a:cubicBezTo>
                  <a:cubicBezTo>
                    <a:pt x="1039082" y="121444"/>
                    <a:pt x="1039558" y="133160"/>
                    <a:pt x="1039367" y="182404"/>
                  </a:cubicBezTo>
                  <a:cubicBezTo>
                    <a:pt x="1039177" y="240411"/>
                    <a:pt x="1039367" y="260318"/>
                    <a:pt x="1039367" y="262604"/>
                  </a:cubicBezTo>
                  <a:cubicBezTo>
                    <a:pt x="1040415" y="316801"/>
                    <a:pt x="1082897" y="313944"/>
                    <a:pt x="1124807" y="313658"/>
                  </a:cubicBezTo>
                  <a:lnTo>
                    <a:pt x="1266539" y="313658"/>
                  </a:lnTo>
                  <a:lnTo>
                    <a:pt x="1266634" y="313754"/>
                  </a:lnTo>
                  <a:lnTo>
                    <a:pt x="1266634" y="56388"/>
                  </a:lnTo>
                  <a:cubicBezTo>
                    <a:pt x="1266634" y="56388"/>
                    <a:pt x="1131950" y="56483"/>
                    <a:pt x="1127855" y="56388"/>
                  </a:cubicBezTo>
                  <a:close/>
                  <a:moveTo>
                    <a:pt x="1104233" y="0"/>
                  </a:moveTo>
                  <a:lnTo>
                    <a:pt x="1104328" y="0"/>
                  </a:lnTo>
                  <a:lnTo>
                    <a:pt x="1333880" y="0"/>
                  </a:lnTo>
                  <a:lnTo>
                    <a:pt x="1333880" y="403098"/>
                  </a:lnTo>
                  <a:cubicBezTo>
                    <a:pt x="1333880" y="455867"/>
                    <a:pt x="1313497" y="483775"/>
                    <a:pt x="1250727" y="483775"/>
                  </a:cubicBezTo>
                  <a:lnTo>
                    <a:pt x="1017841" y="483775"/>
                  </a:lnTo>
                  <a:lnTo>
                    <a:pt x="1017841" y="424529"/>
                  </a:lnTo>
                  <a:lnTo>
                    <a:pt x="1229105" y="424529"/>
                  </a:lnTo>
                  <a:cubicBezTo>
                    <a:pt x="1261109" y="424529"/>
                    <a:pt x="1266539" y="412337"/>
                    <a:pt x="1266539" y="384429"/>
                  </a:cubicBezTo>
                  <a:cubicBezTo>
                    <a:pt x="1266539" y="381476"/>
                    <a:pt x="1266539" y="370142"/>
                    <a:pt x="1266539" y="370142"/>
                  </a:cubicBezTo>
                  <a:lnTo>
                    <a:pt x="1104423" y="370142"/>
                  </a:lnTo>
                  <a:cubicBezTo>
                    <a:pt x="1040511" y="370142"/>
                    <a:pt x="1019746" y="359855"/>
                    <a:pt x="1007173" y="350901"/>
                  </a:cubicBezTo>
                  <a:cubicBezTo>
                    <a:pt x="988504" y="335185"/>
                    <a:pt x="970216" y="316801"/>
                    <a:pt x="970216" y="251079"/>
                  </a:cubicBezTo>
                  <a:lnTo>
                    <a:pt x="970216" y="117443"/>
                  </a:lnTo>
                  <a:cubicBezTo>
                    <a:pt x="970502" y="55340"/>
                    <a:pt x="987075" y="37148"/>
                    <a:pt x="1005077" y="22765"/>
                  </a:cubicBezTo>
                  <a:cubicBezTo>
                    <a:pt x="1021556" y="9620"/>
                    <a:pt x="1044035" y="0"/>
                    <a:pt x="1104233" y="0"/>
                  </a:cubicBezTo>
                  <a:close/>
                  <a:moveTo>
                    <a:pt x="655033" y="0"/>
                  </a:moveTo>
                  <a:lnTo>
                    <a:pt x="915923" y="0"/>
                  </a:lnTo>
                  <a:lnTo>
                    <a:pt x="915923" y="56293"/>
                  </a:lnTo>
                  <a:lnTo>
                    <a:pt x="678751" y="56293"/>
                  </a:lnTo>
                  <a:cubicBezTo>
                    <a:pt x="631793" y="56293"/>
                    <a:pt x="627411" y="88392"/>
                    <a:pt x="627411" y="103823"/>
                  </a:cubicBezTo>
                  <a:cubicBezTo>
                    <a:pt x="627411" y="123539"/>
                    <a:pt x="627411" y="153162"/>
                    <a:pt x="671226" y="153162"/>
                  </a:cubicBezTo>
                  <a:lnTo>
                    <a:pt x="844867" y="153162"/>
                  </a:lnTo>
                  <a:cubicBezTo>
                    <a:pt x="903350" y="153162"/>
                    <a:pt x="928591" y="187738"/>
                    <a:pt x="928591" y="264986"/>
                  </a:cubicBezTo>
                  <a:cubicBezTo>
                    <a:pt x="928591" y="329756"/>
                    <a:pt x="908970" y="369951"/>
                    <a:pt x="840581" y="369951"/>
                  </a:cubicBezTo>
                  <a:lnTo>
                    <a:pt x="566260" y="369951"/>
                  </a:lnTo>
                  <a:lnTo>
                    <a:pt x="566260" y="313563"/>
                  </a:lnTo>
                  <a:lnTo>
                    <a:pt x="812387" y="313563"/>
                  </a:lnTo>
                  <a:cubicBezTo>
                    <a:pt x="860393" y="313563"/>
                    <a:pt x="860393" y="280511"/>
                    <a:pt x="860393" y="264509"/>
                  </a:cubicBezTo>
                  <a:cubicBezTo>
                    <a:pt x="860393" y="247269"/>
                    <a:pt x="860393" y="209455"/>
                    <a:pt x="811148" y="209455"/>
                  </a:cubicBezTo>
                  <a:lnTo>
                    <a:pt x="650366" y="209455"/>
                  </a:lnTo>
                  <a:cubicBezTo>
                    <a:pt x="584072" y="209455"/>
                    <a:pt x="559974" y="160592"/>
                    <a:pt x="559974" y="102680"/>
                  </a:cubicBezTo>
                  <a:cubicBezTo>
                    <a:pt x="559974" y="48482"/>
                    <a:pt x="582072" y="0"/>
                    <a:pt x="655033" y="0"/>
                  </a:cubicBezTo>
                  <a:close/>
                  <a:moveTo>
                    <a:pt x="0" y="0"/>
                  </a:moveTo>
                  <a:lnTo>
                    <a:pt x="426911" y="0"/>
                  </a:lnTo>
                  <a:cubicBezTo>
                    <a:pt x="493776" y="0"/>
                    <a:pt x="519779" y="53245"/>
                    <a:pt x="519684" y="103632"/>
                  </a:cubicBezTo>
                  <a:lnTo>
                    <a:pt x="519684" y="370046"/>
                  </a:lnTo>
                  <a:lnTo>
                    <a:pt x="452057" y="370046"/>
                  </a:lnTo>
                  <a:lnTo>
                    <a:pt x="452057" y="122396"/>
                  </a:lnTo>
                  <a:cubicBezTo>
                    <a:pt x="452057" y="77153"/>
                    <a:pt x="427577" y="56293"/>
                    <a:pt x="392811" y="56293"/>
                  </a:cubicBezTo>
                  <a:lnTo>
                    <a:pt x="289941" y="56293"/>
                  </a:lnTo>
                  <a:lnTo>
                    <a:pt x="289941" y="370046"/>
                  </a:lnTo>
                  <a:lnTo>
                    <a:pt x="222218" y="370046"/>
                  </a:lnTo>
                  <a:lnTo>
                    <a:pt x="222218" y="56293"/>
                  </a:lnTo>
                  <a:lnTo>
                    <a:pt x="67532" y="56293"/>
                  </a:lnTo>
                  <a:lnTo>
                    <a:pt x="67532" y="370046"/>
                  </a:lnTo>
                  <a:lnTo>
                    <a:pt x="0" y="370046"/>
                  </a:lnTo>
                  <a:close/>
                </a:path>
              </a:pathLst>
            </a:custGeom>
            <a:solidFill>
              <a:schemeClr val="tx2"/>
            </a:solidFill>
            <a:ln w="9525" cap="flat">
              <a:noFill/>
              <a:prstDash val="solid"/>
              <a:miter/>
            </a:ln>
          </p:spPr>
          <p:txBody>
            <a:bodyPr rtlCol="0" anchor="ctr"/>
            <a:lstStyle/>
            <a:p>
              <a:endParaRPr lang="de-DE">
                <a:latin typeface="Carnac Light" panose="02000503000000020004" pitchFamily="2" charset="77"/>
              </a:endParaRPr>
            </a:p>
          </p:txBody>
        </p:sp>
      </p:grpSp>
      <p:grpSp>
        <p:nvGrpSpPr>
          <p:cNvPr id="120" name="Gruppieren 119">
            <a:extLst>
              <a:ext uri="{FF2B5EF4-FFF2-40B4-BE49-F238E27FC236}">
                <a16:creationId xmlns:a16="http://schemas.microsoft.com/office/drawing/2014/main" id="{4C92181B-04CE-084C-B7E6-66C9747E11FF}"/>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21" name="Gerader Verbinder 120">
              <a:extLst>
                <a:ext uri="{FF2B5EF4-FFF2-40B4-BE49-F238E27FC236}">
                  <a16:creationId xmlns:a16="http://schemas.microsoft.com/office/drawing/2014/main" id="{74322542-8848-91A3-2CC1-B49F2A1C64C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B4A02903-A4EC-4DBC-1A88-BA0045DE290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3" name="Gerader Verbinder 122">
              <a:extLst>
                <a:ext uri="{FF2B5EF4-FFF2-40B4-BE49-F238E27FC236}">
                  <a16:creationId xmlns:a16="http://schemas.microsoft.com/office/drawing/2014/main" id="{6147429D-CE2D-FAC7-AC90-1D18B481895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4" name="Gerader Verbinder 123">
              <a:extLst>
                <a:ext uri="{FF2B5EF4-FFF2-40B4-BE49-F238E27FC236}">
                  <a16:creationId xmlns:a16="http://schemas.microsoft.com/office/drawing/2014/main" id="{1FC67ADE-19D3-3847-E500-5F273F458B5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id="{0F8BAEAD-A9E8-3D9D-9135-87183F75ECA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6" name="Gerader Verbinder 125">
              <a:extLst>
                <a:ext uri="{FF2B5EF4-FFF2-40B4-BE49-F238E27FC236}">
                  <a16:creationId xmlns:a16="http://schemas.microsoft.com/office/drawing/2014/main" id="{D8988380-95F6-6010-BA59-76C89F69FE3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8E3ACD83-FC57-BA76-02B4-80C0805AC05C}"/>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28" name="Gruppieren 127">
            <a:extLst>
              <a:ext uri="{FF2B5EF4-FFF2-40B4-BE49-F238E27FC236}">
                <a16:creationId xmlns:a16="http://schemas.microsoft.com/office/drawing/2014/main" id="{9D0271DE-B45F-E85C-E6B5-C65E75C53AF9}"/>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29" name="Gerader Verbinder 128">
              <a:extLst>
                <a:ext uri="{FF2B5EF4-FFF2-40B4-BE49-F238E27FC236}">
                  <a16:creationId xmlns:a16="http://schemas.microsoft.com/office/drawing/2014/main" id="{7FCF6D2C-0495-5977-2523-73C276F6CF7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D4434A06-31AC-9B63-5BC1-BAB9B7E2EE6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1" name="Gerader Verbinder 130">
              <a:extLst>
                <a:ext uri="{FF2B5EF4-FFF2-40B4-BE49-F238E27FC236}">
                  <a16:creationId xmlns:a16="http://schemas.microsoft.com/office/drawing/2014/main" id="{F6EC6CFA-74E2-30F7-39FC-5B9B1ADD5A0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2" name="Gerader Verbinder 131">
              <a:extLst>
                <a:ext uri="{FF2B5EF4-FFF2-40B4-BE49-F238E27FC236}">
                  <a16:creationId xmlns:a16="http://schemas.microsoft.com/office/drawing/2014/main" id="{C3E47CFD-4B65-07C1-9B1C-A0CFFD00266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3" name="Gerader Verbinder 132">
              <a:extLst>
                <a:ext uri="{FF2B5EF4-FFF2-40B4-BE49-F238E27FC236}">
                  <a16:creationId xmlns:a16="http://schemas.microsoft.com/office/drawing/2014/main" id="{ABE64895-180E-8835-CAAA-43AE1592414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4" name="Gerader Verbinder 133">
              <a:extLst>
                <a:ext uri="{FF2B5EF4-FFF2-40B4-BE49-F238E27FC236}">
                  <a16:creationId xmlns:a16="http://schemas.microsoft.com/office/drawing/2014/main" id="{706A53F2-270B-CBD8-EBEF-8511551A4E9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5" name="Gerader Verbinder 134">
              <a:extLst>
                <a:ext uri="{FF2B5EF4-FFF2-40B4-BE49-F238E27FC236}">
                  <a16:creationId xmlns:a16="http://schemas.microsoft.com/office/drawing/2014/main" id="{CBB7E1F7-F26E-C672-836B-E0BB50AA87F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0147924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69874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Titel 19">
            <a:extLst>
              <a:ext uri="{FF2B5EF4-FFF2-40B4-BE49-F238E27FC236}">
                <a16:creationId xmlns:a16="http://schemas.microsoft.com/office/drawing/2014/main" id="{92B86D02-4286-2F83-9BEC-EF0BA6257A9A}"/>
              </a:ext>
            </a:extLst>
          </p:cNvPr>
          <p:cNvSpPr>
            <a:spLocks noGrp="1"/>
          </p:cNvSpPr>
          <p:nvPr>
            <p:ph type="title"/>
          </p:nvPr>
        </p:nvSpPr>
        <p:spPr bwMode="gray"/>
        <p:txBody>
          <a:bodyPr vert="horz"/>
          <a:lstStyle>
            <a:lvl1pPr>
              <a:defRPr>
                <a:solidFill>
                  <a:schemeClr val="tx1"/>
                </a:solidFill>
              </a:defRPr>
            </a:lvl1pPr>
          </a:lstStyle>
          <a:p>
            <a:r>
              <a:rPr lang="de-DE"/>
              <a:t>Mastertitelformat bearbeiten</a:t>
            </a:r>
          </a:p>
        </p:txBody>
      </p:sp>
      <p:sp>
        <p:nvSpPr>
          <p:cNvPr id="27" name="Textplatzhalter 26">
            <a:extLst>
              <a:ext uri="{FF2B5EF4-FFF2-40B4-BE49-F238E27FC236}">
                <a16:creationId xmlns:a16="http://schemas.microsoft.com/office/drawing/2014/main" id="{33F22782-CA28-1742-8EAF-1EBC495151D6}"/>
              </a:ext>
            </a:extLst>
          </p:cNvPr>
          <p:cNvSpPr>
            <a:spLocks noGrp="1"/>
          </p:cNvSpPr>
          <p:nvPr>
            <p:ph type="body" sz="quarter" idx="27" hasCustomPrompt="1"/>
          </p:nvPr>
        </p:nvSpPr>
        <p:spPr bwMode="gray">
          <a:xfrm>
            <a:off x="623888" y="17732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1</a:t>
            </a:r>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1271909" y="18661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1" name="Textplatzhalter 30">
            <a:extLst>
              <a:ext uri="{FF2B5EF4-FFF2-40B4-BE49-F238E27FC236}">
                <a16:creationId xmlns:a16="http://schemas.microsoft.com/office/drawing/2014/main" id="{A225E70E-1E64-2A5E-A79A-21A1610298BC}"/>
              </a:ext>
            </a:extLst>
          </p:cNvPr>
          <p:cNvSpPr>
            <a:spLocks noGrp="1"/>
          </p:cNvSpPr>
          <p:nvPr>
            <p:ph type="body" sz="quarter" idx="28" hasCustomPrompt="1"/>
          </p:nvPr>
        </p:nvSpPr>
        <p:spPr bwMode="gray">
          <a:xfrm>
            <a:off x="623888" y="24220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2</a:t>
            </a:r>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1271909" y="25149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3" name="Textplatzhalter 32">
            <a:extLst>
              <a:ext uri="{FF2B5EF4-FFF2-40B4-BE49-F238E27FC236}">
                <a16:creationId xmlns:a16="http://schemas.microsoft.com/office/drawing/2014/main" id="{C1949DC9-940C-2885-92DC-0C5C3D1ADEEF}"/>
              </a:ext>
            </a:extLst>
          </p:cNvPr>
          <p:cNvSpPr>
            <a:spLocks noGrp="1"/>
          </p:cNvSpPr>
          <p:nvPr>
            <p:ph type="body" sz="quarter" idx="29" hasCustomPrompt="1"/>
          </p:nvPr>
        </p:nvSpPr>
        <p:spPr bwMode="gray">
          <a:xfrm>
            <a:off x="623888" y="30709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3</a:t>
            </a:r>
          </a:p>
        </p:txBody>
      </p:sp>
      <p:sp>
        <p:nvSpPr>
          <p:cNvPr id="44" name="Textplatzhalter 43">
            <a:extLst>
              <a:ext uri="{FF2B5EF4-FFF2-40B4-BE49-F238E27FC236}">
                <a16:creationId xmlns:a16="http://schemas.microsoft.com/office/drawing/2014/main" id="{9F56ED74-2FA8-BCC2-B137-E35B01E4CD6A}"/>
              </a:ext>
            </a:extLst>
          </p:cNvPr>
          <p:cNvSpPr>
            <a:spLocks noGrp="1"/>
          </p:cNvSpPr>
          <p:nvPr>
            <p:ph type="body" sz="quarter" idx="22"/>
          </p:nvPr>
        </p:nvSpPr>
        <p:spPr bwMode="gray">
          <a:xfrm>
            <a:off x="1271909" y="31638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7" name="Textplatzhalter 36">
            <a:extLst>
              <a:ext uri="{FF2B5EF4-FFF2-40B4-BE49-F238E27FC236}">
                <a16:creationId xmlns:a16="http://schemas.microsoft.com/office/drawing/2014/main" id="{0E65178D-48CF-FC56-3256-73C39666EC03}"/>
              </a:ext>
            </a:extLst>
          </p:cNvPr>
          <p:cNvSpPr>
            <a:spLocks noGrp="1"/>
          </p:cNvSpPr>
          <p:nvPr>
            <p:ph type="body" sz="quarter" idx="31" hasCustomPrompt="1"/>
          </p:nvPr>
        </p:nvSpPr>
        <p:spPr bwMode="gray">
          <a:xfrm>
            <a:off x="623888" y="37197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4</a:t>
            </a:r>
          </a:p>
        </p:txBody>
      </p:sp>
      <p:sp>
        <p:nvSpPr>
          <p:cNvPr id="46" name="Textplatzhalter 45">
            <a:extLst>
              <a:ext uri="{FF2B5EF4-FFF2-40B4-BE49-F238E27FC236}">
                <a16:creationId xmlns:a16="http://schemas.microsoft.com/office/drawing/2014/main" id="{3B5F6881-B4A7-C6CF-7F85-125FFCEA1F14}"/>
              </a:ext>
            </a:extLst>
          </p:cNvPr>
          <p:cNvSpPr>
            <a:spLocks noGrp="1"/>
          </p:cNvSpPr>
          <p:nvPr>
            <p:ph type="body" sz="quarter" idx="23"/>
          </p:nvPr>
        </p:nvSpPr>
        <p:spPr bwMode="gray">
          <a:xfrm>
            <a:off x="1271909" y="38126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9" name="Textplatzhalter 38">
            <a:extLst>
              <a:ext uri="{FF2B5EF4-FFF2-40B4-BE49-F238E27FC236}">
                <a16:creationId xmlns:a16="http://schemas.microsoft.com/office/drawing/2014/main" id="{62234AEC-7777-A22A-092F-C4A3650E5390}"/>
              </a:ext>
            </a:extLst>
          </p:cNvPr>
          <p:cNvSpPr>
            <a:spLocks noGrp="1"/>
          </p:cNvSpPr>
          <p:nvPr>
            <p:ph type="body" sz="quarter" idx="32" hasCustomPrompt="1"/>
          </p:nvPr>
        </p:nvSpPr>
        <p:spPr bwMode="gray">
          <a:xfrm>
            <a:off x="623888" y="43686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5</a:t>
            </a:r>
          </a:p>
        </p:txBody>
      </p:sp>
      <p:sp>
        <p:nvSpPr>
          <p:cNvPr id="48" name="Textplatzhalter 47">
            <a:extLst>
              <a:ext uri="{FF2B5EF4-FFF2-40B4-BE49-F238E27FC236}">
                <a16:creationId xmlns:a16="http://schemas.microsoft.com/office/drawing/2014/main" id="{FB66BA4C-7DC0-AC8B-2142-7292266FAAD3}"/>
              </a:ext>
            </a:extLst>
          </p:cNvPr>
          <p:cNvSpPr>
            <a:spLocks noGrp="1"/>
          </p:cNvSpPr>
          <p:nvPr>
            <p:ph type="body" sz="quarter" idx="24"/>
          </p:nvPr>
        </p:nvSpPr>
        <p:spPr bwMode="gray">
          <a:xfrm>
            <a:off x="1271909" y="44615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43" name="Textplatzhalter 42">
            <a:extLst>
              <a:ext uri="{FF2B5EF4-FFF2-40B4-BE49-F238E27FC236}">
                <a16:creationId xmlns:a16="http://schemas.microsoft.com/office/drawing/2014/main" id="{44A2CAD4-A83B-461A-EFD4-C7D92EEC3F28}"/>
              </a:ext>
            </a:extLst>
          </p:cNvPr>
          <p:cNvSpPr>
            <a:spLocks noGrp="1"/>
          </p:cNvSpPr>
          <p:nvPr>
            <p:ph type="body" sz="quarter" idx="33" hasCustomPrompt="1"/>
          </p:nvPr>
        </p:nvSpPr>
        <p:spPr bwMode="gray">
          <a:xfrm>
            <a:off x="623888" y="50174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6</a:t>
            </a:r>
          </a:p>
        </p:txBody>
      </p:sp>
      <p:sp>
        <p:nvSpPr>
          <p:cNvPr id="50" name="Textplatzhalter 49">
            <a:extLst>
              <a:ext uri="{FF2B5EF4-FFF2-40B4-BE49-F238E27FC236}">
                <a16:creationId xmlns:a16="http://schemas.microsoft.com/office/drawing/2014/main" id="{5B367049-C360-CF5F-A663-C8CA4DAAAF7C}"/>
              </a:ext>
            </a:extLst>
          </p:cNvPr>
          <p:cNvSpPr>
            <a:spLocks noGrp="1"/>
          </p:cNvSpPr>
          <p:nvPr>
            <p:ph type="body" sz="quarter" idx="25"/>
          </p:nvPr>
        </p:nvSpPr>
        <p:spPr bwMode="gray">
          <a:xfrm>
            <a:off x="1271909" y="51103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47" name="Textplatzhalter 46">
            <a:extLst>
              <a:ext uri="{FF2B5EF4-FFF2-40B4-BE49-F238E27FC236}">
                <a16:creationId xmlns:a16="http://schemas.microsoft.com/office/drawing/2014/main" id="{2A886A2A-1D31-F168-8628-AC4D79D0A91D}"/>
              </a:ext>
            </a:extLst>
          </p:cNvPr>
          <p:cNvSpPr>
            <a:spLocks noGrp="1"/>
          </p:cNvSpPr>
          <p:nvPr>
            <p:ph type="body" sz="quarter" idx="34" hasCustomPrompt="1"/>
          </p:nvPr>
        </p:nvSpPr>
        <p:spPr bwMode="gray">
          <a:xfrm>
            <a:off x="623888" y="5666336"/>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7</a:t>
            </a:r>
          </a:p>
        </p:txBody>
      </p:sp>
      <p:sp>
        <p:nvSpPr>
          <p:cNvPr id="52" name="Textplatzhalter 51">
            <a:extLst>
              <a:ext uri="{FF2B5EF4-FFF2-40B4-BE49-F238E27FC236}">
                <a16:creationId xmlns:a16="http://schemas.microsoft.com/office/drawing/2014/main" id="{84B8B000-804A-CCD9-B993-C2AF922F74FD}"/>
              </a:ext>
            </a:extLst>
          </p:cNvPr>
          <p:cNvSpPr>
            <a:spLocks noGrp="1"/>
          </p:cNvSpPr>
          <p:nvPr>
            <p:ph type="body" sz="quarter" idx="26"/>
          </p:nvPr>
        </p:nvSpPr>
        <p:spPr bwMode="gray">
          <a:xfrm>
            <a:off x="1271909" y="5759226"/>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9" name="Fußzeilenplatzhalter 8">
            <a:extLst>
              <a:ext uri="{FF2B5EF4-FFF2-40B4-BE49-F238E27FC236}">
                <a16:creationId xmlns:a16="http://schemas.microsoft.com/office/drawing/2014/main" id="{D03EB9C7-5B0D-40C1-4C1E-90D2B3B10616}"/>
              </a:ext>
              <a:ext uri="{C183D7F6-B498-43B3-948B-1728B52AA6E4}">
                <adec:decorative xmlns:adec="http://schemas.microsoft.com/office/drawing/2017/decorative" val="0"/>
              </a:ext>
            </a:extLst>
          </p:cNvPr>
          <p:cNvSpPr>
            <a:spLocks noGrp="1"/>
          </p:cNvSpPr>
          <p:nvPr>
            <p:ph type="ftr" sz="quarter" idx="10"/>
          </p:nvPr>
        </p:nvSpPr>
        <p:spPr bwMode="gray"/>
        <p:txBody>
          <a:bodyPr>
            <a:noAutofit/>
          </a:bodyPr>
          <a:lstStyle>
            <a:lvl1pPr rtl="0">
              <a:defRPr>
                <a:solidFill>
                  <a:schemeClr val="tx1"/>
                </a:solidFill>
              </a:defRPr>
            </a:lvl1pPr>
          </a:lstStyle>
          <a:p>
            <a:r>
              <a:rPr lang="de-DE"/>
              <a:t>© msg systems ag | 2026 | msg-Unternehmenspräsentation</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7746077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apite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352678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3" name="Bildplatzhalter" descr="Bild füllt 2/3 der Seite aus, links Kapitelnummer, Titel und Untertitel, Bild ist änderbar.">
            <a:extLst>
              <a:ext uri="{FF2B5EF4-FFF2-40B4-BE49-F238E27FC236}">
                <a16:creationId xmlns:a16="http://schemas.microsoft.com/office/drawing/2014/main" id="{20932346-D43C-7963-3AAA-F4F931121B5B}"/>
              </a:ext>
              <a:ext uri="{C183D7F6-B498-43B3-948B-1728B52AA6E4}">
                <adec:decorative xmlns:adec="http://schemas.microsoft.com/office/drawing/2017/decorative" val="0"/>
              </a:ext>
            </a:extLst>
          </p:cNvPr>
          <p:cNvSpPr>
            <a:spLocks noGrp="1"/>
          </p:cNvSpPr>
          <p:nvPr>
            <p:ph type="pic" sz="quarter" idx="13"/>
          </p:nvPr>
        </p:nvSpPr>
        <p:spPr bwMode="gray">
          <a:xfrm>
            <a:off x="4728306" y="0"/>
            <a:ext cx="7463692" cy="6858000"/>
          </a:xfrm>
          <a:custGeom>
            <a:avLst/>
            <a:gdLst>
              <a:gd name="connsiteX0" fmla="*/ 6036214 w 7463692"/>
              <a:gd name="connsiteY0" fmla="*/ 454511 h 6858000"/>
              <a:gd name="connsiteX1" fmla="*/ 5976214 w 7463692"/>
              <a:gd name="connsiteY1" fmla="*/ 514511 h 6858000"/>
              <a:gd name="connsiteX2" fmla="*/ 6036214 w 7463692"/>
              <a:gd name="connsiteY2" fmla="*/ 574511 h 6858000"/>
              <a:gd name="connsiteX3" fmla="*/ 6096214 w 7463692"/>
              <a:gd name="connsiteY3" fmla="*/ 514511 h 6858000"/>
              <a:gd name="connsiteX4" fmla="*/ 6036214 w 7463692"/>
              <a:gd name="connsiteY4" fmla="*/ 454511 h 6858000"/>
              <a:gd name="connsiteX5" fmla="*/ 6975273 w 7463692"/>
              <a:gd name="connsiteY5" fmla="*/ 338982 h 6858000"/>
              <a:gd name="connsiteX6" fmla="*/ 7078802 w 7463692"/>
              <a:gd name="connsiteY6" fmla="*/ 338982 h 6858000"/>
              <a:gd name="connsiteX7" fmla="*/ 7078802 w 7463692"/>
              <a:gd name="connsiteY7" fmla="*/ 530746 h 6858000"/>
              <a:gd name="connsiteX8" fmla="*/ 6973155 w 7463692"/>
              <a:gd name="connsiteY8" fmla="*/ 530746 h 6858000"/>
              <a:gd name="connsiteX9" fmla="*/ 6909390 w 7463692"/>
              <a:gd name="connsiteY9" fmla="*/ 492629 h 6858000"/>
              <a:gd name="connsiteX10" fmla="*/ 6909390 w 7463692"/>
              <a:gd name="connsiteY10" fmla="*/ 432864 h 6858000"/>
              <a:gd name="connsiteX11" fmla="*/ 6909390 w 7463692"/>
              <a:gd name="connsiteY11" fmla="*/ 383688 h 6858000"/>
              <a:gd name="connsiteX12" fmla="*/ 6975273 w 7463692"/>
              <a:gd name="connsiteY12" fmla="*/ 338982 h 6858000"/>
              <a:gd name="connsiteX13" fmla="*/ 6957861 w 7463692"/>
              <a:gd name="connsiteY13" fmla="*/ 296864 h 6858000"/>
              <a:gd name="connsiteX14" fmla="*/ 6883978 w 7463692"/>
              <a:gd name="connsiteY14" fmla="*/ 313805 h 6858000"/>
              <a:gd name="connsiteX15" fmla="*/ 6858096 w 7463692"/>
              <a:gd name="connsiteY15" fmla="*/ 384393 h 6858000"/>
              <a:gd name="connsiteX16" fmla="*/ 6858096 w 7463692"/>
              <a:gd name="connsiteY16" fmla="*/ 483923 h 6858000"/>
              <a:gd name="connsiteX17" fmla="*/ 6885625 w 7463692"/>
              <a:gd name="connsiteY17" fmla="*/ 558276 h 6858000"/>
              <a:gd name="connsiteX18" fmla="*/ 6958096 w 7463692"/>
              <a:gd name="connsiteY18" fmla="*/ 572629 h 6858000"/>
              <a:gd name="connsiteX19" fmla="*/ 7078802 w 7463692"/>
              <a:gd name="connsiteY19" fmla="*/ 572629 h 6858000"/>
              <a:gd name="connsiteX20" fmla="*/ 7078802 w 7463692"/>
              <a:gd name="connsiteY20" fmla="*/ 583217 h 6858000"/>
              <a:gd name="connsiteX21" fmla="*/ 7050802 w 7463692"/>
              <a:gd name="connsiteY21" fmla="*/ 613099 h 6858000"/>
              <a:gd name="connsiteX22" fmla="*/ 6893390 w 7463692"/>
              <a:gd name="connsiteY22" fmla="*/ 613099 h 6858000"/>
              <a:gd name="connsiteX23" fmla="*/ 6893390 w 7463692"/>
              <a:gd name="connsiteY23" fmla="*/ 657335 h 6858000"/>
              <a:gd name="connsiteX24" fmla="*/ 7067037 w 7463692"/>
              <a:gd name="connsiteY24" fmla="*/ 657335 h 6858000"/>
              <a:gd name="connsiteX25" fmla="*/ 7128920 w 7463692"/>
              <a:gd name="connsiteY25" fmla="*/ 597099 h 6858000"/>
              <a:gd name="connsiteX26" fmla="*/ 7128920 w 7463692"/>
              <a:gd name="connsiteY26" fmla="*/ 296864 h 6858000"/>
              <a:gd name="connsiteX27" fmla="*/ 6623273 w 7463692"/>
              <a:gd name="connsiteY27" fmla="*/ 296864 h 6858000"/>
              <a:gd name="connsiteX28" fmla="*/ 6552449 w 7463692"/>
              <a:gd name="connsiteY28" fmla="*/ 373335 h 6858000"/>
              <a:gd name="connsiteX29" fmla="*/ 6619743 w 7463692"/>
              <a:gd name="connsiteY29" fmla="*/ 452864 h 6858000"/>
              <a:gd name="connsiteX30" fmla="*/ 6739508 w 7463692"/>
              <a:gd name="connsiteY30" fmla="*/ 452864 h 6858000"/>
              <a:gd name="connsiteX31" fmla="*/ 6776214 w 7463692"/>
              <a:gd name="connsiteY31" fmla="*/ 494040 h 6858000"/>
              <a:gd name="connsiteX32" fmla="*/ 6740449 w 7463692"/>
              <a:gd name="connsiteY32" fmla="*/ 530746 h 6858000"/>
              <a:gd name="connsiteX33" fmla="*/ 6557155 w 7463692"/>
              <a:gd name="connsiteY33" fmla="*/ 530746 h 6858000"/>
              <a:gd name="connsiteX34" fmla="*/ 6557155 w 7463692"/>
              <a:gd name="connsiteY34" fmla="*/ 572864 h 6858000"/>
              <a:gd name="connsiteX35" fmla="*/ 6761626 w 7463692"/>
              <a:gd name="connsiteY35" fmla="*/ 572864 h 6858000"/>
              <a:gd name="connsiteX36" fmla="*/ 6827273 w 7463692"/>
              <a:gd name="connsiteY36" fmla="*/ 494511 h 6858000"/>
              <a:gd name="connsiteX37" fmla="*/ 6764920 w 7463692"/>
              <a:gd name="connsiteY37" fmla="*/ 411217 h 6858000"/>
              <a:gd name="connsiteX38" fmla="*/ 6635508 w 7463692"/>
              <a:gd name="connsiteY38" fmla="*/ 411217 h 6858000"/>
              <a:gd name="connsiteX39" fmla="*/ 6602802 w 7463692"/>
              <a:gd name="connsiteY39" fmla="*/ 374511 h 6858000"/>
              <a:gd name="connsiteX40" fmla="*/ 6640920 w 7463692"/>
              <a:gd name="connsiteY40" fmla="*/ 338982 h 6858000"/>
              <a:gd name="connsiteX41" fmla="*/ 6817626 w 7463692"/>
              <a:gd name="connsiteY41" fmla="*/ 338982 h 6858000"/>
              <a:gd name="connsiteX42" fmla="*/ 6817626 w 7463692"/>
              <a:gd name="connsiteY42" fmla="*/ 297099 h 6858000"/>
              <a:gd name="connsiteX43" fmla="*/ 6135037 w 7463692"/>
              <a:gd name="connsiteY43" fmla="*/ 296864 h 6858000"/>
              <a:gd name="connsiteX44" fmla="*/ 6135037 w 7463692"/>
              <a:gd name="connsiteY44" fmla="*/ 572629 h 6858000"/>
              <a:gd name="connsiteX45" fmla="*/ 6185390 w 7463692"/>
              <a:gd name="connsiteY45" fmla="*/ 572629 h 6858000"/>
              <a:gd name="connsiteX46" fmla="*/ 6185390 w 7463692"/>
              <a:gd name="connsiteY46" fmla="*/ 338746 h 6858000"/>
              <a:gd name="connsiteX47" fmla="*/ 6300684 w 7463692"/>
              <a:gd name="connsiteY47" fmla="*/ 338746 h 6858000"/>
              <a:gd name="connsiteX48" fmla="*/ 6300684 w 7463692"/>
              <a:gd name="connsiteY48" fmla="*/ 572629 h 6858000"/>
              <a:gd name="connsiteX49" fmla="*/ 6351272 w 7463692"/>
              <a:gd name="connsiteY49" fmla="*/ 572629 h 6858000"/>
              <a:gd name="connsiteX50" fmla="*/ 6351272 w 7463692"/>
              <a:gd name="connsiteY50" fmla="*/ 338746 h 6858000"/>
              <a:gd name="connsiteX51" fmla="*/ 6427978 w 7463692"/>
              <a:gd name="connsiteY51" fmla="*/ 338746 h 6858000"/>
              <a:gd name="connsiteX52" fmla="*/ 6472214 w 7463692"/>
              <a:gd name="connsiteY52" fmla="*/ 387923 h 6858000"/>
              <a:gd name="connsiteX53" fmla="*/ 6472214 w 7463692"/>
              <a:gd name="connsiteY53" fmla="*/ 572629 h 6858000"/>
              <a:gd name="connsiteX54" fmla="*/ 6522567 w 7463692"/>
              <a:gd name="connsiteY54" fmla="*/ 572629 h 6858000"/>
              <a:gd name="connsiteX55" fmla="*/ 6522567 w 7463692"/>
              <a:gd name="connsiteY55" fmla="*/ 374040 h 6858000"/>
              <a:gd name="connsiteX56" fmla="*/ 6453390 w 7463692"/>
              <a:gd name="connsiteY56" fmla="*/ 296864 h 6858000"/>
              <a:gd name="connsiteX57" fmla="*/ 0 w 7463692"/>
              <a:gd name="connsiteY57" fmla="*/ 0 h 6858000"/>
              <a:gd name="connsiteX58" fmla="*/ 72289 w 7463692"/>
              <a:gd name="connsiteY58" fmla="*/ 0 h 6858000"/>
              <a:gd name="connsiteX59" fmla="*/ 2753286 w 7463692"/>
              <a:gd name="connsiteY59" fmla="*/ 0 h 6858000"/>
              <a:gd name="connsiteX60" fmla="*/ 7463692 w 7463692"/>
              <a:gd name="connsiteY60" fmla="*/ 0 h 6858000"/>
              <a:gd name="connsiteX61" fmla="*/ 7463692 w 7463692"/>
              <a:gd name="connsiteY61" fmla="*/ 6858000 h 6858000"/>
              <a:gd name="connsiteX62" fmla="*/ 2753286 w 7463692"/>
              <a:gd name="connsiteY62" fmla="*/ 6858000 h 6858000"/>
              <a:gd name="connsiteX63" fmla="*/ 427029 w 7463692"/>
              <a:gd name="connsiteY63" fmla="*/ 6858000 h 6858000"/>
              <a:gd name="connsiteX64" fmla="*/ 404158 w 7463692"/>
              <a:gd name="connsiteY64" fmla="*/ 6858000 h 6858000"/>
              <a:gd name="connsiteX65" fmla="*/ 415213 w 7463692"/>
              <a:gd name="connsiteY65" fmla="*/ 6841604 h 6858000"/>
              <a:gd name="connsiteX66" fmla="*/ 432029 w 7463692"/>
              <a:gd name="connsiteY66" fmla="*/ 6758309 h 6858000"/>
              <a:gd name="connsiteX67" fmla="*/ 432029 w 7463692"/>
              <a:gd name="connsiteY67" fmla="*/ 2203207 h 6858000"/>
              <a:gd name="connsiteX68" fmla="*/ 218039 w 7463692"/>
              <a:gd name="connsiteY68" fmla="*/ 1989217 h 6858000"/>
              <a:gd name="connsiteX69" fmla="*/ 0 w 7463692"/>
              <a:gd name="connsiteY69" fmla="*/ 198921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463692" h="6858000">
                <a:moveTo>
                  <a:pt x="6036214" y="454511"/>
                </a:moveTo>
                <a:cubicBezTo>
                  <a:pt x="6003038" y="454511"/>
                  <a:pt x="5976214" y="481335"/>
                  <a:pt x="5976214" y="514511"/>
                </a:cubicBezTo>
                <a:cubicBezTo>
                  <a:pt x="5976214" y="547687"/>
                  <a:pt x="6003038" y="574511"/>
                  <a:pt x="6036214" y="574511"/>
                </a:cubicBezTo>
                <a:cubicBezTo>
                  <a:pt x="6069391" y="574511"/>
                  <a:pt x="6096214" y="547687"/>
                  <a:pt x="6096214" y="514511"/>
                </a:cubicBezTo>
                <a:cubicBezTo>
                  <a:pt x="6096214" y="481335"/>
                  <a:pt x="6069391" y="454511"/>
                  <a:pt x="6036214" y="454511"/>
                </a:cubicBezTo>
                <a:close/>
                <a:moveTo>
                  <a:pt x="6975273" y="338982"/>
                </a:moveTo>
                <a:lnTo>
                  <a:pt x="7078802" y="338982"/>
                </a:lnTo>
                <a:lnTo>
                  <a:pt x="7078802" y="530746"/>
                </a:lnTo>
                <a:lnTo>
                  <a:pt x="6973155" y="530746"/>
                </a:lnTo>
                <a:cubicBezTo>
                  <a:pt x="6941861" y="530982"/>
                  <a:pt x="6910331" y="533099"/>
                  <a:pt x="6909390" y="492629"/>
                </a:cubicBezTo>
                <a:cubicBezTo>
                  <a:pt x="6909390" y="490982"/>
                  <a:pt x="6909155" y="476158"/>
                  <a:pt x="6909390" y="432864"/>
                </a:cubicBezTo>
                <a:cubicBezTo>
                  <a:pt x="6909626" y="396158"/>
                  <a:pt x="6909155" y="387452"/>
                  <a:pt x="6909390" y="383688"/>
                </a:cubicBezTo>
                <a:cubicBezTo>
                  <a:pt x="6911037" y="349805"/>
                  <a:pt x="6923508" y="337805"/>
                  <a:pt x="6975273" y="338982"/>
                </a:cubicBezTo>
                <a:close/>
                <a:moveTo>
                  <a:pt x="6957861" y="296864"/>
                </a:moveTo>
                <a:cubicBezTo>
                  <a:pt x="6912920" y="296864"/>
                  <a:pt x="6896214" y="303923"/>
                  <a:pt x="6883978" y="313805"/>
                </a:cubicBezTo>
                <a:cubicBezTo>
                  <a:pt x="6870567" y="324629"/>
                  <a:pt x="6858331" y="338040"/>
                  <a:pt x="6858096" y="384393"/>
                </a:cubicBezTo>
                <a:lnTo>
                  <a:pt x="6858096" y="483923"/>
                </a:lnTo>
                <a:cubicBezTo>
                  <a:pt x="6858096" y="532864"/>
                  <a:pt x="6871743" y="546746"/>
                  <a:pt x="6885625" y="558276"/>
                </a:cubicBezTo>
                <a:cubicBezTo>
                  <a:pt x="6895037" y="564864"/>
                  <a:pt x="6910567" y="572629"/>
                  <a:pt x="6958096" y="572629"/>
                </a:cubicBezTo>
                <a:lnTo>
                  <a:pt x="7078802" y="572629"/>
                </a:lnTo>
                <a:lnTo>
                  <a:pt x="7078802" y="583217"/>
                </a:lnTo>
                <a:cubicBezTo>
                  <a:pt x="7078802" y="604158"/>
                  <a:pt x="7074802" y="613099"/>
                  <a:pt x="7050802" y="613099"/>
                </a:cubicBezTo>
                <a:lnTo>
                  <a:pt x="6893390" y="613099"/>
                </a:lnTo>
                <a:lnTo>
                  <a:pt x="6893390" y="657335"/>
                </a:lnTo>
                <a:lnTo>
                  <a:pt x="7067037" y="657335"/>
                </a:lnTo>
                <a:cubicBezTo>
                  <a:pt x="7113861" y="657335"/>
                  <a:pt x="7128920" y="636393"/>
                  <a:pt x="7128920" y="597099"/>
                </a:cubicBezTo>
                <a:lnTo>
                  <a:pt x="7128920" y="296864"/>
                </a:lnTo>
                <a:close/>
                <a:moveTo>
                  <a:pt x="6623273" y="296864"/>
                </a:moveTo>
                <a:cubicBezTo>
                  <a:pt x="6568920" y="296864"/>
                  <a:pt x="6552449" y="333099"/>
                  <a:pt x="6552449" y="373335"/>
                </a:cubicBezTo>
                <a:cubicBezTo>
                  <a:pt x="6552449" y="416629"/>
                  <a:pt x="6570331" y="452864"/>
                  <a:pt x="6619743" y="452864"/>
                </a:cubicBezTo>
                <a:lnTo>
                  <a:pt x="6739508" y="452864"/>
                </a:lnTo>
                <a:cubicBezTo>
                  <a:pt x="6776214" y="452864"/>
                  <a:pt x="6776214" y="481099"/>
                  <a:pt x="6776214" y="494040"/>
                </a:cubicBezTo>
                <a:cubicBezTo>
                  <a:pt x="6776214" y="506040"/>
                  <a:pt x="6776214" y="530746"/>
                  <a:pt x="6740449" y="530746"/>
                </a:cubicBezTo>
                <a:lnTo>
                  <a:pt x="6557155" y="530746"/>
                </a:lnTo>
                <a:lnTo>
                  <a:pt x="6557155" y="572864"/>
                </a:lnTo>
                <a:lnTo>
                  <a:pt x="6761626" y="572864"/>
                </a:lnTo>
                <a:cubicBezTo>
                  <a:pt x="6812685" y="572864"/>
                  <a:pt x="6827273" y="542982"/>
                  <a:pt x="6827273" y="494511"/>
                </a:cubicBezTo>
                <a:cubicBezTo>
                  <a:pt x="6827273" y="436864"/>
                  <a:pt x="6808449" y="411217"/>
                  <a:pt x="6764920" y="411217"/>
                </a:cubicBezTo>
                <a:lnTo>
                  <a:pt x="6635508" y="411217"/>
                </a:lnTo>
                <a:cubicBezTo>
                  <a:pt x="6602802" y="411217"/>
                  <a:pt x="6602802" y="389099"/>
                  <a:pt x="6602802" y="374511"/>
                </a:cubicBezTo>
                <a:cubicBezTo>
                  <a:pt x="6602802" y="362982"/>
                  <a:pt x="6606096" y="338982"/>
                  <a:pt x="6640920" y="338982"/>
                </a:cubicBezTo>
                <a:lnTo>
                  <a:pt x="6817626" y="338982"/>
                </a:lnTo>
                <a:lnTo>
                  <a:pt x="6817626" y="297099"/>
                </a:lnTo>
                <a:close/>
                <a:moveTo>
                  <a:pt x="6135037" y="296864"/>
                </a:moveTo>
                <a:lnTo>
                  <a:pt x="6135037" y="572629"/>
                </a:lnTo>
                <a:lnTo>
                  <a:pt x="6185390" y="572629"/>
                </a:lnTo>
                <a:lnTo>
                  <a:pt x="6185390" y="338746"/>
                </a:lnTo>
                <a:lnTo>
                  <a:pt x="6300684" y="338746"/>
                </a:lnTo>
                <a:lnTo>
                  <a:pt x="6300684" y="572629"/>
                </a:lnTo>
                <a:lnTo>
                  <a:pt x="6351272" y="572629"/>
                </a:lnTo>
                <a:lnTo>
                  <a:pt x="6351272" y="338746"/>
                </a:lnTo>
                <a:lnTo>
                  <a:pt x="6427978" y="338746"/>
                </a:lnTo>
                <a:cubicBezTo>
                  <a:pt x="6453861" y="338746"/>
                  <a:pt x="6472214" y="354276"/>
                  <a:pt x="6472214" y="387923"/>
                </a:cubicBezTo>
                <a:lnTo>
                  <a:pt x="6472214" y="572629"/>
                </a:lnTo>
                <a:lnTo>
                  <a:pt x="6522567" y="572629"/>
                </a:lnTo>
                <a:lnTo>
                  <a:pt x="6522567" y="374040"/>
                </a:lnTo>
                <a:cubicBezTo>
                  <a:pt x="6522567" y="336393"/>
                  <a:pt x="6503273" y="296864"/>
                  <a:pt x="6453390" y="296864"/>
                </a:cubicBezTo>
                <a:close/>
                <a:moveTo>
                  <a:pt x="0" y="0"/>
                </a:moveTo>
                <a:lnTo>
                  <a:pt x="72289" y="0"/>
                </a:lnTo>
                <a:lnTo>
                  <a:pt x="2753286" y="0"/>
                </a:lnTo>
                <a:lnTo>
                  <a:pt x="7463692" y="0"/>
                </a:lnTo>
                <a:lnTo>
                  <a:pt x="7463692" y="6858000"/>
                </a:lnTo>
                <a:lnTo>
                  <a:pt x="2753286" y="6858000"/>
                </a:lnTo>
                <a:lnTo>
                  <a:pt x="427029" y="6858000"/>
                </a:lnTo>
                <a:lnTo>
                  <a:pt x="404158" y="6858000"/>
                </a:lnTo>
                <a:lnTo>
                  <a:pt x="415213" y="6841604"/>
                </a:lnTo>
                <a:cubicBezTo>
                  <a:pt x="426041" y="6816002"/>
                  <a:pt x="432029" y="6787855"/>
                  <a:pt x="432029" y="6758309"/>
                </a:cubicBezTo>
                <a:lnTo>
                  <a:pt x="432029" y="2203207"/>
                </a:lnTo>
                <a:cubicBezTo>
                  <a:pt x="432029" y="2085024"/>
                  <a:pt x="336222" y="1989217"/>
                  <a:pt x="218039" y="1989217"/>
                </a:cubicBezTo>
                <a:lnTo>
                  <a:pt x="0" y="1989217"/>
                </a:lnTo>
                <a:close/>
              </a:path>
            </a:pathLst>
          </a:custGeom>
          <a:solidFill>
            <a:schemeClr val="bg2"/>
          </a:solidFill>
        </p:spPr>
        <p:txBody>
          <a:bodyPr wrap="square">
            <a:noAutofit/>
          </a:bodyPr>
          <a:lstStyle/>
          <a:p>
            <a:r>
              <a:rPr lang="de-DE"/>
              <a:t>Bild durch Klicken auf Symbol hinzufügen</a:t>
            </a:r>
          </a:p>
        </p:txBody>
      </p:sp>
      <p:sp>
        <p:nvSpPr>
          <p:cNvPr id="30" name="Textplatzhalter Kapitelnummer">
            <a:extLst>
              <a:ext uri="{FF2B5EF4-FFF2-40B4-BE49-F238E27FC236}">
                <a16:creationId xmlns:a16="http://schemas.microsoft.com/office/drawing/2014/main" id="{15D7F58E-36BA-9C1C-CCD4-7D67906B7F73}"/>
              </a:ext>
            </a:extLst>
          </p:cNvPr>
          <p:cNvSpPr>
            <a:spLocks noGrp="1"/>
          </p:cNvSpPr>
          <p:nvPr>
            <p:ph type="body" sz="quarter" idx="14" hasCustomPrompt="1"/>
          </p:nvPr>
        </p:nvSpPr>
        <p:spPr bwMode="gray">
          <a:xfrm>
            <a:off x="623888" y="1336675"/>
            <a:ext cx="432000" cy="432000"/>
          </a:xfrm>
          <a:prstGeom prst="ellipse">
            <a:avLst/>
          </a:prstGeom>
          <a:solidFill>
            <a:schemeClr val="accent1"/>
          </a:solidFill>
        </p:spPr>
        <p:txBody>
          <a:bodyPr anchor="ctr"/>
          <a:lstStyle>
            <a:lvl1pPr algn="ctr">
              <a:defRPr sz="1600" b="1">
                <a:solidFill>
                  <a:schemeClr val="bg1"/>
                </a:solidFill>
                <a:latin typeface="+mj-lt"/>
              </a:defRPr>
            </a:lvl1pPr>
          </a:lstStyle>
          <a:p>
            <a:pPr lvl="0"/>
            <a:r>
              <a:rPr lang="de-DE"/>
              <a:t>00</a:t>
            </a:r>
          </a:p>
        </p:txBody>
      </p:sp>
      <p:sp>
        <p:nvSpPr>
          <p:cNvPr id="2" name="Textplatzhalter Titel">
            <a:extLst>
              <a:ext uri="{FF2B5EF4-FFF2-40B4-BE49-F238E27FC236}">
                <a16:creationId xmlns:a16="http://schemas.microsoft.com/office/drawing/2014/main" id="{B545046E-39AA-5646-D331-802F7889BAA8}"/>
              </a:ext>
            </a:extLst>
          </p:cNvPr>
          <p:cNvSpPr>
            <a:spLocks noGrp="1"/>
          </p:cNvSpPr>
          <p:nvPr>
            <p:ph type="title"/>
          </p:nvPr>
        </p:nvSpPr>
        <p:spPr bwMode="gray">
          <a:xfrm>
            <a:off x="623887" y="1991397"/>
            <a:ext cx="3888391" cy="1077708"/>
          </a:xfrm>
        </p:spPr>
        <p:txBody>
          <a:bodyPr vert="horz" lIns="0" tIns="0" rIns="0" bIns="0" anchor="t">
            <a:noAutofit/>
          </a:bodyPr>
          <a:lstStyle>
            <a:lvl1pPr rtl="0">
              <a:lnSpc>
                <a:spcPct val="100000"/>
              </a:lnSpc>
              <a:spcAft>
                <a:spcPts val="600"/>
              </a:spcAft>
              <a:defRPr sz="3600">
                <a:solidFill>
                  <a:schemeClr val="accent1"/>
                </a:solidFill>
              </a:defRPr>
            </a:lvl1pPr>
          </a:lstStyle>
          <a:p>
            <a:r>
              <a:rPr lang="de-DE"/>
              <a:t>Mastertitelformat bearbeiten</a:t>
            </a:r>
          </a:p>
        </p:txBody>
      </p:sp>
      <p:sp>
        <p:nvSpPr>
          <p:cNvPr id="19" name="Textplatzhalter Subtitle">
            <a:extLst>
              <a:ext uri="{FF2B5EF4-FFF2-40B4-BE49-F238E27FC236}">
                <a16:creationId xmlns:a16="http://schemas.microsoft.com/office/drawing/2014/main" id="{FB0D230E-B4C4-0E0C-7917-9588404DD9A0}"/>
              </a:ext>
            </a:extLst>
          </p:cNvPr>
          <p:cNvSpPr>
            <a:spLocks noGrp="1"/>
          </p:cNvSpPr>
          <p:nvPr>
            <p:ph type="body" sz="quarter" idx="12" hasCustomPrompt="1"/>
          </p:nvPr>
        </p:nvSpPr>
        <p:spPr bwMode="gray">
          <a:xfrm>
            <a:off x="623887" y="3292353"/>
            <a:ext cx="3888391" cy="424690"/>
          </a:xfrm>
          <a:noFill/>
        </p:spPr>
        <p:txBody>
          <a:bodyPr wrap="square" lIns="0" tIns="0" rIns="0" bIns="0" anchor="t">
            <a:noAutofit/>
          </a:bodyPr>
          <a:lstStyle>
            <a:lvl1pPr rtl="0">
              <a:defRPr sz="2000" b="0">
                <a:solidFill>
                  <a:schemeClr val="tx1"/>
                </a:solidFill>
              </a:defRPr>
            </a:lvl1pPr>
          </a:lstStyle>
          <a:p>
            <a:pPr lvl="0"/>
            <a:r>
              <a:rPr lang="de-DE" err="1"/>
              <a:t>Subtitle</a:t>
            </a:r>
            <a:r>
              <a:rPr lang="de-DE"/>
              <a:t> einfügen</a:t>
            </a:r>
          </a:p>
        </p:txBody>
      </p:sp>
      <p:sp>
        <p:nvSpPr>
          <p:cNvPr id="192" name="Fußzeilenplatzhalter">
            <a:extLst>
              <a:ext uri="{FF2B5EF4-FFF2-40B4-BE49-F238E27FC236}">
                <a16:creationId xmlns:a16="http://schemas.microsoft.com/office/drawing/2014/main" id="{4CC5C821-AB6C-4244-5ABE-4CEAB02BE5B0}"/>
              </a:ext>
            </a:extLst>
          </p:cNvPr>
          <p:cNvSpPr>
            <a:spLocks noGrp="1"/>
          </p:cNvSpPr>
          <p:nvPr>
            <p:ph type="ftr" sz="quarter" idx="15"/>
          </p:nvPr>
        </p:nvSpPr>
        <p:spPr>
          <a:xfrm>
            <a:off x="1271955" y="6443762"/>
            <a:ext cx="3671948" cy="153888"/>
          </a:xfrm>
        </p:spPr>
        <p:txBody>
          <a:bodyPr/>
          <a:lstStyle/>
          <a:p>
            <a:r>
              <a:rPr lang="de-DE"/>
              <a:t>© msg systems ag | 2026 | msg-Unternehmenspräsentation</a:t>
            </a:r>
            <a:endParaRPr lang="de-DE" dirty="0"/>
          </a:p>
        </p:txBody>
      </p:sp>
      <p:sp>
        <p:nvSpPr>
          <p:cNvPr id="193" name="Foliennummernplatzhalter">
            <a:extLst>
              <a:ext uri="{FF2B5EF4-FFF2-40B4-BE49-F238E27FC236}">
                <a16:creationId xmlns:a16="http://schemas.microsoft.com/office/drawing/2014/main" id="{6D38364E-5AE9-7D62-E8EA-838585EB2222}"/>
              </a:ext>
            </a:extLst>
          </p:cNvPr>
          <p:cNvSpPr>
            <a:spLocks noGrp="1"/>
          </p:cNvSpPr>
          <p:nvPr>
            <p:ph type="sldNum" sz="quarter" idx="16"/>
          </p:nvPr>
        </p:nvSpPr>
        <p:spPr/>
        <p:txBody>
          <a:bodyPr/>
          <a:lstStyle/>
          <a:p>
            <a:fld id="{1FBD72F1-A42A-46B0-A7F8-CE6A9835826C}" type="slidenum">
              <a:rPr lang="de-DE" smtClean="0"/>
              <a:pPr/>
              <a:t>‹Nr.›</a:t>
            </a:fld>
            <a:endParaRPr lang="de-DE"/>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B2DF044B-E3D3-4AC6-BB8C-4A94EAA0A309}"/>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7" name="Gerader Verbinder 196">
              <a:extLst>
                <a:ext uri="{FF2B5EF4-FFF2-40B4-BE49-F238E27FC236}">
                  <a16:creationId xmlns:a16="http://schemas.microsoft.com/office/drawing/2014/main" id="{A8D6AE26-6C3B-A1F5-CFB1-222C89F1B9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695AC01D-45B0-0B0C-ABC7-05769A5BC19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1DE09D3-C134-66E7-37B4-B6574BCB993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38057F2B-30FB-F611-74D6-A8CCB13F8AF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8FD79B80-2C2B-2A37-BAE6-9A4560CC2210}"/>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B29EBAF0-F2F1-01FD-0169-23CC6A456A45}"/>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8ABE2352-A5E5-5EF6-21C0-DAF60287AAA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4" name="Gruppieren 203">
            <a:extLst>
              <a:ext uri="{FF2B5EF4-FFF2-40B4-BE49-F238E27FC236}">
                <a16:creationId xmlns:a16="http://schemas.microsoft.com/office/drawing/2014/main" id="{F4883AD6-9AF7-5A09-4F0B-02F59FFCE285}"/>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5" name="Gerader Verbinder 204">
              <a:extLst>
                <a:ext uri="{FF2B5EF4-FFF2-40B4-BE49-F238E27FC236}">
                  <a16:creationId xmlns:a16="http://schemas.microsoft.com/office/drawing/2014/main" id="{13DC920E-093A-F9EC-59F6-6F19CC93A972}"/>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2CD9FB50-5ADF-675B-B994-5DACA6BF0E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1993A5D7-FC4A-CC9E-5A54-9D07B996AA7B}"/>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22E90637-7306-39C2-2EFF-4255ACCF24AA}"/>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7BA25234-23B8-4618-3F9D-2084E7BAE40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0" name="Gerader Verbinder 209">
              <a:extLst>
                <a:ext uri="{FF2B5EF4-FFF2-40B4-BE49-F238E27FC236}">
                  <a16:creationId xmlns:a16="http://schemas.microsoft.com/office/drawing/2014/main" id="{7E4E59E6-EEF3-A2EC-0FCD-A4E442F2E476}"/>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1" name="Gerader Verbinder 210">
              <a:extLst>
                <a:ext uri="{FF2B5EF4-FFF2-40B4-BE49-F238E27FC236}">
                  <a16:creationId xmlns:a16="http://schemas.microsoft.com/office/drawing/2014/main" id="{818146FD-9F3D-F16E-D2DF-ABD0C683C67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928375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apitel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1597553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descr="Bild füllt die komplette Folie aus, im unteren Bereich Kapitelnummer, Titel und Untertitel, Bild ist änderbar.">
            <a:extLst>
              <a:ext uri="{FF2B5EF4-FFF2-40B4-BE49-F238E27FC236}">
                <a16:creationId xmlns:a16="http://schemas.microsoft.com/office/drawing/2014/main" id="{E2E72487-DC5F-3D9B-6063-5D7F49143C4A}"/>
              </a:ext>
              <a:ext uri="{C183D7F6-B498-43B3-948B-1728B52AA6E4}">
                <adec:decorative xmlns:adec="http://schemas.microsoft.com/office/drawing/2017/decorative" val="0"/>
              </a:ext>
            </a:extLst>
          </p:cNvPr>
          <p:cNvSpPr>
            <a:spLocks noGrp="1"/>
          </p:cNvSpPr>
          <p:nvPr>
            <p:ph type="pic" sz="quarter" idx="13"/>
          </p:nvPr>
        </p:nvSpPr>
        <p:spPr bwMode="gray">
          <a:xfrm>
            <a:off x="1" y="0"/>
            <a:ext cx="12191998" cy="6858000"/>
          </a:xfrm>
          <a:custGeom>
            <a:avLst/>
            <a:gdLst>
              <a:gd name="connsiteX0" fmla="*/ 10764520 w 12191998"/>
              <a:gd name="connsiteY0" fmla="*/ 454511 h 6858000"/>
              <a:gd name="connsiteX1" fmla="*/ 10704520 w 12191998"/>
              <a:gd name="connsiteY1" fmla="*/ 514511 h 6858000"/>
              <a:gd name="connsiteX2" fmla="*/ 10764520 w 12191998"/>
              <a:gd name="connsiteY2" fmla="*/ 574511 h 6858000"/>
              <a:gd name="connsiteX3" fmla="*/ 10824520 w 12191998"/>
              <a:gd name="connsiteY3" fmla="*/ 514511 h 6858000"/>
              <a:gd name="connsiteX4" fmla="*/ 10764520 w 12191998"/>
              <a:gd name="connsiteY4" fmla="*/ 454511 h 6858000"/>
              <a:gd name="connsiteX5" fmla="*/ 11703579 w 12191998"/>
              <a:gd name="connsiteY5" fmla="*/ 338982 h 6858000"/>
              <a:gd name="connsiteX6" fmla="*/ 11807108 w 12191998"/>
              <a:gd name="connsiteY6" fmla="*/ 338982 h 6858000"/>
              <a:gd name="connsiteX7" fmla="*/ 11807108 w 12191998"/>
              <a:gd name="connsiteY7" fmla="*/ 530746 h 6858000"/>
              <a:gd name="connsiteX8" fmla="*/ 11701461 w 12191998"/>
              <a:gd name="connsiteY8" fmla="*/ 530746 h 6858000"/>
              <a:gd name="connsiteX9" fmla="*/ 11637696 w 12191998"/>
              <a:gd name="connsiteY9" fmla="*/ 492629 h 6858000"/>
              <a:gd name="connsiteX10" fmla="*/ 11637696 w 12191998"/>
              <a:gd name="connsiteY10" fmla="*/ 432864 h 6858000"/>
              <a:gd name="connsiteX11" fmla="*/ 11637696 w 12191998"/>
              <a:gd name="connsiteY11" fmla="*/ 383688 h 6858000"/>
              <a:gd name="connsiteX12" fmla="*/ 11703579 w 12191998"/>
              <a:gd name="connsiteY12" fmla="*/ 338982 h 6858000"/>
              <a:gd name="connsiteX13" fmla="*/ 10863343 w 12191998"/>
              <a:gd name="connsiteY13" fmla="*/ 296864 h 6858000"/>
              <a:gd name="connsiteX14" fmla="*/ 10863343 w 12191998"/>
              <a:gd name="connsiteY14" fmla="*/ 572629 h 6858000"/>
              <a:gd name="connsiteX15" fmla="*/ 10913696 w 12191998"/>
              <a:gd name="connsiteY15" fmla="*/ 572629 h 6858000"/>
              <a:gd name="connsiteX16" fmla="*/ 10913696 w 12191998"/>
              <a:gd name="connsiteY16" fmla="*/ 338746 h 6858000"/>
              <a:gd name="connsiteX17" fmla="*/ 11028990 w 12191998"/>
              <a:gd name="connsiteY17" fmla="*/ 338746 h 6858000"/>
              <a:gd name="connsiteX18" fmla="*/ 11028990 w 12191998"/>
              <a:gd name="connsiteY18" fmla="*/ 572629 h 6858000"/>
              <a:gd name="connsiteX19" fmla="*/ 11079578 w 12191998"/>
              <a:gd name="connsiteY19" fmla="*/ 572629 h 6858000"/>
              <a:gd name="connsiteX20" fmla="*/ 11079578 w 12191998"/>
              <a:gd name="connsiteY20" fmla="*/ 338746 h 6858000"/>
              <a:gd name="connsiteX21" fmla="*/ 11156284 w 12191998"/>
              <a:gd name="connsiteY21" fmla="*/ 338746 h 6858000"/>
              <a:gd name="connsiteX22" fmla="*/ 11200520 w 12191998"/>
              <a:gd name="connsiteY22" fmla="*/ 387923 h 6858000"/>
              <a:gd name="connsiteX23" fmla="*/ 11200520 w 12191998"/>
              <a:gd name="connsiteY23" fmla="*/ 572629 h 6858000"/>
              <a:gd name="connsiteX24" fmla="*/ 11250873 w 12191998"/>
              <a:gd name="connsiteY24" fmla="*/ 572629 h 6858000"/>
              <a:gd name="connsiteX25" fmla="*/ 11250873 w 12191998"/>
              <a:gd name="connsiteY25" fmla="*/ 374040 h 6858000"/>
              <a:gd name="connsiteX26" fmla="*/ 11181696 w 12191998"/>
              <a:gd name="connsiteY26" fmla="*/ 296864 h 6858000"/>
              <a:gd name="connsiteX27" fmla="*/ 11351579 w 12191998"/>
              <a:gd name="connsiteY27" fmla="*/ 296864 h 6858000"/>
              <a:gd name="connsiteX28" fmla="*/ 11280755 w 12191998"/>
              <a:gd name="connsiteY28" fmla="*/ 373335 h 6858000"/>
              <a:gd name="connsiteX29" fmla="*/ 11348049 w 12191998"/>
              <a:gd name="connsiteY29" fmla="*/ 452864 h 6858000"/>
              <a:gd name="connsiteX30" fmla="*/ 11467814 w 12191998"/>
              <a:gd name="connsiteY30" fmla="*/ 452864 h 6858000"/>
              <a:gd name="connsiteX31" fmla="*/ 11504520 w 12191998"/>
              <a:gd name="connsiteY31" fmla="*/ 494040 h 6858000"/>
              <a:gd name="connsiteX32" fmla="*/ 11468755 w 12191998"/>
              <a:gd name="connsiteY32" fmla="*/ 530746 h 6858000"/>
              <a:gd name="connsiteX33" fmla="*/ 11285461 w 12191998"/>
              <a:gd name="connsiteY33" fmla="*/ 530746 h 6858000"/>
              <a:gd name="connsiteX34" fmla="*/ 11285461 w 12191998"/>
              <a:gd name="connsiteY34" fmla="*/ 572864 h 6858000"/>
              <a:gd name="connsiteX35" fmla="*/ 11489932 w 12191998"/>
              <a:gd name="connsiteY35" fmla="*/ 572864 h 6858000"/>
              <a:gd name="connsiteX36" fmla="*/ 11555579 w 12191998"/>
              <a:gd name="connsiteY36" fmla="*/ 494511 h 6858000"/>
              <a:gd name="connsiteX37" fmla="*/ 11493226 w 12191998"/>
              <a:gd name="connsiteY37" fmla="*/ 411217 h 6858000"/>
              <a:gd name="connsiteX38" fmla="*/ 11363814 w 12191998"/>
              <a:gd name="connsiteY38" fmla="*/ 411217 h 6858000"/>
              <a:gd name="connsiteX39" fmla="*/ 11331108 w 12191998"/>
              <a:gd name="connsiteY39" fmla="*/ 374511 h 6858000"/>
              <a:gd name="connsiteX40" fmla="*/ 11369226 w 12191998"/>
              <a:gd name="connsiteY40" fmla="*/ 338982 h 6858000"/>
              <a:gd name="connsiteX41" fmla="*/ 11545932 w 12191998"/>
              <a:gd name="connsiteY41" fmla="*/ 338982 h 6858000"/>
              <a:gd name="connsiteX42" fmla="*/ 11545932 w 12191998"/>
              <a:gd name="connsiteY42" fmla="*/ 297099 h 6858000"/>
              <a:gd name="connsiteX43" fmla="*/ 11686167 w 12191998"/>
              <a:gd name="connsiteY43" fmla="*/ 296864 h 6858000"/>
              <a:gd name="connsiteX44" fmla="*/ 11612284 w 12191998"/>
              <a:gd name="connsiteY44" fmla="*/ 313805 h 6858000"/>
              <a:gd name="connsiteX45" fmla="*/ 11586402 w 12191998"/>
              <a:gd name="connsiteY45" fmla="*/ 384393 h 6858000"/>
              <a:gd name="connsiteX46" fmla="*/ 11586402 w 12191998"/>
              <a:gd name="connsiteY46" fmla="*/ 483923 h 6858000"/>
              <a:gd name="connsiteX47" fmla="*/ 11613931 w 12191998"/>
              <a:gd name="connsiteY47" fmla="*/ 558276 h 6858000"/>
              <a:gd name="connsiteX48" fmla="*/ 11686402 w 12191998"/>
              <a:gd name="connsiteY48" fmla="*/ 572629 h 6858000"/>
              <a:gd name="connsiteX49" fmla="*/ 11807108 w 12191998"/>
              <a:gd name="connsiteY49" fmla="*/ 572629 h 6858000"/>
              <a:gd name="connsiteX50" fmla="*/ 11807108 w 12191998"/>
              <a:gd name="connsiteY50" fmla="*/ 583217 h 6858000"/>
              <a:gd name="connsiteX51" fmla="*/ 11779108 w 12191998"/>
              <a:gd name="connsiteY51" fmla="*/ 613099 h 6858000"/>
              <a:gd name="connsiteX52" fmla="*/ 11621696 w 12191998"/>
              <a:gd name="connsiteY52" fmla="*/ 613099 h 6858000"/>
              <a:gd name="connsiteX53" fmla="*/ 11621696 w 12191998"/>
              <a:gd name="connsiteY53" fmla="*/ 657335 h 6858000"/>
              <a:gd name="connsiteX54" fmla="*/ 11795343 w 12191998"/>
              <a:gd name="connsiteY54" fmla="*/ 657335 h 6858000"/>
              <a:gd name="connsiteX55" fmla="*/ 11857226 w 12191998"/>
              <a:gd name="connsiteY55" fmla="*/ 597099 h 6858000"/>
              <a:gd name="connsiteX56" fmla="*/ 11857226 w 12191998"/>
              <a:gd name="connsiteY56" fmla="*/ 296864 h 6858000"/>
              <a:gd name="connsiteX57" fmla="*/ 0 w 12191998"/>
              <a:gd name="connsiteY57" fmla="*/ 0 h 6858000"/>
              <a:gd name="connsiteX58" fmla="*/ 12191998 w 12191998"/>
              <a:gd name="connsiteY58" fmla="*/ 0 h 6858000"/>
              <a:gd name="connsiteX59" fmla="*/ 12191998 w 12191998"/>
              <a:gd name="connsiteY59" fmla="*/ 6858000 h 6858000"/>
              <a:gd name="connsiteX60" fmla="*/ 0 w 12191998"/>
              <a:gd name="connsiteY6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8" h="6858000">
                <a:moveTo>
                  <a:pt x="10764520" y="454511"/>
                </a:moveTo>
                <a:cubicBezTo>
                  <a:pt x="10731344" y="454511"/>
                  <a:pt x="10704520" y="481335"/>
                  <a:pt x="10704520" y="514511"/>
                </a:cubicBezTo>
                <a:cubicBezTo>
                  <a:pt x="10704520" y="547687"/>
                  <a:pt x="10731344" y="574511"/>
                  <a:pt x="10764520" y="574511"/>
                </a:cubicBezTo>
                <a:cubicBezTo>
                  <a:pt x="10797697" y="574511"/>
                  <a:pt x="10824520" y="547687"/>
                  <a:pt x="10824520" y="514511"/>
                </a:cubicBezTo>
                <a:cubicBezTo>
                  <a:pt x="10824520" y="481335"/>
                  <a:pt x="10797697" y="454511"/>
                  <a:pt x="10764520" y="454511"/>
                </a:cubicBezTo>
                <a:close/>
                <a:moveTo>
                  <a:pt x="11703579" y="338982"/>
                </a:moveTo>
                <a:lnTo>
                  <a:pt x="11807108" y="338982"/>
                </a:lnTo>
                <a:lnTo>
                  <a:pt x="11807108" y="530746"/>
                </a:lnTo>
                <a:lnTo>
                  <a:pt x="11701461" y="530746"/>
                </a:lnTo>
                <a:cubicBezTo>
                  <a:pt x="11670167" y="530982"/>
                  <a:pt x="11638637" y="533099"/>
                  <a:pt x="11637696" y="492629"/>
                </a:cubicBezTo>
                <a:cubicBezTo>
                  <a:pt x="11637696" y="490982"/>
                  <a:pt x="11637461" y="476158"/>
                  <a:pt x="11637696" y="432864"/>
                </a:cubicBezTo>
                <a:cubicBezTo>
                  <a:pt x="11637932" y="396158"/>
                  <a:pt x="11637461" y="387452"/>
                  <a:pt x="11637696" y="383688"/>
                </a:cubicBezTo>
                <a:cubicBezTo>
                  <a:pt x="11639343" y="349805"/>
                  <a:pt x="11651814" y="337805"/>
                  <a:pt x="11703579" y="338982"/>
                </a:cubicBezTo>
                <a:close/>
                <a:moveTo>
                  <a:pt x="10863343" y="296864"/>
                </a:moveTo>
                <a:lnTo>
                  <a:pt x="10863343" y="572629"/>
                </a:lnTo>
                <a:lnTo>
                  <a:pt x="10913696" y="572629"/>
                </a:lnTo>
                <a:lnTo>
                  <a:pt x="10913696" y="338746"/>
                </a:lnTo>
                <a:lnTo>
                  <a:pt x="11028990" y="338746"/>
                </a:lnTo>
                <a:lnTo>
                  <a:pt x="11028990" y="572629"/>
                </a:lnTo>
                <a:lnTo>
                  <a:pt x="11079578" y="572629"/>
                </a:lnTo>
                <a:lnTo>
                  <a:pt x="11079578" y="338746"/>
                </a:lnTo>
                <a:lnTo>
                  <a:pt x="11156284" y="338746"/>
                </a:lnTo>
                <a:cubicBezTo>
                  <a:pt x="11182167" y="338746"/>
                  <a:pt x="11200520" y="354276"/>
                  <a:pt x="11200520" y="387923"/>
                </a:cubicBezTo>
                <a:lnTo>
                  <a:pt x="11200520" y="572629"/>
                </a:lnTo>
                <a:lnTo>
                  <a:pt x="11250873" y="572629"/>
                </a:lnTo>
                <a:lnTo>
                  <a:pt x="11250873" y="374040"/>
                </a:lnTo>
                <a:cubicBezTo>
                  <a:pt x="11250873" y="336393"/>
                  <a:pt x="11231579" y="296864"/>
                  <a:pt x="11181696" y="296864"/>
                </a:cubicBezTo>
                <a:close/>
                <a:moveTo>
                  <a:pt x="11351579" y="296864"/>
                </a:moveTo>
                <a:cubicBezTo>
                  <a:pt x="11297226" y="296864"/>
                  <a:pt x="11280755" y="333099"/>
                  <a:pt x="11280755" y="373335"/>
                </a:cubicBezTo>
                <a:cubicBezTo>
                  <a:pt x="11280755" y="416629"/>
                  <a:pt x="11298637" y="452864"/>
                  <a:pt x="11348049" y="452864"/>
                </a:cubicBezTo>
                <a:lnTo>
                  <a:pt x="11467814" y="452864"/>
                </a:lnTo>
                <a:cubicBezTo>
                  <a:pt x="11504520" y="452864"/>
                  <a:pt x="11504520" y="481099"/>
                  <a:pt x="11504520" y="494040"/>
                </a:cubicBezTo>
                <a:cubicBezTo>
                  <a:pt x="11504520" y="506040"/>
                  <a:pt x="11504520" y="530746"/>
                  <a:pt x="11468755" y="530746"/>
                </a:cubicBezTo>
                <a:lnTo>
                  <a:pt x="11285461" y="530746"/>
                </a:lnTo>
                <a:lnTo>
                  <a:pt x="11285461" y="572864"/>
                </a:lnTo>
                <a:lnTo>
                  <a:pt x="11489932" y="572864"/>
                </a:lnTo>
                <a:cubicBezTo>
                  <a:pt x="11540991" y="572864"/>
                  <a:pt x="11555579" y="542982"/>
                  <a:pt x="11555579" y="494511"/>
                </a:cubicBezTo>
                <a:cubicBezTo>
                  <a:pt x="11555579" y="436864"/>
                  <a:pt x="11536755" y="411217"/>
                  <a:pt x="11493226" y="411217"/>
                </a:cubicBezTo>
                <a:lnTo>
                  <a:pt x="11363814" y="411217"/>
                </a:lnTo>
                <a:cubicBezTo>
                  <a:pt x="11331108" y="411217"/>
                  <a:pt x="11331108" y="389099"/>
                  <a:pt x="11331108" y="374511"/>
                </a:cubicBezTo>
                <a:cubicBezTo>
                  <a:pt x="11331108" y="362982"/>
                  <a:pt x="11334402" y="338982"/>
                  <a:pt x="11369226" y="338982"/>
                </a:cubicBezTo>
                <a:lnTo>
                  <a:pt x="11545932" y="338982"/>
                </a:lnTo>
                <a:lnTo>
                  <a:pt x="11545932" y="297099"/>
                </a:lnTo>
                <a:close/>
                <a:moveTo>
                  <a:pt x="11686167" y="296864"/>
                </a:moveTo>
                <a:cubicBezTo>
                  <a:pt x="11641226" y="296864"/>
                  <a:pt x="11624520" y="303923"/>
                  <a:pt x="11612284" y="313805"/>
                </a:cubicBezTo>
                <a:cubicBezTo>
                  <a:pt x="11598873" y="324629"/>
                  <a:pt x="11586637" y="338040"/>
                  <a:pt x="11586402" y="384393"/>
                </a:cubicBezTo>
                <a:lnTo>
                  <a:pt x="11586402" y="483923"/>
                </a:lnTo>
                <a:cubicBezTo>
                  <a:pt x="11586402" y="532864"/>
                  <a:pt x="11600049" y="546746"/>
                  <a:pt x="11613931" y="558276"/>
                </a:cubicBezTo>
                <a:cubicBezTo>
                  <a:pt x="11623343" y="564864"/>
                  <a:pt x="11638873" y="572629"/>
                  <a:pt x="11686402" y="572629"/>
                </a:cubicBezTo>
                <a:lnTo>
                  <a:pt x="11807108" y="572629"/>
                </a:lnTo>
                <a:lnTo>
                  <a:pt x="11807108" y="583217"/>
                </a:lnTo>
                <a:cubicBezTo>
                  <a:pt x="11807108" y="604158"/>
                  <a:pt x="11803108" y="613099"/>
                  <a:pt x="11779108" y="613099"/>
                </a:cubicBezTo>
                <a:lnTo>
                  <a:pt x="11621696" y="613099"/>
                </a:lnTo>
                <a:lnTo>
                  <a:pt x="11621696" y="657335"/>
                </a:lnTo>
                <a:lnTo>
                  <a:pt x="11795343" y="657335"/>
                </a:lnTo>
                <a:cubicBezTo>
                  <a:pt x="11842167" y="657335"/>
                  <a:pt x="11857226" y="636393"/>
                  <a:pt x="11857226" y="597099"/>
                </a:cubicBezTo>
                <a:lnTo>
                  <a:pt x="11857226" y="296864"/>
                </a:lnTo>
                <a:close/>
                <a:moveTo>
                  <a:pt x="0" y="0"/>
                </a:moveTo>
                <a:lnTo>
                  <a:pt x="12191998" y="0"/>
                </a:lnTo>
                <a:lnTo>
                  <a:pt x="12191998"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36" name="Titel 35">
            <a:extLst>
              <a:ext uri="{FF2B5EF4-FFF2-40B4-BE49-F238E27FC236}">
                <a16:creationId xmlns:a16="http://schemas.microsoft.com/office/drawing/2014/main" id="{96C8531C-5AF0-B253-98FC-D9C844FE91DB}"/>
              </a:ext>
            </a:extLst>
          </p:cNvPr>
          <p:cNvSpPr>
            <a:spLocks noGrp="1"/>
          </p:cNvSpPr>
          <p:nvPr>
            <p:ph type="title"/>
          </p:nvPr>
        </p:nvSpPr>
        <p:spPr bwMode="gray">
          <a:xfrm>
            <a:off x="623887" y="3501070"/>
            <a:ext cx="6264631" cy="2591755"/>
          </a:xfrm>
          <a:custGeom>
            <a:avLst/>
            <a:gdLst>
              <a:gd name="connsiteX0" fmla="*/ 0 w 6284912"/>
              <a:gd name="connsiteY0" fmla="*/ 0 h 2522538"/>
              <a:gd name="connsiteX1" fmla="*/ 254000 w 6284912"/>
              <a:gd name="connsiteY1" fmla="*/ 0 h 2522538"/>
              <a:gd name="connsiteX2" fmla="*/ 6030912 w 6284912"/>
              <a:gd name="connsiteY2" fmla="*/ 0 h 2522538"/>
              <a:gd name="connsiteX3" fmla="*/ 6064518 w 6284912"/>
              <a:gd name="connsiteY3" fmla="*/ 0 h 2522538"/>
              <a:gd name="connsiteX4" fmla="*/ 6284912 w 6284912"/>
              <a:gd name="connsiteY4" fmla="*/ 220394 h 2522538"/>
              <a:gd name="connsiteX5" fmla="*/ 6284912 w 6284912"/>
              <a:gd name="connsiteY5" fmla="*/ 2522538 h 2522538"/>
              <a:gd name="connsiteX6" fmla="*/ 6030912 w 6284912"/>
              <a:gd name="connsiteY6" fmla="*/ 2522538 h 2522538"/>
              <a:gd name="connsiteX7" fmla="*/ 254000 w 6284912"/>
              <a:gd name="connsiteY7" fmla="*/ 2522538 h 2522538"/>
              <a:gd name="connsiteX8" fmla="*/ 220394 w 6284912"/>
              <a:gd name="connsiteY8" fmla="*/ 2522538 h 2522538"/>
              <a:gd name="connsiteX9" fmla="*/ 0 w 6284912"/>
              <a:gd name="connsiteY9"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4912" h="2522538">
                <a:moveTo>
                  <a:pt x="0" y="0"/>
                </a:moveTo>
                <a:lnTo>
                  <a:pt x="254000" y="0"/>
                </a:lnTo>
                <a:lnTo>
                  <a:pt x="6030912" y="0"/>
                </a:lnTo>
                <a:lnTo>
                  <a:pt x="6064518" y="0"/>
                </a:lnTo>
                <a:cubicBezTo>
                  <a:pt x="6186238" y="0"/>
                  <a:pt x="6284912" y="98674"/>
                  <a:pt x="6284912" y="220394"/>
                </a:cubicBezTo>
                <a:lnTo>
                  <a:pt x="6284912" y="2522538"/>
                </a:lnTo>
                <a:lnTo>
                  <a:pt x="6030912" y="2522538"/>
                </a:lnTo>
                <a:lnTo>
                  <a:pt x="254000" y="2522538"/>
                </a:lnTo>
                <a:lnTo>
                  <a:pt x="220394" y="2522538"/>
                </a:lnTo>
                <a:cubicBezTo>
                  <a:pt x="98674" y="2522538"/>
                  <a:pt x="0" y="2423864"/>
                  <a:pt x="0" y="2302144"/>
                </a:cubicBezTo>
                <a:close/>
              </a:path>
            </a:pathLst>
          </a:custGeom>
          <a:solidFill>
            <a:schemeClr val="bg1"/>
          </a:solidFill>
        </p:spPr>
        <p:txBody>
          <a:bodyPr vert="horz" wrap="square" lIns="504000" tIns="216000" rIns="288000" bIns="216000" anchor="t">
            <a:noAutofit/>
          </a:bodyPr>
          <a:lstStyle>
            <a:lvl1pPr rtl="0">
              <a:spcAft>
                <a:spcPts val="600"/>
              </a:spcAft>
              <a:defRPr sz="3600">
                <a:solidFill>
                  <a:schemeClr val="accent1"/>
                </a:solidFill>
              </a:defRPr>
            </a:lvl1pPr>
          </a:lstStyle>
          <a:p>
            <a:r>
              <a:rPr lang="de-DE"/>
              <a:t>Mastertitelformat bearbeiten</a:t>
            </a:r>
          </a:p>
        </p:txBody>
      </p:sp>
      <p:sp>
        <p:nvSpPr>
          <p:cNvPr id="3" name="Textplatzhalter 2">
            <a:extLst>
              <a:ext uri="{FF2B5EF4-FFF2-40B4-BE49-F238E27FC236}">
                <a16:creationId xmlns:a16="http://schemas.microsoft.com/office/drawing/2014/main" id="{36EC5C41-9428-78A5-50CC-C362CA7CBD1E}"/>
              </a:ext>
            </a:extLst>
          </p:cNvPr>
          <p:cNvSpPr>
            <a:spLocks noGrp="1"/>
          </p:cNvSpPr>
          <p:nvPr>
            <p:ph type="body" sz="quarter" idx="17" hasCustomPrompt="1"/>
          </p:nvPr>
        </p:nvSpPr>
        <p:spPr>
          <a:xfrm>
            <a:off x="306388" y="3771900"/>
            <a:ext cx="635000" cy="635000"/>
          </a:xfrm>
          <a:prstGeom prst="ellipse">
            <a:avLst/>
          </a:prstGeom>
          <a:blipFill>
            <a:blip r:embed="rId5"/>
            <a:stretch>
              <a:fillRect/>
            </a:stretch>
          </a:blipFill>
        </p:spPr>
        <p:txBody>
          <a:bodyPr anchor="ctr"/>
          <a:lstStyle>
            <a:lvl1pPr algn="ctr">
              <a:defRPr sz="2400" b="1">
                <a:solidFill>
                  <a:schemeClr val="accent1"/>
                </a:solidFill>
                <a:latin typeface="+mj-lt"/>
              </a:defRPr>
            </a:lvl1pPr>
          </a:lstStyle>
          <a:p>
            <a:pPr lvl="0"/>
            <a:r>
              <a:rPr lang="de-DE"/>
              <a:t>01</a:t>
            </a:r>
          </a:p>
        </p:txBody>
      </p:sp>
      <p:sp>
        <p:nvSpPr>
          <p:cNvPr id="74" name="Fußzeilenplatzhalter 73">
            <a:extLst>
              <a:ext uri="{FF2B5EF4-FFF2-40B4-BE49-F238E27FC236}">
                <a16:creationId xmlns:a16="http://schemas.microsoft.com/office/drawing/2014/main" id="{0CA78F98-4683-CEF1-5C75-1D7B04EAA2D4}"/>
              </a:ext>
            </a:extLst>
          </p:cNvPr>
          <p:cNvSpPr>
            <a:spLocks noGrp="1"/>
          </p:cNvSpPr>
          <p:nvPr>
            <p:ph type="ftr" sz="quarter" idx="18"/>
          </p:nvPr>
        </p:nvSpPr>
        <p:spPr/>
        <p:txBody>
          <a:bodyPr/>
          <a:lstStyle/>
          <a:p>
            <a:r>
              <a:rPr lang="de-DE"/>
              <a:t>© msg systems ag | 2026 | msg-Unternehmenspräsentation</a:t>
            </a:r>
            <a:endParaRPr lang="de-DE" dirty="0"/>
          </a:p>
        </p:txBody>
      </p:sp>
      <p:sp>
        <p:nvSpPr>
          <p:cNvPr id="85" name="Foliennummernplatzhalter 84">
            <a:extLst>
              <a:ext uri="{FF2B5EF4-FFF2-40B4-BE49-F238E27FC236}">
                <a16:creationId xmlns:a16="http://schemas.microsoft.com/office/drawing/2014/main" id="{ED0CB22B-9AFB-D51E-1E56-8D72B900EEDB}"/>
              </a:ext>
            </a:extLst>
          </p:cNvPr>
          <p:cNvSpPr>
            <a:spLocks noGrp="1"/>
          </p:cNvSpPr>
          <p:nvPr>
            <p:ph type="sldNum" sz="quarter" idx="19"/>
          </p:nvPr>
        </p:nvSpPr>
        <p:spPr/>
        <p:txBody>
          <a:bodyPr/>
          <a:lstStyle/>
          <a:p>
            <a:fld id="{1FBD72F1-A42A-46B0-A7F8-CE6A9835826C}" type="slidenum">
              <a:rPr lang="de-DE" smtClean="0"/>
              <a:pPr/>
              <a:t>‹Nr.›</a:t>
            </a:fld>
            <a:endParaRPr lang="de-DE"/>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11" name="Gruppieren 110">
            <a:extLst>
              <a:ext uri="{FF2B5EF4-FFF2-40B4-BE49-F238E27FC236}">
                <a16:creationId xmlns:a16="http://schemas.microsoft.com/office/drawing/2014/main" id="{A18D47CB-C83F-42CE-2E62-3D6D05605C9A}"/>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12" name="Gerader Verbinder 111">
              <a:extLst>
                <a:ext uri="{FF2B5EF4-FFF2-40B4-BE49-F238E27FC236}">
                  <a16:creationId xmlns:a16="http://schemas.microsoft.com/office/drawing/2014/main" id="{3606E6E8-565A-4EA3-97DC-60AF8D1E5F9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0F6256DE-8F8F-08CF-0F80-26DB25653224}"/>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61F45AD2-FAF3-2F94-FAED-D0D41107CE0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18C7D4F5-19AB-4B6B-EDDF-9AA146D90F0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7B1B1191-05E9-7224-F7D6-E47A86A0638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EC780526-E377-241F-F512-87F31E4EAC5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47CA7E2E-D34B-8C00-9B93-7F6644503F5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C4951A20-840C-7322-212E-577C5C1357F4}"/>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97" name="Gerader Verbinder 196">
              <a:extLst>
                <a:ext uri="{FF2B5EF4-FFF2-40B4-BE49-F238E27FC236}">
                  <a16:creationId xmlns:a16="http://schemas.microsoft.com/office/drawing/2014/main" id="{F919F82A-9F90-9AFA-9AA6-C25AF48481B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60E9F867-7D7E-052D-5F6D-20731BF5EE21}"/>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9DF1C4F-8A2F-A428-0A0D-726096817EC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FAA951C7-A55B-633C-4696-791ACAA6EDC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0065F85B-564B-93BB-921F-7287AA187C71}"/>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9431EA9C-9565-1D0D-E792-4D3CFB81BC4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51DF7004-6509-D765-EBDC-D6E30954DB53}"/>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497228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apitel 3">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3277913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descr="Bild füllt die komplette Folie aus, im unteren Bereich Kapitelnummer, Titel und Untertitel, Bild ist änderbar.">
            <a:extLst>
              <a:ext uri="{FF2B5EF4-FFF2-40B4-BE49-F238E27FC236}">
                <a16:creationId xmlns:a16="http://schemas.microsoft.com/office/drawing/2014/main" id="{E2E72487-DC5F-3D9B-6063-5D7F49143C4A}"/>
              </a:ext>
              <a:ext uri="{C183D7F6-B498-43B3-948B-1728B52AA6E4}">
                <adec:decorative xmlns:adec="http://schemas.microsoft.com/office/drawing/2017/decorative" val="0"/>
              </a:ext>
            </a:extLst>
          </p:cNvPr>
          <p:cNvSpPr>
            <a:spLocks noGrp="1"/>
          </p:cNvSpPr>
          <p:nvPr>
            <p:ph type="pic" sz="quarter" idx="13"/>
          </p:nvPr>
        </p:nvSpPr>
        <p:spPr bwMode="gray">
          <a:xfrm>
            <a:off x="1" y="0"/>
            <a:ext cx="12191998" cy="6858000"/>
          </a:xfrm>
          <a:custGeom>
            <a:avLst/>
            <a:gdLst>
              <a:gd name="connsiteX0" fmla="*/ 10764520 w 12191998"/>
              <a:gd name="connsiteY0" fmla="*/ 454511 h 6858000"/>
              <a:gd name="connsiteX1" fmla="*/ 10704520 w 12191998"/>
              <a:gd name="connsiteY1" fmla="*/ 514511 h 6858000"/>
              <a:gd name="connsiteX2" fmla="*/ 10764520 w 12191998"/>
              <a:gd name="connsiteY2" fmla="*/ 574511 h 6858000"/>
              <a:gd name="connsiteX3" fmla="*/ 10824520 w 12191998"/>
              <a:gd name="connsiteY3" fmla="*/ 514511 h 6858000"/>
              <a:gd name="connsiteX4" fmla="*/ 10764520 w 12191998"/>
              <a:gd name="connsiteY4" fmla="*/ 454511 h 6858000"/>
              <a:gd name="connsiteX5" fmla="*/ 11703579 w 12191998"/>
              <a:gd name="connsiteY5" fmla="*/ 338982 h 6858000"/>
              <a:gd name="connsiteX6" fmla="*/ 11807108 w 12191998"/>
              <a:gd name="connsiteY6" fmla="*/ 338982 h 6858000"/>
              <a:gd name="connsiteX7" fmla="*/ 11807108 w 12191998"/>
              <a:gd name="connsiteY7" fmla="*/ 530746 h 6858000"/>
              <a:gd name="connsiteX8" fmla="*/ 11701461 w 12191998"/>
              <a:gd name="connsiteY8" fmla="*/ 530746 h 6858000"/>
              <a:gd name="connsiteX9" fmla="*/ 11637696 w 12191998"/>
              <a:gd name="connsiteY9" fmla="*/ 492629 h 6858000"/>
              <a:gd name="connsiteX10" fmla="*/ 11637696 w 12191998"/>
              <a:gd name="connsiteY10" fmla="*/ 432864 h 6858000"/>
              <a:gd name="connsiteX11" fmla="*/ 11637696 w 12191998"/>
              <a:gd name="connsiteY11" fmla="*/ 383688 h 6858000"/>
              <a:gd name="connsiteX12" fmla="*/ 11703579 w 12191998"/>
              <a:gd name="connsiteY12" fmla="*/ 338982 h 6858000"/>
              <a:gd name="connsiteX13" fmla="*/ 10863343 w 12191998"/>
              <a:gd name="connsiteY13" fmla="*/ 296864 h 6858000"/>
              <a:gd name="connsiteX14" fmla="*/ 10863343 w 12191998"/>
              <a:gd name="connsiteY14" fmla="*/ 572629 h 6858000"/>
              <a:gd name="connsiteX15" fmla="*/ 10913696 w 12191998"/>
              <a:gd name="connsiteY15" fmla="*/ 572629 h 6858000"/>
              <a:gd name="connsiteX16" fmla="*/ 10913696 w 12191998"/>
              <a:gd name="connsiteY16" fmla="*/ 338746 h 6858000"/>
              <a:gd name="connsiteX17" fmla="*/ 11028990 w 12191998"/>
              <a:gd name="connsiteY17" fmla="*/ 338746 h 6858000"/>
              <a:gd name="connsiteX18" fmla="*/ 11028990 w 12191998"/>
              <a:gd name="connsiteY18" fmla="*/ 572629 h 6858000"/>
              <a:gd name="connsiteX19" fmla="*/ 11079578 w 12191998"/>
              <a:gd name="connsiteY19" fmla="*/ 572629 h 6858000"/>
              <a:gd name="connsiteX20" fmla="*/ 11079578 w 12191998"/>
              <a:gd name="connsiteY20" fmla="*/ 338746 h 6858000"/>
              <a:gd name="connsiteX21" fmla="*/ 11156284 w 12191998"/>
              <a:gd name="connsiteY21" fmla="*/ 338746 h 6858000"/>
              <a:gd name="connsiteX22" fmla="*/ 11200520 w 12191998"/>
              <a:gd name="connsiteY22" fmla="*/ 387923 h 6858000"/>
              <a:gd name="connsiteX23" fmla="*/ 11200520 w 12191998"/>
              <a:gd name="connsiteY23" fmla="*/ 572629 h 6858000"/>
              <a:gd name="connsiteX24" fmla="*/ 11250873 w 12191998"/>
              <a:gd name="connsiteY24" fmla="*/ 572629 h 6858000"/>
              <a:gd name="connsiteX25" fmla="*/ 11250873 w 12191998"/>
              <a:gd name="connsiteY25" fmla="*/ 374040 h 6858000"/>
              <a:gd name="connsiteX26" fmla="*/ 11181696 w 12191998"/>
              <a:gd name="connsiteY26" fmla="*/ 296864 h 6858000"/>
              <a:gd name="connsiteX27" fmla="*/ 11351579 w 12191998"/>
              <a:gd name="connsiteY27" fmla="*/ 296864 h 6858000"/>
              <a:gd name="connsiteX28" fmla="*/ 11280755 w 12191998"/>
              <a:gd name="connsiteY28" fmla="*/ 373335 h 6858000"/>
              <a:gd name="connsiteX29" fmla="*/ 11348049 w 12191998"/>
              <a:gd name="connsiteY29" fmla="*/ 452864 h 6858000"/>
              <a:gd name="connsiteX30" fmla="*/ 11467814 w 12191998"/>
              <a:gd name="connsiteY30" fmla="*/ 452864 h 6858000"/>
              <a:gd name="connsiteX31" fmla="*/ 11504520 w 12191998"/>
              <a:gd name="connsiteY31" fmla="*/ 494040 h 6858000"/>
              <a:gd name="connsiteX32" fmla="*/ 11468755 w 12191998"/>
              <a:gd name="connsiteY32" fmla="*/ 530746 h 6858000"/>
              <a:gd name="connsiteX33" fmla="*/ 11285461 w 12191998"/>
              <a:gd name="connsiteY33" fmla="*/ 530746 h 6858000"/>
              <a:gd name="connsiteX34" fmla="*/ 11285461 w 12191998"/>
              <a:gd name="connsiteY34" fmla="*/ 572864 h 6858000"/>
              <a:gd name="connsiteX35" fmla="*/ 11489932 w 12191998"/>
              <a:gd name="connsiteY35" fmla="*/ 572864 h 6858000"/>
              <a:gd name="connsiteX36" fmla="*/ 11555579 w 12191998"/>
              <a:gd name="connsiteY36" fmla="*/ 494511 h 6858000"/>
              <a:gd name="connsiteX37" fmla="*/ 11493226 w 12191998"/>
              <a:gd name="connsiteY37" fmla="*/ 411217 h 6858000"/>
              <a:gd name="connsiteX38" fmla="*/ 11363814 w 12191998"/>
              <a:gd name="connsiteY38" fmla="*/ 411217 h 6858000"/>
              <a:gd name="connsiteX39" fmla="*/ 11331108 w 12191998"/>
              <a:gd name="connsiteY39" fmla="*/ 374511 h 6858000"/>
              <a:gd name="connsiteX40" fmla="*/ 11369226 w 12191998"/>
              <a:gd name="connsiteY40" fmla="*/ 338982 h 6858000"/>
              <a:gd name="connsiteX41" fmla="*/ 11545932 w 12191998"/>
              <a:gd name="connsiteY41" fmla="*/ 338982 h 6858000"/>
              <a:gd name="connsiteX42" fmla="*/ 11545932 w 12191998"/>
              <a:gd name="connsiteY42" fmla="*/ 297099 h 6858000"/>
              <a:gd name="connsiteX43" fmla="*/ 11686167 w 12191998"/>
              <a:gd name="connsiteY43" fmla="*/ 296864 h 6858000"/>
              <a:gd name="connsiteX44" fmla="*/ 11612284 w 12191998"/>
              <a:gd name="connsiteY44" fmla="*/ 313805 h 6858000"/>
              <a:gd name="connsiteX45" fmla="*/ 11586402 w 12191998"/>
              <a:gd name="connsiteY45" fmla="*/ 384393 h 6858000"/>
              <a:gd name="connsiteX46" fmla="*/ 11586402 w 12191998"/>
              <a:gd name="connsiteY46" fmla="*/ 483923 h 6858000"/>
              <a:gd name="connsiteX47" fmla="*/ 11613931 w 12191998"/>
              <a:gd name="connsiteY47" fmla="*/ 558276 h 6858000"/>
              <a:gd name="connsiteX48" fmla="*/ 11686402 w 12191998"/>
              <a:gd name="connsiteY48" fmla="*/ 572629 h 6858000"/>
              <a:gd name="connsiteX49" fmla="*/ 11807108 w 12191998"/>
              <a:gd name="connsiteY49" fmla="*/ 572629 h 6858000"/>
              <a:gd name="connsiteX50" fmla="*/ 11807108 w 12191998"/>
              <a:gd name="connsiteY50" fmla="*/ 583217 h 6858000"/>
              <a:gd name="connsiteX51" fmla="*/ 11779108 w 12191998"/>
              <a:gd name="connsiteY51" fmla="*/ 613099 h 6858000"/>
              <a:gd name="connsiteX52" fmla="*/ 11621696 w 12191998"/>
              <a:gd name="connsiteY52" fmla="*/ 613099 h 6858000"/>
              <a:gd name="connsiteX53" fmla="*/ 11621696 w 12191998"/>
              <a:gd name="connsiteY53" fmla="*/ 657335 h 6858000"/>
              <a:gd name="connsiteX54" fmla="*/ 11795343 w 12191998"/>
              <a:gd name="connsiteY54" fmla="*/ 657335 h 6858000"/>
              <a:gd name="connsiteX55" fmla="*/ 11857226 w 12191998"/>
              <a:gd name="connsiteY55" fmla="*/ 597099 h 6858000"/>
              <a:gd name="connsiteX56" fmla="*/ 11857226 w 12191998"/>
              <a:gd name="connsiteY56" fmla="*/ 296864 h 6858000"/>
              <a:gd name="connsiteX57" fmla="*/ 0 w 12191998"/>
              <a:gd name="connsiteY57" fmla="*/ 0 h 6858000"/>
              <a:gd name="connsiteX58" fmla="*/ 12191998 w 12191998"/>
              <a:gd name="connsiteY58" fmla="*/ 0 h 6858000"/>
              <a:gd name="connsiteX59" fmla="*/ 12191998 w 12191998"/>
              <a:gd name="connsiteY59" fmla="*/ 6858000 h 6858000"/>
              <a:gd name="connsiteX60" fmla="*/ 0 w 12191998"/>
              <a:gd name="connsiteY6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8" h="6858000">
                <a:moveTo>
                  <a:pt x="10764520" y="454511"/>
                </a:moveTo>
                <a:cubicBezTo>
                  <a:pt x="10731344" y="454511"/>
                  <a:pt x="10704520" y="481335"/>
                  <a:pt x="10704520" y="514511"/>
                </a:cubicBezTo>
                <a:cubicBezTo>
                  <a:pt x="10704520" y="547687"/>
                  <a:pt x="10731344" y="574511"/>
                  <a:pt x="10764520" y="574511"/>
                </a:cubicBezTo>
                <a:cubicBezTo>
                  <a:pt x="10797697" y="574511"/>
                  <a:pt x="10824520" y="547687"/>
                  <a:pt x="10824520" y="514511"/>
                </a:cubicBezTo>
                <a:cubicBezTo>
                  <a:pt x="10824520" y="481335"/>
                  <a:pt x="10797697" y="454511"/>
                  <a:pt x="10764520" y="454511"/>
                </a:cubicBezTo>
                <a:close/>
                <a:moveTo>
                  <a:pt x="11703579" y="338982"/>
                </a:moveTo>
                <a:lnTo>
                  <a:pt x="11807108" y="338982"/>
                </a:lnTo>
                <a:lnTo>
                  <a:pt x="11807108" y="530746"/>
                </a:lnTo>
                <a:lnTo>
                  <a:pt x="11701461" y="530746"/>
                </a:lnTo>
                <a:cubicBezTo>
                  <a:pt x="11670167" y="530982"/>
                  <a:pt x="11638637" y="533099"/>
                  <a:pt x="11637696" y="492629"/>
                </a:cubicBezTo>
                <a:cubicBezTo>
                  <a:pt x="11637696" y="490982"/>
                  <a:pt x="11637461" y="476158"/>
                  <a:pt x="11637696" y="432864"/>
                </a:cubicBezTo>
                <a:cubicBezTo>
                  <a:pt x="11637932" y="396158"/>
                  <a:pt x="11637461" y="387452"/>
                  <a:pt x="11637696" y="383688"/>
                </a:cubicBezTo>
                <a:cubicBezTo>
                  <a:pt x="11639343" y="349805"/>
                  <a:pt x="11651814" y="337805"/>
                  <a:pt x="11703579" y="338982"/>
                </a:cubicBezTo>
                <a:close/>
                <a:moveTo>
                  <a:pt x="10863343" y="296864"/>
                </a:moveTo>
                <a:lnTo>
                  <a:pt x="10863343" y="572629"/>
                </a:lnTo>
                <a:lnTo>
                  <a:pt x="10913696" y="572629"/>
                </a:lnTo>
                <a:lnTo>
                  <a:pt x="10913696" y="338746"/>
                </a:lnTo>
                <a:lnTo>
                  <a:pt x="11028990" y="338746"/>
                </a:lnTo>
                <a:lnTo>
                  <a:pt x="11028990" y="572629"/>
                </a:lnTo>
                <a:lnTo>
                  <a:pt x="11079578" y="572629"/>
                </a:lnTo>
                <a:lnTo>
                  <a:pt x="11079578" y="338746"/>
                </a:lnTo>
                <a:lnTo>
                  <a:pt x="11156284" y="338746"/>
                </a:lnTo>
                <a:cubicBezTo>
                  <a:pt x="11182167" y="338746"/>
                  <a:pt x="11200520" y="354276"/>
                  <a:pt x="11200520" y="387923"/>
                </a:cubicBezTo>
                <a:lnTo>
                  <a:pt x="11200520" y="572629"/>
                </a:lnTo>
                <a:lnTo>
                  <a:pt x="11250873" y="572629"/>
                </a:lnTo>
                <a:lnTo>
                  <a:pt x="11250873" y="374040"/>
                </a:lnTo>
                <a:cubicBezTo>
                  <a:pt x="11250873" y="336393"/>
                  <a:pt x="11231579" y="296864"/>
                  <a:pt x="11181696" y="296864"/>
                </a:cubicBezTo>
                <a:close/>
                <a:moveTo>
                  <a:pt x="11351579" y="296864"/>
                </a:moveTo>
                <a:cubicBezTo>
                  <a:pt x="11297226" y="296864"/>
                  <a:pt x="11280755" y="333099"/>
                  <a:pt x="11280755" y="373335"/>
                </a:cubicBezTo>
                <a:cubicBezTo>
                  <a:pt x="11280755" y="416629"/>
                  <a:pt x="11298637" y="452864"/>
                  <a:pt x="11348049" y="452864"/>
                </a:cubicBezTo>
                <a:lnTo>
                  <a:pt x="11467814" y="452864"/>
                </a:lnTo>
                <a:cubicBezTo>
                  <a:pt x="11504520" y="452864"/>
                  <a:pt x="11504520" y="481099"/>
                  <a:pt x="11504520" y="494040"/>
                </a:cubicBezTo>
                <a:cubicBezTo>
                  <a:pt x="11504520" y="506040"/>
                  <a:pt x="11504520" y="530746"/>
                  <a:pt x="11468755" y="530746"/>
                </a:cubicBezTo>
                <a:lnTo>
                  <a:pt x="11285461" y="530746"/>
                </a:lnTo>
                <a:lnTo>
                  <a:pt x="11285461" y="572864"/>
                </a:lnTo>
                <a:lnTo>
                  <a:pt x="11489932" y="572864"/>
                </a:lnTo>
                <a:cubicBezTo>
                  <a:pt x="11540991" y="572864"/>
                  <a:pt x="11555579" y="542982"/>
                  <a:pt x="11555579" y="494511"/>
                </a:cubicBezTo>
                <a:cubicBezTo>
                  <a:pt x="11555579" y="436864"/>
                  <a:pt x="11536755" y="411217"/>
                  <a:pt x="11493226" y="411217"/>
                </a:cubicBezTo>
                <a:lnTo>
                  <a:pt x="11363814" y="411217"/>
                </a:lnTo>
                <a:cubicBezTo>
                  <a:pt x="11331108" y="411217"/>
                  <a:pt x="11331108" y="389099"/>
                  <a:pt x="11331108" y="374511"/>
                </a:cubicBezTo>
                <a:cubicBezTo>
                  <a:pt x="11331108" y="362982"/>
                  <a:pt x="11334402" y="338982"/>
                  <a:pt x="11369226" y="338982"/>
                </a:cubicBezTo>
                <a:lnTo>
                  <a:pt x="11545932" y="338982"/>
                </a:lnTo>
                <a:lnTo>
                  <a:pt x="11545932" y="297099"/>
                </a:lnTo>
                <a:close/>
                <a:moveTo>
                  <a:pt x="11686167" y="296864"/>
                </a:moveTo>
                <a:cubicBezTo>
                  <a:pt x="11641226" y="296864"/>
                  <a:pt x="11624520" y="303923"/>
                  <a:pt x="11612284" y="313805"/>
                </a:cubicBezTo>
                <a:cubicBezTo>
                  <a:pt x="11598873" y="324629"/>
                  <a:pt x="11586637" y="338040"/>
                  <a:pt x="11586402" y="384393"/>
                </a:cubicBezTo>
                <a:lnTo>
                  <a:pt x="11586402" y="483923"/>
                </a:lnTo>
                <a:cubicBezTo>
                  <a:pt x="11586402" y="532864"/>
                  <a:pt x="11600049" y="546746"/>
                  <a:pt x="11613931" y="558276"/>
                </a:cubicBezTo>
                <a:cubicBezTo>
                  <a:pt x="11623343" y="564864"/>
                  <a:pt x="11638873" y="572629"/>
                  <a:pt x="11686402" y="572629"/>
                </a:cubicBezTo>
                <a:lnTo>
                  <a:pt x="11807108" y="572629"/>
                </a:lnTo>
                <a:lnTo>
                  <a:pt x="11807108" y="583217"/>
                </a:lnTo>
                <a:cubicBezTo>
                  <a:pt x="11807108" y="604158"/>
                  <a:pt x="11803108" y="613099"/>
                  <a:pt x="11779108" y="613099"/>
                </a:cubicBezTo>
                <a:lnTo>
                  <a:pt x="11621696" y="613099"/>
                </a:lnTo>
                <a:lnTo>
                  <a:pt x="11621696" y="657335"/>
                </a:lnTo>
                <a:lnTo>
                  <a:pt x="11795343" y="657335"/>
                </a:lnTo>
                <a:cubicBezTo>
                  <a:pt x="11842167" y="657335"/>
                  <a:pt x="11857226" y="636393"/>
                  <a:pt x="11857226" y="597099"/>
                </a:cubicBezTo>
                <a:lnTo>
                  <a:pt x="11857226" y="296864"/>
                </a:lnTo>
                <a:close/>
                <a:moveTo>
                  <a:pt x="0" y="0"/>
                </a:moveTo>
                <a:lnTo>
                  <a:pt x="12191998" y="0"/>
                </a:lnTo>
                <a:lnTo>
                  <a:pt x="12191998"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36" name="Titel 35">
            <a:extLst>
              <a:ext uri="{FF2B5EF4-FFF2-40B4-BE49-F238E27FC236}">
                <a16:creationId xmlns:a16="http://schemas.microsoft.com/office/drawing/2014/main" id="{96C8531C-5AF0-B253-98FC-D9C844FE91DB}"/>
              </a:ext>
            </a:extLst>
          </p:cNvPr>
          <p:cNvSpPr>
            <a:spLocks noGrp="1"/>
          </p:cNvSpPr>
          <p:nvPr>
            <p:ph type="title"/>
          </p:nvPr>
        </p:nvSpPr>
        <p:spPr bwMode="gray">
          <a:xfrm>
            <a:off x="623887" y="3501069"/>
            <a:ext cx="6284912" cy="2591755"/>
          </a:xfrm>
          <a:custGeom>
            <a:avLst/>
            <a:gdLst>
              <a:gd name="connsiteX0" fmla="*/ 0 w 6284912"/>
              <a:gd name="connsiteY0" fmla="*/ 0 h 2522538"/>
              <a:gd name="connsiteX1" fmla="*/ 254000 w 6284912"/>
              <a:gd name="connsiteY1" fmla="*/ 0 h 2522538"/>
              <a:gd name="connsiteX2" fmla="*/ 6030912 w 6284912"/>
              <a:gd name="connsiteY2" fmla="*/ 0 h 2522538"/>
              <a:gd name="connsiteX3" fmla="*/ 6064518 w 6284912"/>
              <a:gd name="connsiteY3" fmla="*/ 0 h 2522538"/>
              <a:gd name="connsiteX4" fmla="*/ 6284912 w 6284912"/>
              <a:gd name="connsiteY4" fmla="*/ 220394 h 2522538"/>
              <a:gd name="connsiteX5" fmla="*/ 6284912 w 6284912"/>
              <a:gd name="connsiteY5" fmla="*/ 2522538 h 2522538"/>
              <a:gd name="connsiteX6" fmla="*/ 6030912 w 6284912"/>
              <a:gd name="connsiteY6" fmla="*/ 2522538 h 2522538"/>
              <a:gd name="connsiteX7" fmla="*/ 254000 w 6284912"/>
              <a:gd name="connsiteY7" fmla="*/ 2522538 h 2522538"/>
              <a:gd name="connsiteX8" fmla="*/ 220394 w 6284912"/>
              <a:gd name="connsiteY8" fmla="*/ 2522538 h 2522538"/>
              <a:gd name="connsiteX9" fmla="*/ 0 w 6284912"/>
              <a:gd name="connsiteY9"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4912" h="2522538">
                <a:moveTo>
                  <a:pt x="0" y="0"/>
                </a:moveTo>
                <a:lnTo>
                  <a:pt x="254000" y="0"/>
                </a:lnTo>
                <a:lnTo>
                  <a:pt x="6030912" y="0"/>
                </a:lnTo>
                <a:lnTo>
                  <a:pt x="6064518" y="0"/>
                </a:lnTo>
                <a:cubicBezTo>
                  <a:pt x="6186238" y="0"/>
                  <a:pt x="6284912" y="98674"/>
                  <a:pt x="6284912" y="220394"/>
                </a:cubicBezTo>
                <a:lnTo>
                  <a:pt x="6284912" y="2522538"/>
                </a:lnTo>
                <a:lnTo>
                  <a:pt x="6030912" y="2522538"/>
                </a:lnTo>
                <a:lnTo>
                  <a:pt x="254000" y="2522538"/>
                </a:lnTo>
                <a:lnTo>
                  <a:pt x="220394" y="2522538"/>
                </a:lnTo>
                <a:cubicBezTo>
                  <a:pt x="98674" y="2522538"/>
                  <a:pt x="0" y="2423864"/>
                  <a:pt x="0" y="2302144"/>
                </a:cubicBezTo>
                <a:close/>
              </a:path>
            </a:pathLst>
          </a:custGeom>
          <a:solidFill>
            <a:schemeClr val="bg1"/>
          </a:solidFill>
        </p:spPr>
        <p:txBody>
          <a:bodyPr vert="horz" wrap="square" lIns="1008000" tIns="216000" rIns="288000" bIns="216000" anchor="t">
            <a:noAutofit/>
          </a:bodyPr>
          <a:lstStyle>
            <a:lvl1pPr rtl="0">
              <a:spcAft>
                <a:spcPts val="600"/>
              </a:spcAft>
              <a:defRPr sz="3600">
                <a:solidFill>
                  <a:schemeClr val="accent1"/>
                </a:solidFill>
              </a:defRPr>
            </a:lvl1pPr>
          </a:lstStyle>
          <a:p>
            <a:r>
              <a:rPr lang="de-DE"/>
              <a:t>Mastertitelformat bearbeiten</a:t>
            </a:r>
          </a:p>
        </p:txBody>
      </p:sp>
      <p:sp>
        <p:nvSpPr>
          <p:cNvPr id="3" name="Textplatzhalter 2">
            <a:extLst>
              <a:ext uri="{FF2B5EF4-FFF2-40B4-BE49-F238E27FC236}">
                <a16:creationId xmlns:a16="http://schemas.microsoft.com/office/drawing/2014/main" id="{FBE249F0-AC7A-6A7E-2976-07517C51C45C}"/>
              </a:ext>
            </a:extLst>
          </p:cNvPr>
          <p:cNvSpPr>
            <a:spLocks noGrp="1"/>
          </p:cNvSpPr>
          <p:nvPr>
            <p:ph type="body" sz="quarter" idx="17" hasCustomPrompt="1"/>
          </p:nvPr>
        </p:nvSpPr>
        <p:spPr>
          <a:xfrm>
            <a:off x="623887" y="3501070"/>
            <a:ext cx="800100" cy="772107"/>
          </a:xfrm>
        </p:spPr>
        <p:txBody>
          <a:bodyPr lIns="288000" tIns="216000">
            <a:noAutofit/>
          </a:bodyPr>
          <a:lstStyle>
            <a:lvl1pPr algn="r">
              <a:defRPr sz="3600" b="1">
                <a:solidFill>
                  <a:schemeClr val="accent1"/>
                </a:solidFill>
                <a:latin typeface="+mj-lt"/>
              </a:defRPr>
            </a:lvl1pPr>
          </a:lstStyle>
          <a:p>
            <a:pPr lvl="0"/>
            <a:r>
              <a:rPr lang="de-DE"/>
              <a:t>01</a:t>
            </a:r>
          </a:p>
        </p:txBody>
      </p:sp>
      <p:sp>
        <p:nvSpPr>
          <p:cNvPr id="30" name="Fußzeilenplatzhalter 29">
            <a:extLst>
              <a:ext uri="{FF2B5EF4-FFF2-40B4-BE49-F238E27FC236}">
                <a16:creationId xmlns:a16="http://schemas.microsoft.com/office/drawing/2014/main" id="{AB3B4481-ACE7-EC01-A2C2-1A6C55C2CB1F}"/>
              </a:ext>
            </a:extLst>
          </p:cNvPr>
          <p:cNvSpPr>
            <a:spLocks noGrp="1"/>
          </p:cNvSpPr>
          <p:nvPr>
            <p:ph type="ftr" sz="quarter" idx="18"/>
          </p:nvPr>
        </p:nvSpPr>
        <p:spPr/>
        <p:txBody>
          <a:bodyPr/>
          <a:lstStyle/>
          <a:p>
            <a:r>
              <a:rPr lang="de-DE"/>
              <a:t>© msg systems ag | 2026 | msg-Unternehmenspräsentation</a:t>
            </a:r>
            <a:endParaRPr lang="de-DE" dirty="0"/>
          </a:p>
        </p:txBody>
      </p:sp>
      <p:sp>
        <p:nvSpPr>
          <p:cNvPr id="73" name="Foliennummernplatzhalter 72">
            <a:extLst>
              <a:ext uri="{FF2B5EF4-FFF2-40B4-BE49-F238E27FC236}">
                <a16:creationId xmlns:a16="http://schemas.microsoft.com/office/drawing/2014/main" id="{687FF98D-9179-89D6-B2D1-19E157813367}"/>
              </a:ext>
            </a:extLst>
          </p:cNvPr>
          <p:cNvSpPr>
            <a:spLocks noGrp="1"/>
          </p:cNvSpPr>
          <p:nvPr>
            <p:ph type="sldNum" sz="quarter" idx="19"/>
          </p:nvPr>
        </p:nvSpPr>
        <p:spPr/>
        <p:txBody>
          <a:bodyPr/>
          <a:lstStyle/>
          <a:p>
            <a:fld id="{1FBD72F1-A42A-46B0-A7F8-CE6A9835826C}" type="slidenum">
              <a:rPr lang="de-DE" smtClean="0"/>
              <a:pPr/>
              <a:t>‹Nr.›</a:t>
            </a:fld>
            <a:endParaRPr lang="de-DE"/>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74" name="Gruppieren 73">
            <a:extLst>
              <a:ext uri="{FF2B5EF4-FFF2-40B4-BE49-F238E27FC236}">
                <a16:creationId xmlns:a16="http://schemas.microsoft.com/office/drawing/2014/main" id="{664E7908-DBD1-F7A9-1BFB-CB99F440DEB7}"/>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85" name="Gerader Verbinder 84">
              <a:extLst>
                <a:ext uri="{FF2B5EF4-FFF2-40B4-BE49-F238E27FC236}">
                  <a16:creationId xmlns:a16="http://schemas.microsoft.com/office/drawing/2014/main" id="{3569A712-8A5D-61A9-A4E2-A66D7DF4136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5F4C2EB6-5306-EED4-C63B-B258B284337D}"/>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2" name="Gerader Verbinder 111">
              <a:extLst>
                <a:ext uri="{FF2B5EF4-FFF2-40B4-BE49-F238E27FC236}">
                  <a16:creationId xmlns:a16="http://schemas.microsoft.com/office/drawing/2014/main" id="{BF5A0AFC-C635-255F-B34C-9740433A2AE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D8F9C328-FF3B-D652-2F1B-495F008A1A9D}"/>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B57D5572-CC62-B60E-67F7-1F2F25BEDBD3}"/>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D32CF0AB-B445-A814-7D1B-0BFB0DAC7E7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0A7BCC33-CF5C-1616-52F2-884E1C277F5D}"/>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5C834498-9640-5918-501F-1DE7C8A09F26}"/>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95" name="Gerader Verbinder 194">
              <a:extLst>
                <a:ext uri="{FF2B5EF4-FFF2-40B4-BE49-F238E27FC236}">
                  <a16:creationId xmlns:a16="http://schemas.microsoft.com/office/drawing/2014/main" id="{FB855145-B12E-78F7-DA5F-2449FF7C3C6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E3A21647-9DBA-0807-48F2-78AFC1BA8F36}"/>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BA4216C1-1CC0-B713-4472-BBA62EB34542}"/>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156CA3E9-87F7-1EAC-37AB-01022F50DA8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D026C257-E2CE-EA9B-2EE8-240F9342FF3D}"/>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43532555-4104-CDAA-BB37-3521FAA2EA2B}"/>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091E8425-E3A4-9374-EBB5-B12E40FA865A}"/>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96202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508901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3" name="Inhaltsplatzhalter 2">
            <a:extLst>
              <a:ext uri="{FF2B5EF4-FFF2-40B4-BE49-F238E27FC236}">
                <a16:creationId xmlns:a16="http://schemas.microsoft.com/office/drawing/2014/main" id="{44D960F1-7AD1-ECFD-1961-13F488B14822}"/>
              </a:ext>
            </a:extLst>
          </p:cNvPr>
          <p:cNvSpPr>
            <a:spLocks noGrp="1"/>
          </p:cNvSpPr>
          <p:nvPr>
            <p:ph idx="1"/>
          </p:nvPr>
        </p:nvSpPr>
        <p:spPr bwMode="gray">
          <a:xfrm>
            <a:off x="623888" y="1773239"/>
            <a:ext cx="11233150" cy="4319586"/>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6 | msg-Unternehmenspräsentation</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31038198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11137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7239418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7DE90A7-8267-18E1-E5C9-DF0778EB22B2}"/>
              </a:ext>
            </a:extLst>
          </p:cNvPr>
          <p:cNvGraphicFramePr>
            <a:graphicFrameLocks noChangeAspect="1"/>
          </p:cNvGraphicFramePr>
          <p:nvPr userDrawn="1">
            <p:custDataLst>
              <p:tags r:id="rId29"/>
            </p:custDataLst>
            <p:extLst>
              <p:ext uri="{D42A27DB-BD31-4B8C-83A1-F6EECF244321}">
                <p14:modId xmlns:p14="http://schemas.microsoft.com/office/powerpoint/2010/main" val="92528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0" imgW="306" imgH="306" progId="TCLayout.ActiveDocument.1">
                  <p:embed/>
                </p:oleObj>
              </mc:Choice>
              <mc:Fallback>
                <p:oleObj name="think-cell Folie" r:id="rId30" imgW="306" imgH="306" progId="TCLayout.ActiveDocument.1">
                  <p:embed/>
                  <p:pic>
                    <p:nvPicPr>
                      <p:cNvPr id="10" name="think-cell data - do not delete" hidden="1">
                        <a:extLst>
                          <a:ext uri="{FF2B5EF4-FFF2-40B4-BE49-F238E27FC236}">
                            <a16:creationId xmlns:a16="http://schemas.microsoft.com/office/drawing/2014/main" id="{E7DE90A7-8267-18E1-E5C9-DF0778EB22B2}"/>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71DEA57D-0933-330D-1A21-BBBCBFBC2C04}"/>
              </a:ext>
            </a:extLst>
          </p:cNvPr>
          <p:cNvSpPr>
            <a:spLocks noGrp="1"/>
          </p:cNvSpPr>
          <p:nvPr>
            <p:ph type="title"/>
          </p:nvPr>
        </p:nvSpPr>
        <p:spPr bwMode="gray">
          <a:xfrm>
            <a:off x="623888" y="620713"/>
            <a:ext cx="9488833" cy="738664"/>
          </a:xfrm>
          <a:prstGeom prst="rect">
            <a:avLst/>
          </a:prstGeom>
        </p:spPr>
        <p:txBody>
          <a:bodyPr vert="horz" lIns="0" tIns="0" rIns="0" bIns="0" rtlCol="0" anchor="t">
            <a:noAutofit/>
          </a:bodyPr>
          <a:lstStyle/>
          <a:p>
            <a:r>
              <a:rPr lang="de-DE"/>
              <a:t>Mastertitelformat bearbeiten</a:t>
            </a:r>
          </a:p>
        </p:txBody>
      </p:sp>
      <p:sp>
        <p:nvSpPr>
          <p:cNvPr id="3" name="Textplatzhalter 2">
            <a:extLst>
              <a:ext uri="{FF2B5EF4-FFF2-40B4-BE49-F238E27FC236}">
                <a16:creationId xmlns:a16="http://schemas.microsoft.com/office/drawing/2014/main" id="{793217BA-CEB0-14EF-174A-68F190647F8C}"/>
              </a:ext>
            </a:extLst>
          </p:cNvPr>
          <p:cNvSpPr>
            <a:spLocks noGrp="1"/>
          </p:cNvSpPr>
          <p:nvPr>
            <p:ph type="body" idx="1"/>
          </p:nvPr>
        </p:nvSpPr>
        <p:spPr bwMode="gray">
          <a:xfrm>
            <a:off x="623888" y="1773239"/>
            <a:ext cx="11233150" cy="4319586"/>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a:extLst>
              <a:ext uri="{FF2B5EF4-FFF2-40B4-BE49-F238E27FC236}">
                <a16:creationId xmlns:a16="http://schemas.microsoft.com/office/drawing/2014/main" id="{56803C33-DFCA-0187-4058-79FBA6BBAD89}"/>
              </a:ext>
              <a:ext uri="{C183D7F6-B498-43B3-948B-1728B52AA6E4}">
                <adec:decorative xmlns:adec="http://schemas.microsoft.com/office/drawing/2017/decorative" val="0"/>
              </a:ext>
            </a:extLst>
          </p:cNvPr>
          <p:cNvSpPr>
            <a:spLocks noGrp="1"/>
          </p:cNvSpPr>
          <p:nvPr>
            <p:ph type="ftr" sz="quarter" idx="3"/>
          </p:nvPr>
        </p:nvSpPr>
        <p:spPr bwMode="gray">
          <a:xfrm>
            <a:off x="655780" y="6443762"/>
            <a:ext cx="4968501" cy="153888"/>
          </a:xfrm>
          <a:prstGeom prst="rect">
            <a:avLst/>
          </a:prstGeom>
        </p:spPr>
        <p:txBody>
          <a:bodyPr vert="horz" lIns="0" tIns="0" rIns="0" bIns="0" rtlCol="0" anchor="ctr">
            <a:noAutofit/>
          </a:bodyPr>
          <a:lstStyle>
            <a:lvl1pPr algn="l" rtl="0">
              <a:defRPr sz="1000">
                <a:solidFill>
                  <a:schemeClr val="tx1"/>
                </a:solidFill>
              </a:defRPr>
            </a:lvl1pPr>
          </a:lstStyle>
          <a:p>
            <a:r>
              <a:rPr lang="de-DE"/>
              <a:t>© msg systems ag | 2026 | msg-Unternehmenspräsentation</a:t>
            </a:r>
            <a:endParaRPr lang="de-DE" dirty="0"/>
          </a:p>
        </p:txBody>
      </p:sp>
      <p:sp>
        <p:nvSpPr>
          <p:cNvPr id="6" name="Foliennummernplatzhalter 5">
            <a:extLst>
              <a:ext uri="{FF2B5EF4-FFF2-40B4-BE49-F238E27FC236}">
                <a16:creationId xmlns:a16="http://schemas.microsoft.com/office/drawing/2014/main" id="{80A50D41-4A4A-3A00-D066-0137414EC1DD}"/>
              </a:ext>
            </a:extLst>
          </p:cNvPr>
          <p:cNvSpPr>
            <a:spLocks noGrp="1"/>
          </p:cNvSpPr>
          <p:nvPr>
            <p:ph type="sldNum" sz="quarter" idx="4"/>
          </p:nvPr>
        </p:nvSpPr>
        <p:spPr bwMode="gray">
          <a:xfrm>
            <a:off x="11358563" y="6443762"/>
            <a:ext cx="431620" cy="153888"/>
          </a:xfrm>
          <a:prstGeom prst="rect">
            <a:avLst/>
          </a:prstGeom>
        </p:spPr>
        <p:txBody>
          <a:bodyPr vert="horz" lIns="0" tIns="0" rIns="0" bIns="0" rtlCol="0" anchor="ctr">
            <a:noAutofit/>
          </a:bodyPr>
          <a:lstStyle>
            <a:lvl1pPr algn="r" rtl="0">
              <a:defRPr sz="1000">
                <a:solidFill>
                  <a:schemeClr val="tx1"/>
                </a:solidFill>
              </a:defRPr>
            </a:lvl1pPr>
          </a:lstStyle>
          <a:p>
            <a:fld id="{1FBD72F1-A42A-46B0-A7F8-CE6A9835826C}" type="slidenum">
              <a:rPr lang="de-DE" smtClean="0"/>
              <a:pPr/>
              <a:t>‹Nr.›</a:t>
            </a:fld>
            <a:endParaRPr lang="de-DE"/>
          </a:p>
        </p:txBody>
      </p:sp>
      <p:pic>
        <p:nvPicPr>
          <p:cNvPr id="24" name="Grafik 23">
            <a:extLst>
              <a:ext uri="{FF2B5EF4-FFF2-40B4-BE49-F238E27FC236}">
                <a16:creationId xmlns:a16="http://schemas.microsoft.com/office/drawing/2014/main" id="{E593CF5D-66D3-4942-D679-8C05C8B4D194}"/>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2"/>
              </a:ext>
            </a:extLst>
          </a:blip>
          <a:stretch>
            <a:fillRect/>
          </a:stretch>
        </p:blipFill>
        <p:spPr bwMode="gray">
          <a:xfrm>
            <a:off x="10704521" y="296864"/>
            <a:ext cx="1152942" cy="360000"/>
          </a:xfrm>
          <a:prstGeom prst="rect">
            <a:avLst/>
          </a:prstGeom>
        </p:spPr>
      </p:pic>
      <p:grpSp>
        <p:nvGrpSpPr>
          <p:cNvPr id="51" name="Gruppieren 50">
            <a:extLst>
              <a:ext uri="{FF2B5EF4-FFF2-40B4-BE49-F238E27FC236}">
                <a16:creationId xmlns:a16="http://schemas.microsoft.com/office/drawing/2014/main" id="{21108446-39FE-245F-79D9-41783CB89BEE}"/>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47AB9056-763D-CF2A-3835-E966E55E569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7D0FFE5-048B-3A95-0677-A53C84D9238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4" name="Gruppieren 53">
            <a:extLst>
              <a:ext uri="{FF2B5EF4-FFF2-40B4-BE49-F238E27FC236}">
                <a16:creationId xmlns:a16="http://schemas.microsoft.com/office/drawing/2014/main" id="{91A657DD-1BA7-D30E-D368-3E6D9BCC44CE}"/>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55" name="Gerader Verbinder 54">
              <a:extLst>
                <a:ext uri="{FF2B5EF4-FFF2-40B4-BE49-F238E27FC236}">
                  <a16:creationId xmlns:a16="http://schemas.microsoft.com/office/drawing/2014/main" id="{2760F9A3-85A8-DE29-B9FD-358213D43B5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BEC9F7A1-C306-6D42-876F-D6EB95AEB9B4}"/>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7DC65ECE-BB1C-B2E8-220C-45A0BC4588B9}"/>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1A9E2C52-F86C-3C7B-9CE6-DDAF8AF98E2D}"/>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664211CC-89CB-3EDC-2AB4-75C908837F21}"/>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5B340371-035E-1547-C4D8-0ADB3A264B72}"/>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0DF5521C-891E-945F-5F9D-47E65D93F574}"/>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D7D20B56-359C-61C7-0969-27A1EB3C1F75}"/>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9AEAE70D-767B-D3C8-A4F3-01CAEECA405D}"/>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3D599645-FF85-81D7-A522-CFECE2EFA75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5" name="Gruppieren 64">
            <a:extLst>
              <a:ext uri="{FF2B5EF4-FFF2-40B4-BE49-F238E27FC236}">
                <a16:creationId xmlns:a16="http://schemas.microsoft.com/office/drawing/2014/main" id="{5C6E8BDB-4BA9-0655-E433-75329E1034EE}"/>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66" name="Gerader Verbinder 65">
              <a:extLst>
                <a:ext uri="{FF2B5EF4-FFF2-40B4-BE49-F238E27FC236}">
                  <a16:creationId xmlns:a16="http://schemas.microsoft.com/office/drawing/2014/main" id="{41D143D4-1273-746F-FC09-13C960C4D09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0ACFC045-DDBE-F783-CA7B-919618C51C7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298D9EB8-D152-7419-38A8-D10BE1A1364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1F5E32CE-7C39-2482-9352-12138BCC7193}"/>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763494F2-D9AF-07E9-74E4-C451B89031A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44AF45AE-F439-5CB9-C87F-677648698555}"/>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10CB1B86-91C0-2AE0-1834-58FEEA66CCB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7463193"/>
      </p:ext>
    </p:extLst>
  </p:cSld>
  <p:clrMap bg1="lt1" tx1="dk1" bg2="lt2" tx2="dk2" accent1="accent1" accent2="accent2" accent3="accent3" accent4="accent4" accent5="accent5" accent6="accent6" hlink="hlink" folHlink="folHlink"/>
  <p:sldLayoutIdLst>
    <p:sldLayoutId id="2147483649" r:id="rId1"/>
    <p:sldLayoutId id="2147483686" r:id="rId2"/>
    <p:sldLayoutId id="2147483693" r:id="rId3"/>
    <p:sldLayoutId id="2147483676" r:id="rId4"/>
    <p:sldLayoutId id="2147483651" r:id="rId5"/>
    <p:sldLayoutId id="2147483687" r:id="rId6"/>
    <p:sldLayoutId id="2147483690" r:id="rId7"/>
    <p:sldLayoutId id="2147483650" r:id="rId8"/>
    <p:sldLayoutId id="2147483683" r:id="rId9"/>
    <p:sldLayoutId id="2147483698" r:id="rId10"/>
    <p:sldLayoutId id="2147483661" r:id="rId11"/>
    <p:sldLayoutId id="2147483664" r:id="rId12"/>
    <p:sldLayoutId id="2147483662" r:id="rId13"/>
    <p:sldLayoutId id="2147483663" r:id="rId14"/>
    <p:sldLayoutId id="2147483665" r:id="rId15"/>
    <p:sldLayoutId id="2147483688" r:id="rId16"/>
    <p:sldLayoutId id="2147483691" r:id="rId17"/>
    <p:sldLayoutId id="2147483689" r:id="rId18"/>
    <p:sldLayoutId id="2147483692" r:id="rId19"/>
    <p:sldLayoutId id="2147483666" r:id="rId20"/>
    <p:sldLayoutId id="2147483684" r:id="rId21"/>
    <p:sldLayoutId id="2147483685" r:id="rId22"/>
    <p:sldLayoutId id="2147483667" r:id="rId23"/>
    <p:sldLayoutId id="2147483669" r:id="rId24"/>
    <p:sldLayoutId id="2147483670" r:id="rId25"/>
    <p:sldLayoutId id="2147483671" r:id="rId26"/>
    <p:sldLayoutId id="2147483697" r:id="rId27"/>
  </p:sldLayoutIdLst>
  <p:hf hdr="0" dt="0"/>
  <p:txStyles>
    <p:title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p:titleStyle>
    <p:bodyStyle>
      <a:lvl1pPr marL="0" indent="0" algn="l" defTabSz="914400" rtl="0" eaLnBrk="1" latinLnBrk="0" hangingPunct="1">
        <a:lnSpc>
          <a:spcPct val="10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391" userDrawn="1">
          <p15:clr>
            <a:srgbClr val="F26B43"/>
          </p15:clr>
        </p15:guide>
        <p15:guide id="5" orient="horz" pos="4156" userDrawn="1">
          <p15:clr>
            <a:srgbClr val="F26B43"/>
          </p15:clr>
        </p15:guide>
        <p15:guide id="6" orient="horz" pos="3974" userDrawn="1">
          <p15:clr>
            <a:srgbClr val="F26B43"/>
          </p15:clr>
        </p15:guide>
        <p15:guide id="7" orient="horz" pos="3838" userDrawn="1">
          <p15:clr>
            <a:srgbClr val="F26B43"/>
          </p15:clr>
        </p15:guide>
        <p15:guide id="8" orient="horz" pos="1117" userDrawn="1">
          <p15:clr>
            <a:srgbClr val="F26B43"/>
          </p15:clr>
        </p15:guide>
        <p15:guide id="9" pos="7469" userDrawn="1">
          <p15:clr>
            <a:srgbClr val="F26B43"/>
          </p15:clr>
        </p15:guide>
        <p15:guide id="10" pos="393" userDrawn="1">
          <p15:clr>
            <a:srgbClr val="F26B43"/>
          </p15:clr>
        </p15:guide>
        <p15:guide id="11" orient="horz" pos="858" userDrawn="1">
          <p15:clr>
            <a:srgbClr val="F26B43"/>
          </p15:clr>
        </p15:guide>
        <p15:guide id="12" orient="horz" pos="18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24.png"/><Relationship Id="rId18" Type="http://schemas.openxmlformats.org/officeDocument/2006/relationships/image" Target="../media/image29.jpeg"/><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image" Target="../media/image23.png"/><Relationship Id="rId17" Type="http://schemas.openxmlformats.org/officeDocument/2006/relationships/image" Target="../media/image28.png"/><Relationship Id="rId2" Type="http://schemas.openxmlformats.org/officeDocument/2006/relationships/tags" Target="../tags/tag40.xml"/><Relationship Id="rId16" Type="http://schemas.openxmlformats.org/officeDocument/2006/relationships/image" Target="../media/image27.jpeg"/><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image" Target="../media/image1.emf"/><Relationship Id="rId5" Type="http://schemas.openxmlformats.org/officeDocument/2006/relationships/tags" Target="../tags/tag43.xml"/><Relationship Id="rId15" Type="http://schemas.openxmlformats.org/officeDocument/2006/relationships/image" Target="../media/image26.png"/><Relationship Id="rId10" Type="http://schemas.openxmlformats.org/officeDocument/2006/relationships/oleObject" Target="../embeddings/oleObject15.bin"/><Relationship Id="rId4" Type="http://schemas.openxmlformats.org/officeDocument/2006/relationships/tags" Target="../tags/tag42.xml"/><Relationship Id="rId9" Type="http://schemas.openxmlformats.org/officeDocument/2006/relationships/notesSlide" Target="../notesSlides/notesSlide10.xml"/><Relationship Id="rId14" Type="http://schemas.openxmlformats.org/officeDocument/2006/relationships/image" Target="../media/image25.png"/></Relationships>
</file>

<file path=ppt/slides/_rels/slide11.xml.rels><?xml version="1.0" encoding="UTF-8" standalone="yes"?>
<Relationships xmlns="http://schemas.openxmlformats.org/package/2006/relationships"><Relationship Id="rId26" Type="http://schemas.openxmlformats.org/officeDocument/2006/relationships/tags" Target="../tags/tag71.xml"/><Relationship Id="rId21" Type="http://schemas.openxmlformats.org/officeDocument/2006/relationships/tags" Target="../tags/tag66.xml"/><Relationship Id="rId42" Type="http://schemas.openxmlformats.org/officeDocument/2006/relationships/tags" Target="../tags/tag87.xml"/><Relationship Id="rId47" Type="http://schemas.openxmlformats.org/officeDocument/2006/relationships/oleObject" Target="../embeddings/oleObject15.bin"/><Relationship Id="rId63" Type="http://schemas.openxmlformats.org/officeDocument/2006/relationships/image" Target="../media/image44.svg"/><Relationship Id="rId68" Type="http://schemas.openxmlformats.org/officeDocument/2006/relationships/image" Target="../media/image49.svg"/><Relationship Id="rId84" Type="http://schemas.openxmlformats.org/officeDocument/2006/relationships/image" Target="../media/image64.jpeg"/><Relationship Id="rId16" Type="http://schemas.openxmlformats.org/officeDocument/2006/relationships/tags" Target="../tags/tag61.xml"/><Relationship Id="rId11" Type="http://schemas.openxmlformats.org/officeDocument/2006/relationships/tags" Target="../tags/tag56.xml"/><Relationship Id="rId32" Type="http://schemas.openxmlformats.org/officeDocument/2006/relationships/tags" Target="../tags/tag77.xml"/><Relationship Id="rId37" Type="http://schemas.openxmlformats.org/officeDocument/2006/relationships/tags" Target="../tags/tag82.xml"/><Relationship Id="rId53" Type="http://schemas.openxmlformats.org/officeDocument/2006/relationships/image" Target="../media/image34.svg"/><Relationship Id="rId58" Type="http://schemas.openxmlformats.org/officeDocument/2006/relationships/image" Target="../media/image39.svg"/><Relationship Id="rId74" Type="http://schemas.openxmlformats.org/officeDocument/2006/relationships/image" Target="../media/image55.svg"/><Relationship Id="rId79" Type="http://schemas.openxmlformats.org/officeDocument/2006/relationships/image" Target="../media/image59.png"/><Relationship Id="rId5" Type="http://schemas.openxmlformats.org/officeDocument/2006/relationships/tags" Target="../tags/tag50.xml"/><Relationship Id="rId19" Type="http://schemas.openxmlformats.org/officeDocument/2006/relationships/tags" Target="../tags/tag64.xml"/><Relationship Id="rId14" Type="http://schemas.openxmlformats.org/officeDocument/2006/relationships/tags" Target="../tags/tag59.xml"/><Relationship Id="rId22" Type="http://schemas.openxmlformats.org/officeDocument/2006/relationships/tags" Target="../tags/tag67.xml"/><Relationship Id="rId27" Type="http://schemas.openxmlformats.org/officeDocument/2006/relationships/tags" Target="../tags/tag72.xml"/><Relationship Id="rId30" Type="http://schemas.openxmlformats.org/officeDocument/2006/relationships/tags" Target="../tags/tag75.xml"/><Relationship Id="rId35" Type="http://schemas.openxmlformats.org/officeDocument/2006/relationships/tags" Target="../tags/tag80.xml"/><Relationship Id="rId43" Type="http://schemas.openxmlformats.org/officeDocument/2006/relationships/tags" Target="../tags/tag88.xml"/><Relationship Id="rId48" Type="http://schemas.openxmlformats.org/officeDocument/2006/relationships/image" Target="../media/image1.emf"/><Relationship Id="rId56" Type="http://schemas.openxmlformats.org/officeDocument/2006/relationships/image" Target="../media/image37.jpeg"/><Relationship Id="rId64" Type="http://schemas.openxmlformats.org/officeDocument/2006/relationships/image" Target="../media/image45.svg"/><Relationship Id="rId69" Type="http://schemas.openxmlformats.org/officeDocument/2006/relationships/image" Target="../media/image50.svg"/><Relationship Id="rId77" Type="http://schemas.openxmlformats.org/officeDocument/2006/relationships/image" Target="../media/image58.png"/><Relationship Id="rId8" Type="http://schemas.openxmlformats.org/officeDocument/2006/relationships/tags" Target="../tags/tag53.xml"/><Relationship Id="rId51" Type="http://schemas.openxmlformats.org/officeDocument/2006/relationships/image" Target="../media/image32.jpeg"/><Relationship Id="rId72" Type="http://schemas.openxmlformats.org/officeDocument/2006/relationships/image" Target="../media/image53.jpeg"/><Relationship Id="rId80" Type="http://schemas.openxmlformats.org/officeDocument/2006/relationships/image" Target="../media/image60.svg"/><Relationship Id="rId85" Type="http://schemas.openxmlformats.org/officeDocument/2006/relationships/image" Target="../media/image29.jpeg"/><Relationship Id="rId3" Type="http://schemas.openxmlformats.org/officeDocument/2006/relationships/tags" Target="../tags/tag48.xml"/><Relationship Id="rId12" Type="http://schemas.openxmlformats.org/officeDocument/2006/relationships/tags" Target="../tags/tag57.xml"/><Relationship Id="rId17" Type="http://schemas.openxmlformats.org/officeDocument/2006/relationships/tags" Target="../tags/tag62.xml"/><Relationship Id="rId25" Type="http://schemas.openxmlformats.org/officeDocument/2006/relationships/tags" Target="../tags/tag70.xml"/><Relationship Id="rId33" Type="http://schemas.openxmlformats.org/officeDocument/2006/relationships/tags" Target="../tags/tag78.xml"/><Relationship Id="rId38" Type="http://schemas.openxmlformats.org/officeDocument/2006/relationships/tags" Target="../tags/tag83.xml"/><Relationship Id="rId46" Type="http://schemas.openxmlformats.org/officeDocument/2006/relationships/notesSlide" Target="../notesSlides/notesSlide11.xml"/><Relationship Id="rId59" Type="http://schemas.openxmlformats.org/officeDocument/2006/relationships/image" Target="../media/image40.svg"/><Relationship Id="rId67" Type="http://schemas.openxmlformats.org/officeDocument/2006/relationships/image" Target="../media/image48.svg"/><Relationship Id="rId20" Type="http://schemas.openxmlformats.org/officeDocument/2006/relationships/tags" Target="../tags/tag65.xml"/><Relationship Id="rId41" Type="http://schemas.openxmlformats.org/officeDocument/2006/relationships/tags" Target="../tags/tag86.xml"/><Relationship Id="rId54" Type="http://schemas.openxmlformats.org/officeDocument/2006/relationships/image" Target="../media/image35.png"/><Relationship Id="rId62" Type="http://schemas.openxmlformats.org/officeDocument/2006/relationships/image" Target="../media/image43.svg"/><Relationship Id="rId70" Type="http://schemas.openxmlformats.org/officeDocument/2006/relationships/image" Target="../media/image51.jpeg"/><Relationship Id="rId75" Type="http://schemas.openxmlformats.org/officeDocument/2006/relationships/image" Target="../media/image56.png"/><Relationship Id="rId83" Type="http://schemas.openxmlformats.org/officeDocument/2006/relationships/image" Target="../media/image63.svg"/><Relationship Id="rId1" Type="http://schemas.openxmlformats.org/officeDocument/2006/relationships/tags" Target="../tags/tag46.xml"/><Relationship Id="rId6" Type="http://schemas.openxmlformats.org/officeDocument/2006/relationships/tags" Target="../tags/tag51.xml"/><Relationship Id="rId15" Type="http://schemas.openxmlformats.org/officeDocument/2006/relationships/tags" Target="../tags/tag60.xml"/><Relationship Id="rId23" Type="http://schemas.openxmlformats.org/officeDocument/2006/relationships/tags" Target="../tags/tag68.xml"/><Relationship Id="rId28" Type="http://schemas.openxmlformats.org/officeDocument/2006/relationships/tags" Target="../tags/tag73.xml"/><Relationship Id="rId36" Type="http://schemas.openxmlformats.org/officeDocument/2006/relationships/tags" Target="../tags/tag81.xml"/><Relationship Id="rId49" Type="http://schemas.openxmlformats.org/officeDocument/2006/relationships/image" Target="../media/image30.svg"/><Relationship Id="rId57" Type="http://schemas.openxmlformats.org/officeDocument/2006/relationships/image" Target="../media/image38.svg"/><Relationship Id="rId10" Type="http://schemas.openxmlformats.org/officeDocument/2006/relationships/tags" Target="../tags/tag55.xml"/><Relationship Id="rId31" Type="http://schemas.openxmlformats.org/officeDocument/2006/relationships/tags" Target="../tags/tag76.xml"/><Relationship Id="rId44" Type="http://schemas.openxmlformats.org/officeDocument/2006/relationships/tags" Target="../tags/tag89.xml"/><Relationship Id="rId52" Type="http://schemas.openxmlformats.org/officeDocument/2006/relationships/image" Target="../media/image33.svg"/><Relationship Id="rId60" Type="http://schemas.openxmlformats.org/officeDocument/2006/relationships/image" Target="../media/image41.svg"/><Relationship Id="rId65" Type="http://schemas.openxmlformats.org/officeDocument/2006/relationships/image" Target="../media/image46.svg"/><Relationship Id="rId73" Type="http://schemas.openxmlformats.org/officeDocument/2006/relationships/image" Target="../media/image54.svg"/><Relationship Id="rId78" Type="http://schemas.openxmlformats.org/officeDocument/2006/relationships/image" Target="../media/image28.png"/><Relationship Id="rId81" Type="http://schemas.openxmlformats.org/officeDocument/2006/relationships/image" Target="../media/image61.svg"/><Relationship Id="rId86" Type="http://schemas.openxmlformats.org/officeDocument/2006/relationships/image" Target="../media/image65.png"/><Relationship Id="rId4" Type="http://schemas.openxmlformats.org/officeDocument/2006/relationships/tags" Target="../tags/tag49.xml"/><Relationship Id="rId9" Type="http://schemas.openxmlformats.org/officeDocument/2006/relationships/tags" Target="../tags/tag54.xml"/><Relationship Id="rId13" Type="http://schemas.openxmlformats.org/officeDocument/2006/relationships/tags" Target="../tags/tag58.xml"/><Relationship Id="rId18" Type="http://schemas.openxmlformats.org/officeDocument/2006/relationships/tags" Target="../tags/tag63.xml"/><Relationship Id="rId39" Type="http://schemas.openxmlformats.org/officeDocument/2006/relationships/tags" Target="../tags/tag84.xml"/><Relationship Id="rId34" Type="http://schemas.openxmlformats.org/officeDocument/2006/relationships/tags" Target="../tags/tag79.xml"/><Relationship Id="rId50" Type="http://schemas.openxmlformats.org/officeDocument/2006/relationships/image" Target="../media/image31.svg"/><Relationship Id="rId55" Type="http://schemas.openxmlformats.org/officeDocument/2006/relationships/image" Target="../media/image36.svg"/><Relationship Id="rId76" Type="http://schemas.openxmlformats.org/officeDocument/2006/relationships/image" Target="../media/image57.svg"/><Relationship Id="rId7" Type="http://schemas.openxmlformats.org/officeDocument/2006/relationships/tags" Target="../tags/tag52.xml"/><Relationship Id="rId71" Type="http://schemas.openxmlformats.org/officeDocument/2006/relationships/image" Target="../media/image52.svg"/><Relationship Id="rId2" Type="http://schemas.openxmlformats.org/officeDocument/2006/relationships/tags" Target="../tags/tag47.xml"/><Relationship Id="rId29" Type="http://schemas.openxmlformats.org/officeDocument/2006/relationships/tags" Target="../tags/tag74.xml"/><Relationship Id="rId24" Type="http://schemas.openxmlformats.org/officeDocument/2006/relationships/tags" Target="../tags/tag69.xml"/><Relationship Id="rId40" Type="http://schemas.openxmlformats.org/officeDocument/2006/relationships/tags" Target="../tags/tag85.xml"/><Relationship Id="rId45" Type="http://schemas.openxmlformats.org/officeDocument/2006/relationships/slideLayout" Target="../slideLayouts/slideLayout9.xml"/><Relationship Id="rId66" Type="http://schemas.openxmlformats.org/officeDocument/2006/relationships/image" Target="../media/image47.svg"/><Relationship Id="rId61" Type="http://schemas.openxmlformats.org/officeDocument/2006/relationships/image" Target="../media/image42.svg"/><Relationship Id="rId82" Type="http://schemas.openxmlformats.org/officeDocument/2006/relationships/image" Target="../media/image62.png"/></Relationships>
</file>

<file path=ppt/slides/_rels/slide12.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tags" Target="../tags/tag107.xml"/><Relationship Id="rId26" Type="http://schemas.openxmlformats.org/officeDocument/2006/relationships/image" Target="../media/image69.emf"/><Relationship Id="rId3" Type="http://schemas.openxmlformats.org/officeDocument/2006/relationships/tags" Target="../tags/tag92.xml"/><Relationship Id="rId21" Type="http://schemas.openxmlformats.org/officeDocument/2006/relationships/image" Target="../media/image66.png"/><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tags" Target="../tags/tag106.xml"/><Relationship Id="rId25" Type="http://schemas.openxmlformats.org/officeDocument/2006/relationships/image" Target="../media/image68.emf"/><Relationship Id="rId2" Type="http://schemas.openxmlformats.org/officeDocument/2006/relationships/tags" Target="../tags/tag91.xml"/><Relationship Id="rId16" Type="http://schemas.openxmlformats.org/officeDocument/2006/relationships/tags" Target="../tags/tag105.xml"/><Relationship Id="rId20" Type="http://schemas.openxmlformats.org/officeDocument/2006/relationships/notesSlide" Target="../notesSlides/notesSlide12.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24" Type="http://schemas.openxmlformats.org/officeDocument/2006/relationships/image" Target="../media/image67.jpeg"/><Relationship Id="rId5" Type="http://schemas.openxmlformats.org/officeDocument/2006/relationships/tags" Target="../tags/tag94.xml"/><Relationship Id="rId15" Type="http://schemas.openxmlformats.org/officeDocument/2006/relationships/tags" Target="../tags/tag104.xml"/><Relationship Id="rId23" Type="http://schemas.openxmlformats.org/officeDocument/2006/relationships/image" Target="../media/image1.emf"/><Relationship Id="rId10" Type="http://schemas.openxmlformats.org/officeDocument/2006/relationships/tags" Target="../tags/tag99.xml"/><Relationship Id="rId19" Type="http://schemas.openxmlformats.org/officeDocument/2006/relationships/slideLayout" Target="../slideLayouts/slideLayout9.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 Id="rId22" Type="http://schemas.openxmlformats.org/officeDocument/2006/relationships/oleObject" Target="../embeddings/oleObject15.bin"/></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3.xml"/><Relationship Id="rId13" Type="http://schemas.openxmlformats.org/officeDocument/2006/relationships/image" Target="../media/image72.jpeg"/><Relationship Id="rId3" Type="http://schemas.openxmlformats.org/officeDocument/2006/relationships/tags" Target="../tags/tag110.xml"/><Relationship Id="rId7" Type="http://schemas.openxmlformats.org/officeDocument/2006/relationships/slideLayout" Target="../slideLayouts/slideLayout9.xml"/><Relationship Id="rId12" Type="http://schemas.openxmlformats.org/officeDocument/2006/relationships/image" Target="../media/image71.jpe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image" Target="../media/image70.svg"/><Relationship Id="rId5" Type="http://schemas.openxmlformats.org/officeDocument/2006/relationships/tags" Target="../tags/tag112.xml"/><Relationship Id="rId10" Type="http://schemas.openxmlformats.org/officeDocument/2006/relationships/image" Target="../media/image1.emf"/><Relationship Id="rId4" Type="http://schemas.openxmlformats.org/officeDocument/2006/relationships/tags" Target="../tags/tag111.xml"/><Relationship Id="rId9"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74.png"/><Relationship Id="rId2" Type="http://schemas.openxmlformats.org/officeDocument/2006/relationships/slideLayout" Target="../slideLayouts/slideLayout9.xml"/><Relationship Id="rId1" Type="http://schemas.openxmlformats.org/officeDocument/2006/relationships/tags" Target="../tags/tag114.xml"/><Relationship Id="rId6" Type="http://schemas.openxmlformats.org/officeDocument/2006/relationships/image" Target="../media/image73.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13" Type="http://schemas.openxmlformats.org/officeDocument/2006/relationships/tags" Target="../tags/tag127.xml"/><Relationship Id="rId18" Type="http://schemas.openxmlformats.org/officeDocument/2006/relationships/tags" Target="../tags/tag132.xml"/><Relationship Id="rId26" Type="http://schemas.openxmlformats.org/officeDocument/2006/relationships/tags" Target="../tags/tag140.xml"/><Relationship Id="rId21" Type="http://schemas.openxmlformats.org/officeDocument/2006/relationships/tags" Target="../tags/tag135.xml"/><Relationship Id="rId34" Type="http://schemas.microsoft.com/office/2007/relationships/hdphoto" Target="../media/hdphoto1.wdp"/><Relationship Id="rId7" Type="http://schemas.openxmlformats.org/officeDocument/2006/relationships/tags" Target="../tags/tag121.xml"/><Relationship Id="rId12" Type="http://schemas.openxmlformats.org/officeDocument/2006/relationships/tags" Target="../tags/tag126.xml"/><Relationship Id="rId17" Type="http://schemas.openxmlformats.org/officeDocument/2006/relationships/tags" Target="../tags/tag131.xml"/><Relationship Id="rId25" Type="http://schemas.openxmlformats.org/officeDocument/2006/relationships/tags" Target="../tags/tag139.xml"/><Relationship Id="rId33" Type="http://schemas.openxmlformats.org/officeDocument/2006/relationships/image" Target="../media/image75.png"/><Relationship Id="rId2" Type="http://schemas.openxmlformats.org/officeDocument/2006/relationships/tags" Target="../tags/tag116.xml"/><Relationship Id="rId16" Type="http://schemas.openxmlformats.org/officeDocument/2006/relationships/tags" Target="../tags/tag130.xml"/><Relationship Id="rId20" Type="http://schemas.openxmlformats.org/officeDocument/2006/relationships/tags" Target="../tags/tag134.xml"/><Relationship Id="rId29" Type="http://schemas.openxmlformats.org/officeDocument/2006/relationships/tags" Target="../tags/tag143.xml"/><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tags" Target="../tags/tag125.xml"/><Relationship Id="rId24" Type="http://schemas.openxmlformats.org/officeDocument/2006/relationships/tags" Target="../tags/tag138.xml"/><Relationship Id="rId32" Type="http://schemas.openxmlformats.org/officeDocument/2006/relationships/image" Target="../media/image29.jpeg"/><Relationship Id="rId37" Type="http://schemas.openxmlformats.org/officeDocument/2006/relationships/image" Target="../media/image76.png"/><Relationship Id="rId5" Type="http://schemas.openxmlformats.org/officeDocument/2006/relationships/tags" Target="../tags/tag119.xml"/><Relationship Id="rId15" Type="http://schemas.openxmlformats.org/officeDocument/2006/relationships/tags" Target="../tags/tag129.xml"/><Relationship Id="rId23" Type="http://schemas.openxmlformats.org/officeDocument/2006/relationships/tags" Target="../tags/tag137.xml"/><Relationship Id="rId28" Type="http://schemas.openxmlformats.org/officeDocument/2006/relationships/tags" Target="../tags/tag142.xml"/><Relationship Id="rId36" Type="http://schemas.openxmlformats.org/officeDocument/2006/relationships/image" Target="../media/image1.emf"/><Relationship Id="rId10" Type="http://schemas.openxmlformats.org/officeDocument/2006/relationships/tags" Target="../tags/tag124.xml"/><Relationship Id="rId19" Type="http://schemas.openxmlformats.org/officeDocument/2006/relationships/tags" Target="../tags/tag133.xml"/><Relationship Id="rId31" Type="http://schemas.openxmlformats.org/officeDocument/2006/relationships/notesSlide" Target="../notesSlides/notesSlide15.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tags" Target="../tags/tag128.xml"/><Relationship Id="rId22" Type="http://schemas.openxmlformats.org/officeDocument/2006/relationships/tags" Target="../tags/tag136.xml"/><Relationship Id="rId27" Type="http://schemas.openxmlformats.org/officeDocument/2006/relationships/tags" Target="../tags/tag141.xml"/><Relationship Id="rId30" Type="http://schemas.openxmlformats.org/officeDocument/2006/relationships/slideLayout" Target="../slideLayouts/slideLayout9.xml"/><Relationship Id="rId35" Type="http://schemas.openxmlformats.org/officeDocument/2006/relationships/oleObject" Target="../embeddings/oleObject15.bin"/><Relationship Id="rId8" Type="http://schemas.openxmlformats.org/officeDocument/2006/relationships/tags" Target="../tags/tag122.xml"/><Relationship Id="rId3" Type="http://schemas.openxmlformats.org/officeDocument/2006/relationships/tags" Target="../tags/tag117.xml"/></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81.jpeg"/><Relationship Id="rId18" Type="http://schemas.openxmlformats.org/officeDocument/2006/relationships/image" Target="../media/image86.jpeg"/><Relationship Id="rId3" Type="http://schemas.openxmlformats.org/officeDocument/2006/relationships/tags" Target="../tags/tag146.xml"/><Relationship Id="rId7" Type="http://schemas.openxmlformats.org/officeDocument/2006/relationships/image" Target="../media/image77.png"/><Relationship Id="rId12" Type="http://schemas.openxmlformats.org/officeDocument/2006/relationships/image" Target="../media/image80.svg"/><Relationship Id="rId17" Type="http://schemas.openxmlformats.org/officeDocument/2006/relationships/image" Target="../media/image85.jpeg"/><Relationship Id="rId2" Type="http://schemas.openxmlformats.org/officeDocument/2006/relationships/tags" Target="../tags/tag145.xml"/><Relationship Id="rId16" Type="http://schemas.openxmlformats.org/officeDocument/2006/relationships/image" Target="../media/image84.png"/><Relationship Id="rId1" Type="http://schemas.openxmlformats.org/officeDocument/2006/relationships/tags" Target="../tags/tag144.xml"/><Relationship Id="rId6" Type="http://schemas.openxmlformats.org/officeDocument/2006/relationships/notesSlide" Target="../notesSlides/notesSlide16.xml"/><Relationship Id="rId11" Type="http://schemas.openxmlformats.org/officeDocument/2006/relationships/image" Target="../media/image79.png"/><Relationship Id="rId5" Type="http://schemas.openxmlformats.org/officeDocument/2006/relationships/slideLayout" Target="../slideLayouts/slideLayout9.xml"/><Relationship Id="rId15" Type="http://schemas.openxmlformats.org/officeDocument/2006/relationships/image" Target="../media/image83.png"/><Relationship Id="rId10" Type="http://schemas.openxmlformats.org/officeDocument/2006/relationships/image" Target="../media/image78.png"/><Relationship Id="rId19" Type="http://schemas.openxmlformats.org/officeDocument/2006/relationships/image" Target="../media/image87.jpeg"/><Relationship Id="rId4" Type="http://schemas.openxmlformats.org/officeDocument/2006/relationships/tags" Target="../tags/tag147.xml"/><Relationship Id="rId9" Type="http://schemas.openxmlformats.org/officeDocument/2006/relationships/image" Target="../media/image1.emf"/><Relationship Id="rId14" Type="http://schemas.openxmlformats.org/officeDocument/2006/relationships/image" Target="../media/image82.png"/></Relationships>
</file>

<file path=ppt/slides/_rels/slide17.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tags" Target="../tags/tag160.xml"/><Relationship Id="rId18" Type="http://schemas.openxmlformats.org/officeDocument/2006/relationships/tags" Target="../tags/tag165.xml"/><Relationship Id="rId26" Type="http://schemas.openxmlformats.org/officeDocument/2006/relationships/image" Target="../media/image89.jpeg"/><Relationship Id="rId3" Type="http://schemas.openxmlformats.org/officeDocument/2006/relationships/tags" Target="../tags/tag150.xml"/><Relationship Id="rId21" Type="http://schemas.openxmlformats.org/officeDocument/2006/relationships/slideLayout" Target="../slideLayouts/slideLayout9.xml"/><Relationship Id="rId7" Type="http://schemas.openxmlformats.org/officeDocument/2006/relationships/tags" Target="../tags/tag154.xml"/><Relationship Id="rId12" Type="http://schemas.openxmlformats.org/officeDocument/2006/relationships/tags" Target="../tags/tag159.xml"/><Relationship Id="rId17" Type="http://schemas.openxmlformats.org/officeDocument/2006/relationships/tags" Target="../tags/tag164.xml"/><Relationship Id="rId25" Type="http://schemas.openxmlformats.org/officeDocument/2006/relationships/image" Target="../media/image88.jpg"/><Relationship Id="rId2" Type="http://schemas.openxmlformats.org/officeDocument/2006/relationships/tags" Target="../tags/tag149.xml"/><Relationship Id="rId16" Type="http://schemas.openxmlformats.org/officeDocument/2006/relationships/tags" Target="../tags/tag163.xml"/><Relationship Id="rId20" Type="http://schemas.openxmlformats.org/officeDocument/2006/relationships/tags" Target="../tags/tag167.xml"/><Relationship Id="rId29" Type="http://schemas.openxmlformats.org/officeDocument/2006/relationships/image" Target="../media/image92.png"/><Relationship Id="rId1" Type="http://schemas.openxmlformats.org/officeDocument/2006/relationships/tags" Target="../tags/tag148.xml"/><Relationship Id="rId6" Type="http://schemas.openxmlformats.org/officeDocument/2006/relationships/tags" Target="../tags/tag153.xml"/><Relationship Id="rId11" Type="http://schemas.openxmlformats.org/officeDocument/2006/relationships/tags" Target="../tags/tag158.xml"/><Relationship Id="rId24" Type="http://schemas.openxmlformats.org/officeDocument/2006/relationships/image" Target="../media/image1.emf"/><Relationship Id="rId5" Type="http://schemas.openxmlformats.org/officeDocument/2006/relationships/tags" Target="../tags/tag152.xml"/><Relationship Id="rId15" Type="http://schemas.openxmlformats.org/officeDocument/2006/relationships/tags" Target="../tags/tag162.xml"/><Relationship Id="rId23" Type="http://schemas.openxmlformats.org/officeDocument/2006/relationships/oleObject" Target="../embeddings/oleObject20.bin"/><Relationship Id="rId28" Type="http://schemas.openxmlformats.org/officeDocument/2006/relationships/image" Target="../media/image91.jpeg"/><Relationship Id="rId10" Type="http://schemas.openxmlformats.org/officeDocument/2006/relationships/tags" Target="../tags/tag157.xml"/><Relationship Id="rId19" Type="http://schemas.openxmlformats.org/officeDocument/2006/relationships/tags" Target="../tags/tag166.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tags" Target="../tags/tag161.xml"/><Relationship Id="rId22" Type="http://schemas.openxmlformats.org/officeDocument/2006/relationships/notesSlide" Target="../notesSlides/notesSlide17.xml"/><Relationship Id="rId27" Type="http://schemas.openxmlformats.org/officeDocument/2006/relationships/image" Target="../media/image90.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168.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93.jpeg"/></Relationships>
</file>

<file path=ppt/slides/_rels/slide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9.xml"/><Relationship Id="rId7" Type="http://schemas.openxmlformats.org/officeDocument/2006/relationships/oleObject" Target="../embeddings/oleObject15.bin"/><Relationship Id="rId2" Type="http://schemas.openxmlformats.org/officeDocument/2006/relationships/slideLayout" Target="../slideLayouts/slideLayout9.xml"/><Relationship Id="rId1" Type="http://schemas.openxmlformats.org/officeDocument/2006/relationships/tags" Target="../tags/tag169.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 Id="rId9" Type="http://schemas.openxmlformats.org/officeDocument/2006/relationships/image" Target="../media/image97.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11.jpg"/></Relationships>
</file>

<file path=ppt/slides/_rels/slide20.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notesSlide" Target="../notesSlides/notesSlide20.xml"/><Relationship Id="rId7" Type="http://schemas.openxmlformats.org/officeDocument/2006/relationships/image" Target="../media/image99.svg"/><Relationship Id="rId2" Type="http://schemas.openxmlformats.org/officeDocument/2006/relationships/slideLayout" Target="../slideLayouts/slideLayout9.xml"/><Relationship Id="rId1" Type="http://schemas.openxmlformats.org/officeDocument/2006/relationships/tags" Target="../tags/tag170.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98.jpeg"/></Relationships>
</file>

<file path=ppt/slides/_rels/slide21.xml.rels><?xml version="1.0" encoding="UTF-8" standalone="yes"?>
<Relationships xmlns="http://schemas.openxmlformats.org/package/2006/relationships"><Relationship Id="rId8" Type="http://schemas.openxmlformats.org/officeDocument/2006/relationships/image" Target="../media/image103.jpeg"/><Relationship Id="rId3" Type="http://schemas.openxmlformats.org/officeDocument/2006/relationships/oleObject" Target="../embeddings/oleObject15.bin"/><Relationship Id="rId7" Type="http://schemas.openxmlformats.org/officeDocument/2006/relationships/image" Target="../media/image102.png"/><Relationship Id="rId2" Type="http://schemas.openxmlformats.org/officeDocument/2006/relationships/slideLayout" Target="../slideLayouts/slideLayout9.xml"/><Relationship Id="rId1" Type="http://schemas.openxmlformats.org/officeDocument/2006/relationships/tags" Target="../tags/tag171.xml"/><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78.png"/><Relationship Id="rId3" Type="http://schemas.openxmlformats.org/officeDocument/2006/relationships/notesSlide" Target="../notesSlides/notesSlide21.xml"/><Relationship Id="rId7" Type="http://schemas.openxmlformats.org/officeDocument/2006/relationships/oleObject" Target="../embeddings/oleObject22.bin"/><Relationship Id="rId12" Type="http://schemas.openxmlformats.org/officeDocument/2006/relationships/image" Target="../media/image108.png"/><Relationship Id="rId2" Type="http://schemas.openxmlformats.org/officeDocument/2006/relationships/slideLayout" Target="../slideLayouts/slideLayout9.xml"/><Relationship Id="rId16" Type="http://schemas.openxmlformats.org/officeDocument/2006/relationships/image" Target="../media/image110.png"/><Relationship Id="rId1" Type="http://schemas.openxmlformats.org/officeDocument/2006/relationships/tags" Target="../tags/tag172.xml"/><Relationship Id="rId6" Type="http://schemas.openxmlformats.org/officeDocument/2006/relationships/image" Target="../media/image87.jpeg"/><Relationship Id="rId11" Type="http://schemas.openxmlformats.org/officeDocument/2006/relationships/image" Target="../media/image107.png"/><Relationship Id="rId5" Type="http://schemas.openxmlformats.org/officeDocument/2006/relationships/image" Target="../media/image77.png"/><Relationship Id="rId15" Type="http://schemas.openxmlformats.org/officeDocument/2006/relationships/image" Target="../media/image109.png"/><Relationship Id="rId10" Type="http://schemas.openxmlformats.org/officeDocument/2006/relationships/image" Target="../media/image106.png"/><Relationship Id="rId4" Type="http://schemas.openxmlformats.org/officeDocument/2006/relationships/image" Target="../media/image104.jpeg"/><Relationship Id="rId9" Type="http://schemas.openxmlformats.org/officeDocument/2006/relationships/image" Target="../media/image105.png"/><Relationship Id="rId14" Type="http://schemas.openxmlformats.org/officeDocument/2006/relationships/image" Target="../media/image85.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173.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11.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13.png"/><Relationship Id="rId2" Type="http://schemas.openxmlformats.org/officeDocument/2006/relationships/slideLayout" Target="../slideLayouts/slideLayout9.xml"/><Relationship Id="rId1" Type="http://schemas.openxmlformats.org/officeDocument/2006/relationships/tags" Target="../tags/tag174.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12.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15.jpeg"/><Relationship Id="rId2" Type="http://schemas.openxmlformats.org/officeDocument/2006/relationships/slideLayout" Target="../slideLayouts/slideLayout9.xml"/><Relationship Id="rId1" Type="http://schemas.openxmlformats.org/officeDocument/2006/relationships/tags" Target="../tags/tag175.xml"/><Relationship Id="rId6" Type="http://schemas.openxmlformats.org/officeDocument/2006/relationships/image" Target="../media/image114.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6.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notesSlide" Target="../notesSlides/notesSlide25.xml"/><Relationship Id="rId7" Type="http://schemas.openxmlformats.org/officeDocument/2006/relationships/image" Target="../media/image117.png"/><Relationship Id="rId2" Type="http://schemas.openxmlformats.org/officeDocument/2006/relationships/slideLayout" Target="../slideLayouts/slideLayout8.xml"/><Relationship Id="rId1" Type="http://schemas.openxmlformats.org/officeDocument/2006/relationships/tags" Target="../tags/tag176.xml"/><Relationship Id="rId6" Type="http://schemas.openxmlformats.org/officeDocument/2006/relationships/image" Target="../media/image116.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7.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notesSlide" Target="../notesSlides/notesSlide26.xml"/><Relationship Id="rId7" Type="http://schemas.openxmlformats.org/officeDocument/2006/relationships/image" Target="../media/image120.png"/><Relationship Id="rId2" Type="http://schemas.openxmlformats.org/officeDocument/2006/relationships/slideLayout" Target="../slideLayouts/slideLayout8.xml"/><Relationship Id="rId1" Type="http://schemas.openxmlformats.org/officeDocument/2006/relationships/tags" Target="../tags/tag177.xml"/><Relationship Id="rId6" Type="http://schemas.openxmlformats.org/officeDocument/2006/relationships/image" Target="../media/image119.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178.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22.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9.xml"/><Relationship Id="rId1" Type="http://schemas.openxmlformats.org/officeDocument/2006/relationships/tags" Target="../tags/tag179.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12.jp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tags" Target="../tags/tag180.xml"/><Relationship Id="rId6" Type="http://schemas.openxmlformats.org/officeDocument/2006/relationships/oleObject" Target="../embeddings/oleObject15.bin"/><Relationship Id="rId5" Type="http://schemas.openxmlformats.org/officeDocument/2006/relationships/image" Target="../media/image124.png"/><Relationship Id="rId4" Type="http://schemas.openxmlformats.org/officeDocument/2006/relationships/image" Target="../media/image123.jpeg"/></Relationships>
</file>

<file path=ppt/slides/_rels/slide31.xml.rels><?xml version="1.0" encoding="UTF-8" standalone="yes"?>
<Relationships xmlns="http://schemas.openxmlformats.org/package/2006/relationships"><Relationship Id="rId13" Type="http://schemas.openxmlformats.org/officeDocument/2006/relationships/image" Target="../media/image1570.png"/><Relationship Id="rId3" Type="http://schemas.openxmlformats.org/officeDocument/2006/relationships/notesSlide" Target="../notesSlides/notesSlide30.xml"/><Relationship Id="rId7" Type="http://schemas.openxmlformats.org/officeDocument/2006/relationships/customXml" Target="../ink/ink1.xml"/><Relationship Id="rId17" Type="http://schemas.openxmlformats.org/officeDocument/2006/relationships/image" Target="../media/image128.png"/><Relationship Id="rId2" Type="http://schemas.openxmlformats.org/officeDocument/2006/relationships/slideLayout" Target="../slideLayouts/slideLayout11.xml"/><Relationship Id="rId16" Type="http://schemas.openxmlformats.org/officeDocument/2006/relationships/image" Target="../media/image127.png"/><Relationship Id="rId1" Type="http://schemas.openxmlformats.org/officeDocument/2006/relationships/tags" Target="../tags/tag181.xml"/><Relationship Id="rId6" Type="http://schemas.openxmlformats.org/officeDocument/2006/relationships/image" Target="../media/image125.jpeg"/><Relationship Id="rId5" Type="http://schemas.openxmlformats.org/officeDocument/2006/relationships/image" Target="../media/image1.emf"/><Relationship Id="rId15" Type="http://schemas.openxmlformats.org/officeDocument/2006/relationships/image" Target="../media/image100.png"/><Relationship Id="rId4" Type="http://schemas.openxmlformats.org/officeDocument/2006/relationships/oleObject" Target="../embeddings/oleObject15.bin"/><Relationship Id="rId14" Type="http://schemas.openxmlformats.org/officeDocument/2006/relationships/image" Target="../media/image126.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9.xml"/><Relationship Id="rId1" Type="http://schemas.openxmlformats.org/officeDocument/2006/relationships/tags" Target="../tags/tag182.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29.png"/></Relationships>
</file>

<file path=ppt/slides/_rels/slide33.xml.rels><?xml version="1.0" encoding="UTF-8" standalone="yes"?>
<Relationships xmlns="http://schemas.openxmlformats.org/package/2006/relationships"><Relationship Id="rId8" Type="http://schemas.openxmlformats.org/officeDocument/2006/relationships/tags" Target="../tags/tag190.xml"/><Relationship Id="rId13" Type="http://schemas.openxmlformats.org/officeDocument/2006/relationships/image" Target="../media/image130.png"/><Relationship Id="rId3" Type="http://schemas.openxmlformats.org/officeDocument/2006/relationships/tags" Target="../tags/tag185.xml"/><Relationship Id="rId7" Type="http://schemas.openxmlformats.org/officeDocument/2006/relationships/tags" Target="../tags/tag189.xml"/><Relationship Id="rId12" Type="http://schemas.openxmlformats.org/officeDocument/2006/relationships/image" Target="../media/image72.jpeg"/><Relationship Id="rId17" Type="http://schemas.openxmlformats.org/officeDocument/2006/relationships/image" Target="../media/image134.svg"/><Relationship Id="rId2" Type="http://schemas.openxmlformats.org/officeDocument/2006/relationships/tags" Target="../tags/tag184.xml"/><Relationship Id="rId16" Type="http://schemas.openxmlformats.org/officeDocument/2006/relationships/image" Target="../media/image133.svg"/><Relationship Id="rId1" Type="http://schemas.openxmlformats.org/officeDocument/2006/relationships/tags" Target="../tags/tag183.xml"/><Relationship Id="rId6" Type="http://schemas.openxmlformats.org/officeDocument/2006/relationships/tags" Target="../tags/tag188.xml"/><Relationship Id="rId11" Type="http://schemas.openxmlformats.org/officeDocument/2006/relationships/slideLayout" Target="../slideLayouts/slideLayout9.xml"/><Relationship Id="rId5" Type="http://schemas.openxmlformats.org/officeDocument/2006/relationships/tags" Target="../tags/tag187.xml"/><Relationship Id="rId15" Type="http://schemas.openxmlformats.org/officeDocument/2006/relationships/image" Target="../media/image132.svg"/><Relationship Id="rId10" Type="http://schemas.openxmlformats.org/officeDocument/2006/relationships/tags" Target="../tags/tag192.xml"/><Relationship Id="rId4" Type="http://schemas.openxmlformats.org/officeDocument/2006/relationships/tags" Target="../tags/tag186.xml"/><Relationship Id="rId9" Type="http://schemas.openxmlformats.org/officeDocument/2006/relationships/tags" Target="../tags/tag191.xml"/><Relationship Id="rId14" Type="http://schemas.openxmlformats.org/officeDocument/2006/relationships/image" Target="../media/image131.svg"/></Relationships>
</file>

<file path=ppt/slides/_rels/slide34.xml.rels><?xml version="1.0" encoding="UTF-8" standalone="yes"?>
<Relationships xmlns="http://schemas.openxmlformats.org/package/2006/relationships"><Relationship Id="rId8" Type="http://schemas.openxmlformats.org/officeDocument/2006/relationships/tags" Target="../tags/tag200.xml"/><Relationship Id="rId13" Type="http://schemas.openxmlformats.org/officeDocument/2006/relationships/image" Target="../media/image131.svg"/><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72.jpeg"/><Relationship Id="rId17" Type="http://schemas.openxmlformats.org/officeDocument/2006/relationships/image" Target="../media/image130.png"/><Relationship Id="rId2" Type="http://schemas.openxmlformats.org/officeDocument/2006/relationships/tags" Target="../tags/tag194.xml"/><Relationship Id="rId16" Type="http://schemas.openxmlformats.org/officeDocument/2006/relationships/image" Target="../media/image134.svg"/><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slideLayout" Target="../slideLayouts/slideLayout9.xml"/><Relationship Id="rId5" Type="http://schemas.openxmlformats.org/officeDocument/2006/relationships/tags" Target="../tags/tag197.xml"/><Relationship Id="rId15" Type="http://schemas.openxmlformats.org/officeDocument/2006/relationships/image" Target="../media/image133.svg"/><Relationship Id="rId10" Type="http://schemas.openxmlformats.org/officeDocument/2006/relationships/tags" Target="../tags/tag202.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image" Target="../media/image132.svg"/></Relationships>
</file>

<file path=ppt/slides/_rels/slide35.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image" Target="../media/image133.svg"/><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132.svg"/><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tags" Target="../tags/tag208.xml"/><Relationship Id="rId11" Type="http://schemas.openxmlformats.org/officeDocument/2006/relationships/image" Target="../media/image131.svg"/><Relationship Id="rId5" Type="http://schemas.openxmlformats.org/officeDocument/2006/relationships/tags" Target="../tags/tag207.xml"/><Relationship Id="rId15" Type="http://schemas.openxmlformats.org/officeDocument/2006/relationships/image" Target="../media/image135.png"/><Relationship Id="rId10" Type="http://schemas.openxmlformats.org/officeDocument/2006/relationships/image" Target="../media/image72.jpeg"/><Relationship Id="rId4" Type="http://schemas.openxmlformats.org/officeDocument/2006/relationships/tags" Target="../tags/tag206.xml"/><Relationship Id="rId9" Type="http://schemas.openxmlformats.org/officeDocument/2006/relationships/slideLayout" Target="../slideLayouts/slideLayout8.xml"/><Relationship Id="rId14" Type="http://schemas.openxmlformats.org/officeDocument/2006/relationships/image" Target="../media/image134.svg"/></Relationships>
</file>

<file path=ppt/slides/_rels/slide36.xml.rels><?xml version="1.0" encoding="UTF-8" standalone="yes"?>
<Relationships xmlns="http://schemas.openxmlformats.org/package/2006/relationships"><Relationship Id="rId8" Type="http://schemas.openxmlformats.org/officeDocument/2006/relationships/tags" Target="../tags/tag218.xml"/><Relationship Id="rId13" Type="http://schemas.openxmlformats.org/officeDocument/2006/relationships/image" Target="../media/image136.emf"/><Relationship Id="rId18" Type="http://schemas.openxmlformats.org/officeDocument/2006/relationships/image" Target="../media/image133.svg"/><Relationship Id="rId3" Type="http://schemas.openxmlformats.org/officeDocument/2006/relationships/tags" Target="../tags/tag213.xml"/><Relationship Id="rId7" Type="http://schemas.openxmlformats.org/officeDocument/2006/relationships/tags" Target="../tags/tag217.xml"/><Relationship Id="rId12" Type="http://schemas.openxmlformats.org/officeDocument/2006/relationships/oleObject" Target="../embeddings/oleObject23.bin"/><Relationship Id="rId17" Type="http://schemas.openxmlformats.org/officeDocument/2006/relationships/image" Target="../media/image132.svg"/><Relationship Id="rId2" Type="http://schemas.openxmlformats.org/officeDocument/2006/relationships/tags" Target="../tags/tag212.xml"/><Relationship Id="rId16" Type="http://schemas.openxmlformats.org/officeDocument/2006/relationships/image" Target="../media/image131.svg"/><Relationship Id="rId1" Type="http://schemas.openxmlformats.org/officeDocument/2006/relationships/tags" Target="../tags/tag211.xml"/><Relationship Id="rId6" Type="http://schemas.openxmlformats.org/officeDocument/2006/relationships/tags" Target="../tags/tag216.xml"/><Relationship Id="rId11" Type="http://schemas.openxmlformats.org/officeDocument/2006/relationships/slideLayout" Target="../slideLayouts/slideLayout8.xml"/><Relationship Id="rId5" Type="http://schemas.openxmlformats.org/officeDocument/2006/relationships/tags" Target="../tags/tag215.xml"/><Relationship Id="rId15" Type="http://schemas.openxmlformats.org/officeDocument/2006/relationships/image" Target="../media/image137.png"/><Relationship Id="rId10" Type="http://schemas.openxmlformats.org/officeDocument/2006/relationships/tags" Target="../tags/tag220.xml"/><Relationship Id="rId19" Type="http://schemas.openxmlformats.org/officeDocument/2006/relationships/image" Target="../media/image134.svg"/><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image" Target="../media/image72.jpeg"/></Relationships>
</file>

<file path=ppt/slides/_rels/slide37.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image" Target="../media/image138.png"/><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image" Target="../media/image72.jpeg"/><Relationship Id="rId17" Type="http://schemas.openxmlformats.org/officeDocument/2006/relationships/image" Target="../media/image134.svg"/><Relationship Id="rId2" Type="http://schemas.openxmlformats.org/officeDocument/2006/relationships/tags" Target="../tags/tag222.xml"/><Relationship Id="rId16" Type="http://schemas.openxmlformats.org/officeDocument/2006/relationships/image" Target="../media/image133.svg"/><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notesSlide" Target="../notesSlides/notesSlide32.xml"/><Relationship Id="rId5" Type="http://schemas.openxmlformats.org/officeDocument/2006/relationships/tags" Target="../tags/tag225.xml"/><Relationship Id="rId15" Type="http://schemas.openxmlformats.org/officeDocument/2006/relationships/image" Target="../media/image132.svg"/><Relationship Id="rId10" Type="http://schemas.openxmlformats.org/officeDocument/2006/relationships/slideLayout" Target="../slideLayouts/slideLayout8.xm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image" Target="../media/image131.svg"/></Relationships>
</file>

<file path=ppt/slides/_rels/slide38.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image" Target="../media/image133.svg"/><Relationship Id="rId3" Type="http://schemas.openxmlformats.org/officeDocument/2006/relationships/tags" Target="../tags/tag232.xml"/><Relationship Id="rId7" Type="http://schemas.openxmlformats.org/officeDocument/2006/relationships/tags" Target="../tags/tag236.xml"/><Relationship Id="rId12" Type="http://schemas.openxmlformats.org/officeDocument/2006/relationships/image" Target="../media/image132.svg"/><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tags" Target="../tags/tag235.xml"/><Relationship Id="rId11" Type="http://schemas.openxmlformats.org/officeDocument/2006/relationships/image" Target="../media/image131.svg"/><Relationship Id="rId5" Type="http://schemas.openxmlformats.org/officeDocument/2006/relationships/tags" Target="../tags/tag234.xml"/><Relationship Id="rId15" Type="http://schemas.openxmlformats.org/officeDocument/2006/relationships/image" Target="../media/image139.png"/><Relationship Id="rId10" Type="http://schemas.openxmlformats.org/officeDocument/2006/relationships/image" Target="../media/image72.jpeg"/><Relationship Id="rId4" Type="http://schemas.openxmlformats.org/officeDocument/2006/relationships/tags" Target="../tags/tag233.xml"/><Relationship Id="rId9" Type="http://schemas.openxmlformats.org/officeDocument/2006/relationships/slideLayout" Target="../slideLayouts/slideLayout8.xml"/><Relationship Id="rId14" Type="http://schemas.openxmlformats.org/officeDocument/2006/relationships/image" Target="../media/image134.svg"/></Relationships>
</file>

<file path=ppt/slides/_rels/slide39.xml.rels><?xml version="1.0" encoding="UTF-8" standalone="yes"?>
<Relationships xmlns="http://schemas.openxmlformats.org/package/2006/relationships"><Relationship Id="rId8" Type="http://schemas.openxmlformats.org/officeDocument/2006/relationships/tags" Target="../tags/tag245.xml"/><Relationship Id="rId13" Type="http://schemas.openxmlformats.org/officeDocument/2006/relationships/image" Target="../media/image140.svg"/><Relationship Id="rId3" Type="http://schemas.openxmlformats.org/officeDocument/2006/relationships/tags" Target="../tags/tag240.xml"/><Relationship Id="rId7" Type="http://schemas.openxmlformats.org/officeDocument/2006/relationships/tags" Target="../tags/tag244.xml"/><Relationship Id="rId12" Type="http://schemas.openxmlformats.org/officeDocument/2006/relationships/image" Target="../media/image131.svg"/><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tags" Target="../tags/tag243.xml"/><Relationship Id="rId11" Type="http://schemas.openxmlformats.org/officeDocument/2006/relationships/image" Target="../media/image139.png"/><Relationship Id="rId5" Type="http://schemas.openxmlformats.org/officeDocument/2006/relationships/tags" Target="../tags/tag242.xml"/><Relationship Id="rId15" Type="http://schemas.openxmlformats.org/officeDocument/2006/relationships/image" Target="../media/image133.svg"/><Relationship Id="rId10" Type="http://schemas.openxmlformats.org/officeDocument/2006/relationships/image" Target="../media/image72.jpeg"/><Relationship Id="rId4" Type="http://schemas.openxmlformats.org/officeDocument/2006/relationships/tags" Target="../tags/tag241.xml"/><Relationship Id="rId9" Type="http://schemas.openxmlformats.org/officeDocument/2006/relationships/slideLayout" Target="../slideLayouts/slideLayout8.xml"/><Relationship Id="rId14" Type="http://schemas.openxmlformats.org/officeDocument/2006/relationships/image" Target="../media/image134.svg"/></Relationships>
</file>

<file path=ppt/slides/_rels/slide4.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notesSlide" Target="../notesSlides/notesSlide4.xml"/><Relationship Id="rId7" Type="http://schemas.openxmlformats.org/officeDocument/2006/relationships/image" Target="../media/image14.png"/><Relationship Id="rId2" Type="http://schemas.openxmlformats.org/officeDocument/2006/relationships/slideLayout" Target="../slideLayouts/slideLayout9.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13.jpeg"/><Relationship Id="rId9" Type="http://schemas.openxmlformats.org/officeDocument/2006/relationships/image" Target="../media/image15.svg"/></Relationships>
</file>

<file path=ppt/slides/_rels/slide40.xml.rels><?xml version="1.0" encoding="UTF-8" standalone="yes"?>
<Relationships xmlns="http://schemas.openxmlformats.org/package/2006/relationships"><Relationship Id="rId8" Type="http://schemas.openxmlformats.org/officeDocument/2006/relationships/tags" Target="../tags/tag253.xml"/><Relationship Id="rId13" Type="http://schemas.openxmlformats.org/officeDocument/2006/relationships/image" Target="../media/image139.png"/><Relationship Id="rId3" Type="http://schemas.openxmlformats.org/officeDocument/2006/relationships/tags" Target="../tags/tag248.xml"/><Relationship Id="rId7" Type="http://schemas.openxmlformats.org/officeDocument/2006/relationships/tags" Target="../tags/tag252.xml"/><Relationship Id="rId12" Type="http://schemas.openxmlformats.org/officeDocument/2006/relationships/image" Target="../media/image134.svg"/><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tags" Target="../tags/tag251.xml"/><Relationship Id="rId11" Type="http://schemas.openxmlformats.org/officeDocument/2006/relationships/image" Target="../media/image131.svg"/><Relationship Id="rId5" Type="http://schemas.openxmlformats.org/officeDocument/2006/relationships/tags" Target="../tags/tag250.xml"/><Relationship Id="rId15" Type="http://schemas.openxmlformats.org/officeDocument/2006/relationships/image" Target="../media/image133.svg"/><Relationship Id="rId10" Type="http://schemas.openxmlformats.org/officeDocument/2006/relationships/image" Target="../media/image72.jpeg"/><Relationship Id="rId4" Type="http://schemas.openxmlformats.org/officeDocument/2006/relationships/tags" Target="../tags/tag249.xml"/><Relationship Id="rId9" Type="http://schemas.openxmlformats.org/officeDocument/2006/relationships/slideLayout" Target="../slideLayouts/slideLayout8.xml"/><Relationship Id="rId14" Type="http://schemas.openxmlformats.org/officeDocument/2006/relationships/image" Target="../media/image140.svg"/></Relationships>
</file>

<file path=ppt/slides/_rels/slide41.xml.rels><?xml version="1.0" encoding="UTF-8" standalone="yes"?>
<Relationships xmlns="http://schemas.openxmlformats.org/package/2006/relationships"><Relationship Id="rId8" Type="http://schemas.openxmlformats.org/officeDocument/2006/relationships/tags" Target="../tags/tag261.xml"/><Relationship Id="rId13" Type="http://schemas.openxmlformats.org/officeDocument/2006/relationships/image" Target="../media/image140.svg"/><Relationship Id="rId3" Type="http://schemas.openxmlformats.org/officeDocument/2006/relationships/tags" Target="../tags/tag256.xml"/><Relationship Id="rId7" Type="http://schemas.openxmlformats.org/officeDocument/2006/relationships/tags" Target="../tags/tag260.xml"/><Relationship Id="rId12" Type="http://schemas.openxmlformats.org/officeDocument/2006/relationships/image" Target="../media/image131.svg"/><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tags" Target="../tags/tag259.xml"/><Relationship Id="rId11" Type="http://schemas.openxmlformats.org/officeDocument/2006/relationships/image" Target="../media/image139.png"/><Relationship Id="rId5" Type="http://schemas.openxmlformats.org/officeDocument/2006/relationships/tags" Target="../tags/tag258.xml"/><Relationship Id="rId15" Type="http://schemas.openxmlformats.org/officeDocument/2006/relationships/image" Target="../media/image134.svg"/><Relationship Id="rId10" Type="http://schemas.openxmlformats.org/officeDocument/2006/relationships/image" Target="../media/image72.jpeg"/><Relationship Id="rId4" Type="http://schemas.openxmlformats.org/officeDocument/2006/relationships/tags" Target="../tags/tag257.xml"/><Relationship Id="rId9" Type="http://schemas.openxmlformats.org/officeDocument/2006/relationships/slideLayout" Target="../slideLayouts/slideLayout8.xml"/><Relationship Id="rId14" Type="http://schemas.openxmlformats.org/officeDocument/2006/relationships/image" Target="../media/image133.svg"/></Relationships>
</file>

<file path=ppt/slides/_rels/slide42.xml.rels><?xml version="1.0" encoding="UTF-8" standalone="yes"?>
<Relationships xmlns="http://schemas.openxmlformats.org/package/2006/relationships"><Relationship Id="rId8" Type="http://schemas.openxmlformats.org/officeDocument/2006/relationships/tags" Target="../tags/tag269.xml"/><Relationship Id="rId13" Type="http://schemas.openxmlformats.org/officeDocument/2006/relationships/image" Target="../media/image132.svg"/><Relationship Id="rId3" Type="http://schemas.openxmlformats.org/officeDocument/2006/relationships/tags" Target="../tags/tag264.xml"/><Relationship Id="rId7" Type="http://schemas.openxmlformats.org/officeDocument/2006/relationships/tags" Target="../tags/tag268.xml"/><Relationship Id="rId12" Type="http://schemas.openxmlformats.org/officeDocument/2006/relationships/image" Target="../media/image131.svg"/><Relationship Id="rId2" Type="http://schemas.openxmlformats.org/officeDocument/2006/relationships/tags" Target="../tags/tag263.xml"/><Relationship Id="rId16" Type="http://schemas.openxmlformats.org/officeDocument/2006/relationships/image" Target="../media/image141.png"/><Relationship Id="rId1" Type="http://schemas.openxmlformats.org/officeDocument/2006/relationships/tags" Target="../tags/tag262.xml"/><Relationship Id="rId6" Type="http://schemas.openxmlformats.org/officeDocument/2006/relationships/tags" Target="../tags/tag267.xml"/><Relationship Id="rId11" Type="http://schemas.openxmlformats.org/officeDocument/2006/relationships/image" Target="../media/image72.jpeg"/><Relationship Id="rId5" Type="http://schemas.openxmlformats.org/officeDocument/2006/relationships/tags" Target="../tags/tag266.xml"/><Relationship Id="rId15" Type="http://schemas.openxmlformats.org/officeDocument/2006/relationships/image" Target="../media/image134.svg"/><Relationship Id="rId10" Type="http://schemas.openxmlformats.org/officeDocument/2006/relationships/slideLayout" Target="../slideLayouts/slideLayout8.xml"/><Relationship Id="rId4" Type="http://schemas.openxmlformats.org/officeDocument/2006/relationships/tags" Target="../tags/tag265.xml"/><Relationship Id="rId9" Type="http://schemas.openxmlformats.org/officeDocument/2006/relationships/tags" Target="../tags/tag270.xml"/><Relationship Id="rId14" Type="http://schemas.openxmlformats.org/officeDocument/2006/relationships/image" Target="../media/image133.svg"/></Relationships>
</file>

<file path=ppt/slides/_rels/slide43.xml.rels><?xml version="1.0" encoding="UTF-8" standalone="yes"?>
<Relationships xmlns="http://schemas.openxmlformats.org/package/2006/relationships"><Relationship Id="rId8" Type="http://schemas.openxmlformats.org/officeDocument/2006/relationships/tags" Target="../tags/tag278.xml"/><Relationship Id="rId13" Type="http://schemas.openxmlformats.org/officeDocument/2006/relationships/image" Target="../media/image131.svg"/><Relationship Id="rId3" Type="http://schemas.openxmlformats.org/officeDocument/2006/relationships/tags" Target="../tags/tag273.xml"/><Relationship Id="rId7" Type="http://schemas.openxmlformats.org/officeDocument/2006/relationships/tags" Target="../tags/tag277.xml"/><Relationship Id="rId12" Type="http://schemas.openxmlformats.org/officeDocument/2006/relationships/image" Target="../media/image72.jpeg"/><Relationship Id="rId2" Type="http://schemas.openxmlformats.org/officeDocument/2006/relationships/tags" Target="../tags/tag272.xml"/><Relationship Id="rId16" Type="http://schemas.openxmlformats.org/officeDocument/2006/relationships/image" Target="../media/image134.svg"/><Relationship Id="rId1" Type="http://schemas.openxmlformats.org/officeDocument/2006/relationships/tags" Target="../tags/tag271.xml"/><Relationship Id="rId6" Type="http://schemas.openxmlformats.org/officeDocument/2006/relationships/tags" Target="../tags/tag276.xml"/><Relationship Id="rId11" Type="http://schemas.openxmlformats.org/officeDocument/2006/relationships/slideLayout" Target="../slideLayouts/slideLayout9.xml"/><Relationship Id="rId5" Type="http://schemas.openxmlformats.org/officeDocument/2006/relationships/tags" Target="../tags/tag275.xml"/><Relationship Id="rId15" Type="http://schemas.openxmlformats.org/officeDocument/2006/relationships/image" Target="../media/image133.svg"/><Relationship Id="rId10" Type="http://schemas.openxmlformats.org/officeDocument/2006/relationships/tags" Target="../tags/tag280.xml"/><Relationship Id="rId4" Type="http://schemas.openxmlformats.org/officeDocument/2006/relationships/tags" Target="../tags/tag274.xml"/><Relationship Id="rId9" Type="http://schemas.openxmlformats.org/officeDocument/2006/relationships/tags" Target="../tags/tag279.xml"/><Relationship Id="rId14" Type="http://schemas.openxmlformats.org/officeDocument/2006/relationships/image" Target="../media/image140.svg"/></Relationships>
</file>

<file path=ppt/slides/_rels/slide44.xml.rels><?xml version="1.0" encoding="UTF-8" standalone="yes"?>
<Relationships xmlns="http://schemas.openxmlformats.org/package/2006/relationships"><Relationship Id="rId8" Type="http://schemas.openxmlformats.org/officeDocument/2006/relationships/tags" Target="../tags/tag288.xml"/><Relationship Id="rId13" Type="http://schemas.openxmlformats.org/officeDocument/2006/relationships/image" Target="../media/image131.svg"/><Relationship Id="rId3" Type="http://schemas.openxmlformats.org/officeDocument/2006/relationships/tags" Target="../tags/tag283.xml"/><Relationship Id="rId7" Type="http://schemas.openxmlformats.org/officeDocument/2006/relationships/tags" Target="../tags/tag287.xml"/><Relationship Id="rId12" Type="http://schemas.openxmlformats.org/officeDocument/2006/relationships/image" Target="../media/image72.jpeg"/><Relationship Id="rId2" Type="http://schemas.openxmlformats.org/officeDocument/2006/relationships/tags" Target="../tags/tag282.xml"/><Relationship Id="rId16" Type="http://schemas.openxmlformats.org/officeDocument/2006/relationships/image" Target="../media/image134.svg"/><Relationship Id="rId1" Type="http://schemas.openxmlformats.org/officeDocument/2006/relationships/tags" Target="../tags/tag281.xml"/><Relationship Id="rId6" Type="http://schemas.openxmlformats.org/officeDocument/2006/relationships/tags" Target="../tags/tag286.xml"/><Relationship Id="rId11" Type="http://schemas.openxmlformats.org/officeDocument/2006/relationships/slideLayout" Target="../slideLayouts/slideLayout9.xml"/><Relationship Id="rId5" Type="http://schemas.openxmlformats.org/officeDocument/2006/relationships/tags" Target="../tags/tag285.xml"/><Relationship Id="rId15" Type="http://schemas.openxmlformats.org/officeDocument/2006/relationships/image" Target="../media/image133.svg"/><Relationship Id="rId10" Type="http://schemas.openxmlformats.org/officeDocument/2006/relationships/tags" Target="../tags/tag290.xml"/><Relationship Id="rId4" Type="http://schemas.openxmlformats.org/officeDocument/2006/relationships/tags" Target="../tags/tag284.xml"/><Relationship Id="rId9" Type="http://schemas.openxmlformats.org/officeDocument/2006/relationships/tags" Target="../tags/tag289.xml"/><Relationship Id="rId14" Type="http://schemas.openxmlformats.org/officeDocument/2006/relationships/image" Target="../media/image140.svg"/></Relationships>
</file>

<file path=ppt/slides/_rels/slide45.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image" Target="../media/image131.svg"/><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image" Target="../media/image72.jpeg"/><Relationship Id="rId2" Type="http://schemas.openxmlformats.org/officeDocument/2006/relationships/tags" Target="../tags/tag292.xml"/><Relationship Id="rId16" Type="http://schemas.openxmlformats.org/officeDocument/2006/relationships/image" Target="../media/image134.svg"/><Relationship Id="rId1" Type="http://schemas.openxmlformats.org/officeDocument/2006/relationships/tags" Target="../tags/tag291.xml"/><Relationship Id="rId6" Type="http://schemas.openxmlformats.org/officeDocument/2006/relationships/tags" Target="../tags/tag296.xml"/><Relationship Id="rId11" Type="http://schemas.openxmlformats.org/officeDocument/2006/relationships/slideLayout" Target="../slideLayouts/slideLayout9.xml"/><Relationship Id="rId5" Type="http://schemas.openxmlformats.org/officeDocument/2006/relationships/tags" Target="../tags/tag295.xml"/><Relationship Id="rId15" Type="http://schemas.openxmlformats.org/officeDocument/2006/relationships/image" Target="../media/image133.svg"/><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image" Target="../media/image140.sv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301.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42.jpeg"/></Relationships>
</file>

<file path=ppt/slides/_rels/slide47.xml.rels><?xml version="1.0" encoding="UTF-8" standalone="yes"?>
<Relationships xmlns="http://schemas.openxmlformats.org/package/2006/relationships"><Relationship Id="rId8" Type="http://schemas.openxmlformats.org/officeDocument/2006/relationships/image" Target="../media/image145.svg"/><Relationship Id="rId3" Type="http://schemas.openxmlformats.org/officeDocument/2006/relationships/notesSlide" Target="../notesSlides/notesSlide34.xml"/><Relationship Id="rId7" Type="http://schemas.openxmlformats.org/officeDocument/2006/relationships/image" Target="../media/image144.svg"/><Relationship Id="rId2" Type="http://schemas.openxmlformats.org/officeDocument/2006/relationships/slideLayout" Target="../slideLayouts/slideLayout9.xml"/><Relationship Id="rId1" Type="http://schemas.openxmlformats.org/officeDocument/2006/relationships/tags" Target="../tags/tag302.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43.png"/><Relationship Id="rId9" Type="http://schemas.openxmlformats.org/officeDocument/2006/relationships/image" Target="../media/image146.svg"/></Relationships>
</file>

<file path=ppt/slides/_rels/slide48.xml.rels><?xml version="1.0" encoding="UTF-8" standalone="yes"?>
<Relationships xmlns="http://schemas.openxmlformats.org/package/2006/relationships"><Relationship Id="rId8" Type="http://schemas.openxmlformats.org/officeDocument/2006/relationships/image" Target="../media/image148.emf"/><Relationship Id="rId3" Type="http://schemas.openxmlformats.org/officeDocument/2006/relationships/notesSlide" Target="../notesSlides/notesSlide35.xml"/><Relationship Id="rId7" Type="http://schemas.microsoft.com/office/2007/relationships/hdphoto" Target="../media/hdphoto2.wdp"/><Relationship Id="rId2" Type="http://schemas.openxmlformats.org/officeDocument/2006/relationships/slideLayout" Target="../slideLayouts/slideLayout9.xml"/><Relationship Id="rId1" Type="http://schemas.openxmlformats.org/officeDocument/2006/relationships/tags" Target="../tags/tag303.xml"/><Relationship Id="rId6" Type="http://schemas.openxmlformats.org/officeDocument/2006/relationships/image" Target="../media/image147.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4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9.jpg"/><Relationship Id="rId1" Type="http://schemas.openxmlformats.org/officeDocument/2006/relationships/slideLayout" Target="../slideLayouts/slideLayout9.xml"/><Relationship Id="rId4" Type="http://schemas.openxmlformats.org/officeDocument/2006/relationships/image" Target="../media/image150.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6.jpeg"/></Relationships>
</file>

<file path=ppt/slides/_rels/slide50.xml.rels><?xml version="1.0" encoding="UTF-8" standalone="yes"?>
<Relationships xmlns="http://schemas.openxmlformats.org/package/2006/relationships"><Relationship Id="rId8" Type="http://schemas.openxmlformats.org/officeDocument/2006/relationships/image" Target="../media/image152.svg"/><Relationship Id="rId3" Type="http://schemas.openxmlformats.org/officeDocument/2006/relationships/notesSlide" Target="../notesSlides/notesSlide36.xml"/><Relationship Id="rId7" Type="http://schemas.openxmlformats.org/officeDocument/2006/relationships/image" Target="../media/image1.emf"/><Relationship Id="rId12" Type="http://schemas.microsoft.com/office/2007/relationships/hdphoto" Target="../media/hdphoto3.wdp"/><Relationship Id="rId2" Type="http://schemas.openxmlformats.org/officeDocument/2006/relationships/slideLayout" Target="../slideLayouts/slideLayout27.xml"/><Relationship Id="rId1" Type="http://schemas.openxmlformats.org/officeDocument/2006/relationships/tags" Target="../tags/tag304.xml"/><Relationship Id="rId6" Type="http://schemas.openxmlformats.org/officeDocument/2006/relationships/oleObject" Target="../embeddings/oleObject15.bin"/><Relationship Id="rId11" Type="http://schemas.openxmlformats.org/officeDocument/2006/relationships/image" Target="../media/image154.png"/><Relationship Id="rId5" Type="http://schemas.openxmlformats.org/officeDocument/2006/relationships/image" Target="../media/image151.jpg"/><Relationship Id="rId10" Type="http://schemas.openxmlformats.org/officeDocument/2006/relationships/image" Target="../media/image15.svg"/><Relationship Id="rId4" Type="http://schemas.openxmlformats.org/officeDocument/2006/relationships/image" Target="../media/image13.jpeg"/><Relationship Id="rId9" Type="http://schemas.openxmlformats.org/officeDocument/2006/relationships/image" Target="../media/image153.svg"/></Relationships>
</file>

<file path=ppt/slides/_rels/slide51.xml.rels><?xml version="1.0" encoding="UTF-8" standalone="yes"?>
<Relationships xmlns="http://schemas.openxmlformats.org/package/2006/relationships"><Relationship Id="rId8" Type="http://schemas.openxmlformats.org/officeDocument/2006/relationships/image" Target="../media/image152.svg"/><Relationship Id="rId3" Type="http://schemas.openxmlformats.org/officeDocument/2006/relationships/notesSlide" Target="../notesSlides/notesSlide37.xml"/><Relationship Id="rId7" Type="http://schemas.openxmlformats.org/officeDocument/2006/relationships/image" Target="../media/image15.svg"/><Relationship Id="rId2" Type="http://schemas.openxmlformats.org/officeDocument/2006/relationships/slideLayout" Target="../slideLayouts/slideLayout27.xml"/><Relationship Id="rId1" Type="http://schemas.openxmlformats.org/officeDocument/2006/relationships/tags" Target="../tags/tag305.xml"/><Relationship Id="rId6" Type="http://schemas.openxmlformats.org/officeDocument/2006/relationships/image" Target="../media/image1.emf"/><Relationship Id="rId11" Type="http://schemas.microsoft.com/office/2007/relationships/hdphoto" Target="../media/hdphoto3.wdp"/><Relationship Id="rId5" Type="http://schemas.openxmlformats.org/officeDocument/2006/relationships/oleObject" Target="../embeddings/oleObject15.bin"/><Relationship Id="rId10" Type="http://schemas.openxmlformats.org/officeDocument/2006/relationships/image" Target="../media/image154.png"/><Relationship Id="rId4" Type="http://schemas.openxmlformats.org/officeDocument/2006/relationships/image" Target="../media/image13.jpeg"/><Relationship Id="rId9" Type="http://schemas.openxmlformats.org/officeDocument/2006/relationships/image" Target="../media/image153.svg"/></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6.xml"/><Relationship Id="rId7"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17.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36.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37.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38.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extplatzhalter 6">
            <a:extLst>
              <a:ext uri="{FF2B5EF4-FFF2-40B4-BE49-F238E27FC236}">
                <a16:creationId xmlns:a16="http://schemas.microsoft.com/office/drawing/2014/main" id="{2AE10CD7-4133-E3BB-409A-49BF44B98435}"/>
              </a:ext>
            </a:extLst>
          </p:cNvPr>
          <p:cNvSpPr>
            <a:spLocks noGrp="1"/>
          </p:cNvSpPr>
          <p:nvPr>
            <p:ph type="body" sz="quarter" idx="12"/>
          </p:nvPr>
        </p:nvSpPr>
        <p:spPr>
          <a:xfrm>
            <a:off x="623888" y="296863"/>
            <a:ext cx="9488833" cy="169277"/>
          </a:xfrm>
        </p:spPr>
        <p:txBody>
          <a:bodyPr/>
          <a:lstStyle/>
          <a:p>
            <a:r>
              <a:rPr lang="de-DE"/>
              <a:t>Vorwort zur Präsentation</a:t>
            </a:r>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a:xfrm>
            <a:off x="623888" y="620713"/>
            <a:ext cx="9488833" cy="738664"/>
          </a:xfrm>
        </p:spPr>
        <p:txBody>
          <a:bodyPr vert="horz"/>
          <a:lstStyle/>
          <a:p>
            <a:r>
              <a:rPr lang="de-DE" dirty="0"/>
              <a:t>Die Unternehmenspräsentation gibt einen Überblick über uns und unser Leistungsversprechen für Kunden, Bewerbende und Interessenten</a:t>
            </a:r>
          </a:p>
        </p:txBody>
      </p:sp>
      <p:sp>
        <p:nvSpPr>
          <p:cNvPr id="4" name="Inhaltsplatzhalter 3">
            <a:extLst>
              <a:ext uri="{FF2B5EF4-FFF2-40B4-BE49-F238E27FC236}">
                <a16:creationId xmlns:a16="http://schemas.microsoft.com/office/drawing/2014/main" id="{D942F1FF-9EE8-1726-8417-AFEF2BA97F1D}"/>
              </a:ext>
            </a:extLst>
          </p:cNvPr>
          <p:cNvSpPr>
            <a:spLocks noGrp="1"/>
          </p:cNvSpPr>
          <p:nvPr>
            <p:ph idx="1"/>
          </p:nvPr>
        </p:nvSpPr>
        <p:spPr>
          <a:xfrm>
            <a:off x="623888" y="1773239"/>
            <a:ext cx="11233150" cy="4319586"/>
          </a:xfrm>
        </p:spPr>
        <p:txBody>
          <a:bodyPr/>
          <a:lstStyle/>
          <a:p>
            <a:r>
              <a:rPr lang="de-DE"/>
              <a:t>Die Präsentation ist je nach Anlass modular verwendbar, entweder als Ganzes oder in Teilen. Für eine gelungene Präsentation ist es stets hilfreich, die Storyline an das Vorwissen des Publikums anzupassen.</a:t>
            </a:r>
          </a:p>
          <a:p>
            <a:r>
              <a:rPr lang="de-DE"/>
              <a:t>Bei einem Erstkontakt oder einer Messepräsentation kann es von Vorteil sein, grundsätzlich und breiter von der msg-Gruppe zu erzählen. Oder nur ein paar Seiten als Einführung zu verwenden, um zügig zum eigentlichen inhaltlichen Thema der Präsentation zu kommen. </a:t>
            </a:r>
          </a:p>
          <a:p>
            <a:r>
              <a:rPr lang="de-DE"/>
              <a:t>In der Unternehmenspräsentation finden sich viele vorformulierte Aussagen und Versprechen. Neben der Präsentation können diese auch direkt auf der Tonspur in einem Gespräch verwendet werden.</a:t>
            </a:r>
          </a:p>
          <a:p>
            <a:endParaRPr lang="de-DE"/>
          </a:p>
        </p:txBody>
      </p:sp>
      <p:sp>
        <p:nvSpPr>
          <p:cNvPr id="2" name="Fußzeilenplatzhalter 1">
            <a:extLst>
              <a:ext uri="{FF2B5EF4-FFF2-40B4-BE49-F238E27FC236}">
                <a16:creationId xmlns:a16="http://schemas.microsoft.com/office/drawing/2014/main" id="{E76ACFFF-5C94-8CA6-B823-E83E9C6DDD23}"/>
              </a:ext>
            </a:extLst>
          </p:cNvPr>
          <p:cNvSpPr>
            <a:spLocks noGrp="1"/>
          </p:cNvSpPr>
          <p:nvPr>
            <p:ph type="ftr" sz="quarter" idx="10"/>
          </p:nvPr>
        </p:nvSpPr>
        <p:spPr>
          <a:xfrm>
            <a:off x="655780" y="6443762"/>
            <a:ext cx="4968501" cy="153888"/>
          </a:xfrm>
        </p:spPr>
        <p:txBody>
          <a:bodyPr/>
          <a:lstStyle/>
          <a:p>
            <a:r>
              <a:rPr lang="de-DE"/>
              <a:t>© msg systems ag | 2026 | msg-Unternehmenspräsentation</a:t>
            </a:r>
            <a:endParaRPr lang="de-DE" dirty="0"/>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1</a:t>
            </a:fld>
            <a:endParaRPr lang="de-DE"/>
          </a:p>
        </p:txBody>
      </p:sp>
      <p:sp>
        <p:nvSpPr>
          <p:cNvPr id="7" name="Inhaltsplatzhalter 10">
            <a:extLst>
              <a:ext uri="{FF2B5EF4-FFF2-40B4-BE49-F238E27FC236}">
                <a16:creationId xmlns:a16="http://schemas.microsoft.com/office/drawing/2014/main" id="{9E0E338D-D38B-CC84-21A3-326D4F76EBDD}"/>
              </a:ext>
            </a:extLst>
          </p:cNvPr>
          <p:cNvSpPr>
            <a:spLocks noGrp="1"/>
          </p:cNvSpPr>
          <p:nvPr/>
        </p:nvSpPr>
        <p:spPr>
          <a:xfrm>
            <a:off x="1202644" y="1821158"/>
            <a:ext cx="9418824" cy="4461050"/>
          </a:xfrm>
          <a:prstGeom prst="rect">
            <a:avLst/>
          </a:prstGeom>
        </p:spPr>
        <p:txBody>
          <a:bodyPr vert="horz" lIns="0" tIns="0" rIns="0" bIns="0" rtlCol="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1200"/>
              </a:spcAft>
            </a:pPr>
            <a:endParaRPr lang="de-DE">
              <a:latin typeface="Aptos Light" panose="020B0004020202020204" pitchFamily="34" charset="0"/>
            </a:endParaRPr>
          </a:p>
        </p:txBody>
      </p:sp>
      <p:sp>
        <p:nvSpPr>
          <p:cNvPr id="8" name="Ellipse 7">
            <a:extLst>
              <a:ext uri="{FF2B5EF4-FFF2-40B4-BE49-F238E27FC236}">
                <a16:creationId xmlns:a16="http://schemas.microsoft.com/office/drawing/2014/main" id="{3690864A-641A-4EA5-073D-FDA4E4A08790}"/>
              </a:ext>
            </a:extLst>
          </p:cNvPr>
          <p:cNvSpPr/>
          <p:nvPr/>
        </p:nvSpPr>
        <p:spPr>
          <a:xfrm rot="900000">
            <a:off x="10296526" y="4634660"/>
            <a:ext cx="1504950" cy="1504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108000" tIns="72000" rIns="108000" bIns="72000" numCol="1" spcCol="0" rtlCol="0" fromWordArt="0" anchor="ctr" anchorCtr="0" forceAA="0" compatLnSpc="1">
            <a:prstTxWarp prst="textNoShape">
              <a:avLst/>
            </a:prstTxWarp>
            <a:noAutofit/>
          </a:bodyPr>
          <a:lstStyle>
            <a:defPPr>
              <a:defRPr lang="de-DE"/>
            </a:defPPr>
            <a:lvl1pPr marL="0" indent="0" algn="l" defTabSz="914400" rtl="0" eaLnBrk="1" latinLnBrk="0" hangingPunct="1">
              <a:lnSpc>
                <a:spcPct val="110000"/>
              </a:lnSpc>
              <a:spcBef>
                <a:spcPts val="0"/>
              </a:spcBef>
              <a:buClr>
                <a:schemeClr val="accent1"/>
              </a:buClr>
              <a:buFontTx/>
              <a:buNone/>
              <a:defRPr sz="1800" kern="1200">
                <a:solidFill>
                  <a:schemeClr val="lt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lt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lt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lt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9pPr>
          </a:lstStyle>
          <a:p>
            <a:pPr algn="ctr"/>
            <a:r>
              <a:rPr lang="de-DE">
                <a:solidFill>
                  <a:schemeClr val="bg1"/>
                </a:solidFill>
              </a:rPr>
              <a:t>Bitte diese </a:t>
            </a:r>
            <a:br>
              <a:rPr lang="de-DE">
                <a:solidFill>
                  <a:schemeClr val="bg1"/>
                </a:solidFill>
              </a:rPr>
            </a:br>
            <a:r>
              <a:rPr lang="de-DE">
                <a:solidFill>
                  <a:schemeClr val="bg1"/>
                </a:solidFill>
              </a:rPr>
              <a:t>Seite später</a:t>
            </a:r>
            <a:br>
              <a:rPr lang="de-DE">
                <a:solidFill>
                  <a:schemeClr val="bg1"/>
                </a:solidFill>
              </a:rPr>
            </a:br>
            <a:r>
              <a:rPr lang="de-DE">
                <a:solidFill>
                  <a:schemeClr val="bg1"/>
                </a:solidFill>
              </a:rPr>
              <a:t>löschen</a:t>
            </a:r>
          </a:p>
        </p:txBody>
      </p:sp>
    </p:spTree>
    <p:extLst>
      <p:ext uri="{BB962C8B-B14F-4D97-AF65-F5344CB8AC3E}">
        <p14:creationId xmlns:p14="http://schemas.microsoft.com/office/powerpoint/2010/main" val="21053313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Gerade Verbindung mit Pfeil 60">
            <a:extLst>
              <a:ext uri="{FF2B5EF4-FFF2-40B4-BE49-F238E27FC236}">
                <a16:creationId xmlns:a16="http://schemas.microsoft.com/office/drawing/2014/main" id="{3478EE0F-04C8-2D11-110E-E251E8DC65C3}"/>
              </a:ext>
            </a:extLst>
          </p:cNvPr>
          <p:cNvCxnSpPr>
            <a:cxnSpLocks/>
          </p:cNvCxnSpPr>
          <p:nvPr/>
        </p:nvCxnSpPr>
        <p:spPr>
          <a:xfrm flipV="1">
            <a:off x="1208480" y="6005517"/>
            <a:ext cx="10648558" cy="22217"/>
          </a:xfrm>
          <a:prstGeom prst="straightConnector1">
            <a:avLst/>
          </a:prstGeom>
          <a:ln w="12700">
            <a:solidFill>
              <a:schemeClr val="tx2"/>
            </a:solidFill>
            <a:headEnd type="none" w="med" len="med"/>
            <a:tailEnd type="triangle"/>
          </a:ln>
        </p:spPr>
        <p:style>
          <a:lnRef idx="1">
            <a:schemeClr val="accent1"/>
          </a:lnRef>
          <a:fillRef idx="0">
            <a:schemeClr val="accent1"/>
          </a:fillRef>
          <a:effectRef idx="0">
            <a:schemeClr val="accent1"/>
          </a:effectRef>
          <a:fontRef idx="minor">
            <a:schemeClr val="tx1"/>
          </a:fontRef>
        </p:style>
      </p:cxnSp>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306" imgH="306" progId="TCLayout.ActiveDocument.1">
                  <p:embed/>
                </p:oleObj>
              </mc:Choice>
              <mc:Fallback>
                <p:oleObj name="think-cell Folie" r:id="rId10"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0" name="Textplatzhalter 6">
            <a:extLst>
              <a:ext uri="{FF2B5EF4-FFF2-40B4-BE49-F238E27FC236}">
                <a16:creationId xmlns:a16="http://schemas.microsoft.com/office/drawing/2014/main" id="{2AE10CD7-4133-E3BB-409A-49BF44B98435}"/>
              </a:ext>
            </a:extLst>
          </p:cNvPr>
          <p:cNvSpPr>
            <a:spLocks noGrp="1"/>
          </p:cNvSpPr>
          <p:nvPr>
            <p:ph type="body" sz="quarter" idx="12"/>
          </p:nvPr>
        </p:nvSpPr>
        <p:spPr/>
        <p:txBody>
          <a:bodyPr/>
          <a:lstStyle/>
          <a:p>
            <a:r>
              <a:rPr lang="de-DE"/>
              <a:t>Die msg-Gruppe im Überblick</a:t>
            </a:r>
            <a:endParaRPr lang="en-US"/>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a:xfrm>
            <a:off x="623888" y="620713"/>
            <a:ext cx="10734675" cy="738664"/>
          </a:xfrm>
        </p:spPr>
        <p:txBody>
          <a:bodyPr vert="horz"/>
          <a:lstStyle/>
          <a:p>
            <a:r>
              <a:rPr lang="de-DE" dirty="0"/>
              <a:t>Vom Start-up mit drei Gründern zum</a:t>
            </a:r>
            <a:br>
              <a:rPr lang="de-DE" dirty="0"/>
            </a:br>
            <a:r>
              <a:rPr lang="de-DE" b="1" dirty="0"/>
              <a:t>Milliardenunternehmen ​mit weltweit über 10.000 IT- und Branchenprofis</a:t>
            </a:r>
          </a:p>
        </p:txBody>
      </p:sp>
      <p:sp>
        <p:nvSpPr>
          <p:cNvPr id="8" name="Fußzeilenplatzhalter 1">
            <a:extLst>
              <a:ext uri="{FF2B5EF4-FFF2-40B4-BE49-F238E27FC236}">
                <a16:creationId xmlns:a16="http://schemas.microsoft.com/office/drawing/2014/main" id="{37382940-12E8-0D0D-BAA3-2268C5F332F8}"/>
              </a:ext>
            </a:extLst>
          </p:cNvPr>
          <p:cNvSpPr>
            <a:spLocks noGrp="1"/>
          </p:cNvSpPr>
          <p:nvPr>
            <p:ph type="ftr" sz="quarter" idx="10"/>
          </p:nvPr>
        </p:nvSpPr>
        <p:spPr/>
        <p:txBody>
          <a:bodyPr/>
          <a:lstStyle/>
          <a:p>
            <a:r>
              <a:rPr lang="de-DE"/>
              <a:t>© msg systems ag | 2026 | msg-Unternehmenspräsentation</a:t>
            </a:r>
          </a:p>
        </p:txBody>
      </p:sp>
      <p:sp>
        <p:nvSpPr>
          <p:cNvPr id="3" name="Slide Number Placeholder 2">
            <a:extLst>
              <a:ext uri="{FF2B5EF4-FFF2-40B4-BE49-F238E27FC236}">
                <a16:creationId xmlns:a16="http://schemas.microsoft.com/office/drawing/2014/main" id="{B5B8B0EF-BB15-B3A1-04ED-6C43C9CF3B18}"/>
              </a:ext>
            </a:extLst>
          </p:cNvPr>
          <p:cNvSpPr>
            <a:spLocks noGrp="1"/>
          </p:cNvSpPr>
          <p:nvPr>
            <p:ph type="sldNum" sz="quarter" idx="11"/>
          </p:nvPr>
        </p:nvSpPr>
        <p:spPr/>
        <p:txBody>
          <a:bodyPr/>
          <a:lstStyle/>
          <a:p>
            <a:fld id="{B27B0579-4238-4E44-9A9E-134B676F827C}" type="slidenum">
              <a:rPr lang="de-DE" smtClean="0"/>
              <a:pPr/>
              <a:t>10</a:t>
            </a:fld>
            <a:endParaRPr lang="en-US"/>
          </a:p>
        </p:txBody>
      </p:sp>
      <p:sp>
        <p:nvSpPr>
          <p:cNvPr id="14" name="Titel 14">
            <a:extLst>
              <a:ext uri="{FF2B5EF4-FFF2-40B4-BE49-F238E27FC236}">
                <a16:creationId xmlns:a16="http://schemas.microsoft.com/office/drawing/2014/main" id="{5D65486A-5675-FA1F-0EAE-97864A89ECF9}"/>
              </a:ext>
            </a:extLst>
          </p:cNvPr>
          <p:cNvSpPr txBox="1">
            <a:spLocks/>
          </p:cNvSpPr>
          <p:nvPr/>
        </p:nvSpPr>
        <p:spPr>
          <a:xfrm>
            <a:off x="658813" y="1773238"/>
            <a:ext cx="4637784" cy="46166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pPr>
              <a:lnSpc>
                <a:spcPct val="100000"/>
              </a:lnSpc>
              <a:buClrTx/>
            </a:pPr>
            <a:r>
              <a:rPr lang="de-DE" sz="1500">
                <a:solidFill>
                  <a:schemeClr val="tx1"/>
                </a:solidFill>
                <a:latin typeface="+mn-lt"/>
                <a:cs typeface="Calibri Light"/>
              </a:rPr>
              <a:t>Drei ehemalige IT-Praktikanten </a:t>
            </a:r>
            <a:br>
              <a:rPr lang="de-DE" sz="1500">
                <a:latin typeface="+mn-lt"/>
                <a:cs typeface="Calibri Light" panose="020F0302020204030204" pitchFamily="34" charset="0"/>
              </a:rPr>
            </a:br>
            <a:r>
              <a:rPr lang="de-DE" sz="1500">
                <a:solidFill>
                  <a:schemeClr val="tx1"/>
                </a:solidFill>
                <a:latin typeface="+mn-lt"/>
                <a:cs typeface="Calibri Light"/>
              </a:rPr>
              <a:t>gründen msg…</a:t>
            </a:r>
          </a:p>
        </p:txBody>
      </p:sp>
      <p:sp>
        <p:nvSpPr>
          <p:cNvPr id="87" name="Titel 14">
            <a:extLst>
              <a:ext uri="{FF2B5EF4-FFF2-40B4-BE49-F238E27FC236}">
                <a16:creationId xmlns:a16="http://schemas.microsoft.com/office/drawing/2014/main" id="{420FCE64-65F4-3F01-34D1-F49C2FEB8CC7}"/>
              </a:ext>
            </a:extLst>
          </p:cNvPr>
          <p:cNvSpPr txBox="1">
            <a:spLocks/>
          </p:cNvSpPr>
          <p:nvPr/>
        </p:nvSpPr>
        <p:spPr>
          <a:xfrm>
            <a:off x="6427137" y="1787156"/>
            <a:ext cx="5288711" cy="46166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pPr algn="r">
              <a:lnSpc>
                <a:spcPct val="100000"/>
              </a:lnSpc>
              <a:buClrTx/>
            </a:pPr>
            <a:r>
              <a:rPr lang="de-DE" sz="1500" dirty="0">
                <a:solidFill>
                  <a:schemeClr val="tx1"/>
                </a:solidFill>
                <a:latin typeface="+mn-lt"/>
                <a:cs typeface="Calibri Light" panose="020F0302020204030204" pitchFamily="34" charset="0"/>
              </a:rPr>
              <a:t>… das größte inhabergeführte </a:t>
            </a:r>
            <a:br>
              <a:rPr lang="de-DE" sz="1500" dirty="0">
                <a:solidFill>
                  <a:schemeClr val="tx1"/>
                </a:solidFill>
                <a:latin typeface="+mn-lt"/>
                <a:cs typeface="Calibri Light" panose="020F0302020204030204" pitchFamily="34" charset="0"/>
              </a:rPr>
            </a:br>
            <a:r>
              <a:rPr lang="de-DE" sz="1500" dirty="0">
                <a:solidFill>
                  <a:schemeClr val="tx1"/>
                </a:solidFill>
                <a:latin typeface="+mn-lt"/>
                <a:cs typeface="Calibri Light" panose="020F0302020204030204" pitchFamily="34" charset="0"/>
              </a:rPr>
              <a:t>Beratungs- und IT-Unternehmen in Europa</a:t>
            </a:r>
          </a:p>
        </p:txBody>
      </p:sp>
      <p:grpSp>
        <p:nvGrpSpPr>
          <p:cNvPr id="17" name="Gruppieren 16">
            <a:extLst>
              <a:ext uri="{FF2B5EF4-FFF2-40B4-BE49-F238E27FC236}">
                <a16:creationId xmlns:a16="http://schemas.microsoft.com/office/drawing/2014/main" id="{4BE42475-52D0-D983-D461-8DC005847020}"/>
              </a:ext>
            </a:extLst>
          </p:cNvPr>
          <p:cNvGrpSpPr/>
          <p:nvPr/>
        </p:nvGrpSpPr>
        <p:grpSpPr>
          <a:xfrm>
            <a:off x="580812" y="2330687"/>
            <a:ext cx="11239400" cy="3266182"/>
            <a:chOff x="580812" y="2330687"/>
            <a:chExt cx="11239400" cy="3266182"/>
          </a:xfrm>
        </p:grpSpPr>
        <p:grpSp>
          <p:nvGrpSpPr>
            <p:cNvPr id="15" name="Gruppieren 14">
              <a:extLst>
                <a:ext uri="{FF2B5EF4-FFF2-40B4-BE49-F238E27FC236}">
                  <a16:creationId xmlns:a16="http://schemas.microsoft.com/office/drawing/2014/main" id="{B16D7FA0-0D65-E6A1-7974-4C0BA1099252}"/>
                </a:ext>
              </a:extLst>
            </p:cNvPr>
            <p:cNvGrpSpPr/>
            <p:nvPr/>
          </p:nvGrpSpPr>
          <p:grpSpPr>
            <a:xfrm>
              <a:off x="580812" y="2330687"/>
              <a:ext cx="11239400" cy="3266182"/>
              <a:chOff x="580812" y="2330687"/>
              <a:chExt cx="11239400" cy="3266182"/>
            </a:xfrm>
          </p:grpSpPr>
          <p:sp>
            <p:nvSpPr>
              <p:cNvPr id="4" name="Freihandform 3">
                <a:extLst>
                  <a:ext uri="{FF2B5EF4-FFF2-40B4-BE49-F238E27FC236}">
                    <a16:creationId xmlns:a16="http://schemas.microsoft.com/office/drawing/2014/main" id="{ABBFEB17-59DE-0E9C-1AAE-9C48B1B3D1B5}"/>
                  </a:ext>
                </a:extLst>
              </p:cNvPr>
              <p:cNvSpPr/>
              <p:nvPr/>
            </p:nvSpPr>
            <p:spPr>
              <a:xfrm>
                <a:off x="1314765" y="2344190"/>
                <a:ext cx="8849802" cy="3252679"/>
              </a:xfrm>
              <a:custGeom>
                <a:avLst/>
                <a:gdLst>
                  <a:gd name="connsiteX0" fmla="*/ 0 w 8849802"/>
                  <a:gd name="connsiteY0" fmla="*/ 906449 h 3307743"/>
                  <a:gd name="connsiteX1" fmla="*/ 8849802 w 8849802"/>
                  <a:gd name="connsiteY1" fmla="*/ 0 h 3307743"/>
                  <a:gd name="connsiteX2" fmla="*/ 8849802 w 8849802"/>
                  <a:gd name="connsiteY2" fmla="*/ 3307743 h 3307743"/>
                  <a:gd name="connsiteX3" fmla="*/ 15903 w 8849802"/>
                  <a:gd name="connsiteY3" fmla="*/ 2393343 h 3307743"/>
                  <a:gd name="connsiteX4" fmla="*/ 0 w 8849802"/>
                  <a:gd name="connsiteY4" fmla="*/ 906449 h 3307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9802" h="3307743">
                    <a:moveTo>
                      <a:pt x="0" y="906449"/>
                    </a:moveTo>
                    <a:lnTo>
                      <a:pt x="8849802" y="0"/>
                    </a:lnTo>
                    <a:lnTo>
                      <a:pt x="8849802" y="3307743"/>
                    </a:lnTo>
                    <a:lnTo>
                      <a:pt x="15903" y="2393343"/>
                    </a:lnTo>
                    <a:cubicBezTo>
                      <a:pt x="18553" y="1903013"/>
                      <a:pt x="21204" y="1412682"/>
                      <a:pt x="0" y="906449"/>
                    </a:cubicBezTo>
                    <a:close/>
                  </a:path>
                </a:pathLst>
              </a:custGeom>
              <a:solidFill>
                <a:schemeClr val="bg2">
                  <a:lumMod val="40000"/>
                  <a:lumOff val="6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pic>
            <p:nvPicPr>
              <p:cNvPr id="139" name="Grafik 138" descr="Ein Bild, das Text, Screenshot, Design, Schrift enthält.&#10;&#10;Automatisch generierte Beschreibung">
                <a:extLst>
                  <a:ext uri="{FF2B5EF4-FFF2-40B4-BE49-F238E27FC236}">
                    <a16:creationId xmlns:a16="http://schemas.microsoft.com/office/drawing/2014/main" id="{FDB9F0E8-0575-D5A9-417E-21F65AD719B6}"/>
                  </a:ext>
                </a:extLst>
              </p:cNvPr>
              <p:cNvPicPr>
                <a:picLocks noChangeAspect="1"/>
              </p:cNvPicPr>
              <p:nvPr/>
            </p:nvPicPr>
            <p:blipFill rotWithShape="1">
              <a:blip r:embed="rId12" cstate="screen">
                <a:extLst>
                  <a:ext uri="{28A0092B-C50C-407E-A947-70E740481C1C}">
                    <a14:useLocalDpi xmlns:a14="http://schemas.microsoft.com/office/drawing/2010/main" val="0"/>
                  </a:ext>
                </a:extLst>
              </a:blip>
              <a:srcRect/>
              <a:stretch/>
            </p:blipFill>
            <p:spPr>
              <a:xfrm>
                <a:off x="3648246" y="3787919"/>
                <a:ext cx="786648" cy="430571"/>
              </a:xfrm>
              <a:prstGeom prst="rect">
                <a:avLst/>
              </a:prstGeom>
            </p:spPr>
          </p:pic>
          <p:pic>
            <p:nvPicPr>
              <p:cNvPr id="140" name="Grafik 139">
                <a:extLst>
                  <a:ext uri="{FF2B5EF4-FFF2-40B4-BE49-F238E27FC236}">
                    <a16:creationId xmlns:a16="http://schemas.microsoft.com/office/drawing/2014/main" id="{8D28E85A-91AE-9AF3-A5B9-A3AB242653AB}"/>
                  </a:ext>
                </a:extLst>
              </p:cNvPr>
              <p:cNvPicPr>
                <a:picLocks noChangeAspect="1"/>
              </p:cNvPicPr>
              <p:nvPr/>
            </p:nvPicPr>
            <p:blipFill>
              <a:blip r:embed="rId13"/>
              <a:srcRect/>
              <a:stretch/>
            </p:blipFill>
            <p:spPr>
              <a:xfrm>
                <a:off x="4780643" y="3875650"/>
                <a:ext cx="836989" cy="279183"/>
              </a:xfrm>
              <a:prstGeom prst="rect">
                <a:avLst/>
              </a:prstGeom>
            </p:spPr>
          </p:pic>
          <p:pic>
            <p:nvPicPr>
              <p:cNvPr id="141" name="Grafik 140" descr="Ein Bild, das Text, Screenshot, Design, Schrift enthält.&#10;&#10;Automatisch generierte Beschreibung">
                <a:extLst>
                  <a:ext uri="{FF2B5EF4-FFF2-40B4-BE49-F238E27FC236}">
                    <a16:creationId xmlns:a16="http://schemas.microsoft.com/office/drawing/2014/main" id="{64D72B06-D578-B605-3EEF-5F5B01FD214E}"/>
                  </a:ext>
                </a:extLst>
              </p:cNvPr>
              <p:cNvPicPr>
                <a:picLocks noChangeAspect="1"/>
              </p:cNvPicPr>
              <p:nvPr/>
            </p:nvPicPr>
            <p:blipFill rotWithShape="1">
              <a:blip r:embed="rId14" cstate="screen">
                <a:extLst>
                  <a:ext uri="{28A0092B-C50C-407E-A947-70E740481C1C}">
                    <a14:useLocalDpi xmlns:a14="http://schemas.microsoft.com/office/drawing/2010/main" val="0"/>
                  </a:ext>
                </a:extLst>
              </a:blip>
              <a:srcRect/>
              <a:stretch/>
            </p:blipFill>
            <p:spPr>
              <a:xfrm>
                <a:off x="6105663" y="3710101"/>
                <a:ext cx="954995" cy="540099"/>
              </a:xfrm>
              <a:prstGeom prst="rect">
                <a:avLst/>
              </a:prstGeom>
              <a:noFill/>
            </p:spPr>
          </p:pic>
          <p:pic>
            <p:nvPicPr>
              <p:cNvPr id="142" name="Grafik 141" descr="Ein Bild, das Text, Screenshot, Design, Schrift enthält.&#10;&#10;Automatisch generierte Beschreibung">
                <a:extLst>
                  <a:ext uri="{FF2B5EF4-FFF2-40B4-BE49-F238E27FC236}">
                    <a16:creationId xmlns:a16="http://schemas.microsoft.com/office/drawing/2014/main" id="{42E415E6-6547-7E03-9C9C-5DC047E4C2ED}"/>
                  </a:ext>
                </a:extLst>
              </p:cNvPr>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7397117" y="3703283"/>
                <a:ext cx="954995" cy="540099"/>
              </a:xfrm>
              <a:prstGeom prst="rect">
                <a:avLst/>
              </a:prstGeom>
            </p:spPr>
          </p:pic>
          <p:sp>
            <p:nvSpPr>
              <p:cNvPr id="2" name="Ellipse 1">
                <a:extLst>
                  <a:ext uri="{FF2B5EF4-FFF2-40B4-BE49-F238E27FC236}">
                    <a16:creationId xmlns:a16="http://schemas.microsoft.com/office/drawing/2014/main" id="{16A914AE-B70F-3233-4DDA-1DF63FA546E4}"/>
                  </a:ext>
                </a:extLst>
              </p:cNvPr>
              <p:cNvSpPr/>
              <p:nvPr/>
            </p:nvSpPr>
            <p:spPr>
              <a:xfrm flipH="1">
                <a:off x="580812" y="3227191"/>
                <a:ext cx="1526044" cy="1526044"/>
              </a:xfrm>
              <a:prstGeom prst="ellipse">
                <a:avLst/>
              </a:prstGeom>
              <a:blipFill dpi="0" rotWithShape="1">
                <a:blip r:embed="rId16" cstate="hqprint">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19" name="Textfeld 18">
                <a:extLst>
                  <a:ext uri="{FF2B5EF4-FFF2-40B4-BE49-F238E27FC236}">
                    <a16:creationId xmlns:a16="http://schemas.microsoft.com/office/drawing/2014/main" id="{38FB3698-88A1-6A12-39E8-EF27C4A8E5F3}"/>
                  </a:ext>
                </a:extLst>
              </p:cNvPr>
              <p:cNvSpPr txBox="1"/>
              <p:nvPr/>
            </p:nvSpPr>
            <p:spPr>
              <a:xfrm>
                <a:off x="598233" y="3609836"/>
                <a:ext cx="1491202" cy="738664"/>
              </a:xfrm>
              <a:prstGeom prst="rect">
                <a:avLst/>
              </a:prstGeom>
            </p:spPr>
            <p:txBody>
              <a:bodyPr vert="horz" wrap="square" lIns="0" tIns="0" rIns="0" bIns="0" rtlCol="0" anchor="t" anchorCtr="0">
                <a:spAutoFit/>
              </a:bodyPr>
              <a:lstStyle/>
              <a:p>
                <a:pPr algn="ctr">
                  <a:lnSpc>
                    <a:spcPct val="100000"/>
                  </a:lnSpc>
                </a:pPr>
                <a:r>
                  <a:rPr lang="de-DE" sz="1600">
                    <a:solidFill>
                      <a:schemeClr val="bg1"/>
                    </a:solidFill>
                    <a:latin typeface="+mj-lt"/>
                  </a:rPr>
                  <a:t>3 Gründer</a:t>
                </a:r>
              </a:p>
              <a:p>
                <a:pPr algn="ctr">
                  <a:lnSpc>
                    <a:spcPct val="100000"/>
                  </a:lnSpc>
                </a:pPr>
                <a:r>
                  <a:rPr lang="de-DE" sz="1600">
                    <a:solidFill>
                      <a:schemeClr val="bg1"/>
                    </a:solidFill>
                    <a:latin typeface="+mj-lt"/>
                  </a:rPr>
                  <a:t>1 Kunde</a:t>
                </a:r>
                <a:endParaRPr lang="de-DE" sz="1600">
                  <a:solidFill>
                    <a:schemeClr val="bg1"/>
                  </a:solidFill>
                  <a:latin typeface="+mj-lt"/>
                  <a:cs typeface="Calibri"/>
                </a:endParaRPr>
              </a:p>
              <a:p>
                <a:pPr algn="ctr">
                  <a:lnSpc>
                    <a:spcPct val="100000"/>
                  </a:lnSpc>
                </a:pPr>
                <a:r>
                  <a:rPr lang="de-DE" sz="1600">
                    <a:solidFill>
                      <a:schemeClr val="bg1"/>
                    </a:solidFill>
                    <a:latin typeface="+mj-lt"/>
                  </a:rPr>
                  <a:t>1 Land</a:t>
                </a:r>
                <a:endParaRPr lang="de-DE" sz="1600">
                  <a:solidFill>
                    <a:schemeClr val="bg1"/>
                  </a:solidFill>
                  <a:latin typeface="+mj-lt"/>
                  <a:cs typeface="Calibri"/>
                </a:endParaRPr>
              </a:p>
            </p:txBody>
          </p:sp>
          <p:sp>
            <p:nvSpPr>
              <p:cNvPr id="5" name="Ellipse 4">
                <a:extLst>
                  <a:ext uri="{FF2B5EF4-FFF2-40B4-BE49-F238E27FC236}">
                    <a16:creationId xmlns:a16="http://schemas.microsoft.com/office/drawing/2014/main" id="{D773CBAF-A291-E048-D026-D1DB17212A13}"/>
                  </a:ext>
                </a:extLst>
              </p:cNvPr>
              <p:cNvSpPr/>
              <p:nvPr/>
            </p:nvSpPr>
            <p:spPr>
              <a:xfrm flipH="1">
                <a:off x="8567533" y="2330687"/>
                <a:ext cx="3252679" cy="3252679"/>
              </a:xfrm>
              <a:prstGeom prst="ellipse">
                <a:avLst/>
              </a:prstGeom>
              <a:blipFill dpi="0" rotWithShape="1">
                <a:blip r:embed="rId16" cstate="hqprint">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18" name="Textfeld 17">
                <a:extLst>
                  <a:ext uri="{FF2B5EF4-FFF2-40B4-BE49-F238E27FC236}">
                    <a16:creationId xmlns:a16="http://schemas.microsoft.com/office/drawing/2014/main" id="{DE35468F-12A9-FE27-6641-20A90EC6D175}"/>
                  </a:ext>
                </a:extLst>
              </p:cNvPr>
              <p:cNvSpPr txBox="1"/>
              <p:nvPr/>
            </p:nvSpPr>
            <p:spPr>
              <a:xfrm>
                <a:off x="8897502" y="3390049"/>
                <a:ext cx="2592742" cy="1200329"/>
              </a:xfrm>
              <a:prstGeom prst="rect">
                <a:avLst/>
              </a:prstGeom>
            </p:spPr>
            <p:txBody>
              <a:bodyPr vert="horz" wrap="square" lIns="0" tIns="0" rIns="0" bIns="0" rtlCol="0" anchor="t" anchorCtr="0">
                <a:spAutoFit/>
              </a:bodyPr>
              <a:lstStyle/>
              <a:p>
                <a:pPr algn="ctr">
                  <a:lnSpc>
                    <a:spcPct val="100000"/>
                  </a:lnSpc>
                </a:pPr>
                <a:r>
                  <a:rPr lang="de-DE" sz="2600" dirty="0">
                    <a:solidFill>
                      <a:schemeClr val="bg1"/>
                    </a:solidFill>
                    <a:latin typeface="+mj-lt"/>
                  </a:rPr>
                  <a:t>&gt; 10.000 Experten</a:t>
                </a:r>
              </a:p>
              <a:p>
                <a:pPr algn="ctr">
                  <a:lnSpc>
                    <a:spcPct val="100000"/>
                  </a:lnSpc>
                </a:pPr>
                <a:r>
                  <a:rPr lang="de-DE" sz="2600" dirty="0">
                    <a:solidFill>
                      <a:schemeClr val="bg1"/>
                    </a:solidFill>
                  </a:rPr>
                  <a:t>&gt; </a:t>
                </a:r>
                <a:r>
                  <a:rPr lang="de-DE" sz="2600" dirty="0">
                    <a:solidFill>
                      <a:schemeClr val="bg1"/>
                    </a:solidFill>
                    <a:latin typeface="+mj-lt"/>
                  </a:rPr>
                  <a:t>3.000 Kunden</a:t>
                </a:r>
                <a:endParaRPr lang="de-DE" sz="2600" dirty="0">
                  <a:solidFill>
                    <a:schemeClr val="bg1"/>
                  </a:solidFill>
                  <a:latin typeface="+mj-lt"/>
                  <a:ea typeface="Calibri"/>
                  <a:cs typeface="Calibri"/>
                </a:endParaRPr>
              </a:p>
              <a:p>
                <a:pPr algn="ctr">
                  <a:lnSpc>
                    <a:spcPct val="100000"/>
                  </a:lnSpc>
                </a:pPr>
                <a:r>
                  <a:rPr lang="de-DE" sz="2600" dirty="0">
                    <a:solidFill>
                      <a:schemeClr val="bg1"/>
                    </a:solidFill>
                    <a:latin typeface="+mj-lt"/>
                  </a:rPr>
                  <a:t>34 Länder</a:t>
                </a:r>
                <a:endParaRPr lang="de-DE" sz="2600" dirty="0">
                  <a:solidFill>
                    <a:schemeClr val="bg1"/>
                  </a:solidFill>
                  <a:latin typeface="+mj-lt"/>
                  <a:ea typeface="Calibri"/>
                  <a:cs typeface="Calibri"/>
                </a:endParaRPr>
              </a:p>
            </p:txBody>
          </p:sp>
        </p:grpSp>
        <p:pic>
          <p:nvPicPr>
            <p:cNvPr id="12" name="Grafik 11" descr="Ein Bild, das Screenshot, Schrift, Schwarz, Grafiken enthält.&#10;&#10;Automatisch generierte Beschreibung">
              <a:extLst>
                <a:ext uri="{FF2B5EF4-FFF2-40B4-BE49-F238E27FC236}">
                  <a16:creationId xmlns:a16="http://schemas.microsoft.com/office/drawing/2014/main" id="{F835389F-C7E7-AB80-9D94-8E65CFECAD80}"/>
                </a:ext>
              </a:extLst>
            </p:cNvPr>
            <p:cNvPicPr>
              <a:picLocks noChangeAspect="1"/>
            </p:cNvPicPr>
            <p:nvPr/>
          </p:nvPicPr>
          <p:blipFill>
            <a:blip r:embed="rId17"/>
            <a:stretch>
              <a:fillRect/>
            </a:stretch>
          </p:blipFill>
          <p:spPr>
            <a:xfrm>
              <a:off x="2318921" y="3871418"/>
              <a:ext cx="938629" cy="276797"/>
            </a:xfrm>
            <a:prstGeom prst="rect">
              <a:avLst/>
            </a:prstGeom>
          </p:spPr>
        </p:pic>
      </p:grpSp>
      <p:sp>
        <p:nvSpPr>
          <p:cNvPr id="25" name="Textfeld 24">
            <a:extLst>
              <a:ext uri="{FF2B5EF4-FFF2-40B4-BE49-F238E27FC236}">
                <a16:creationId xmlns:a16="http://schemas.microsoft.com/office/drawing/2014/main" id="{DFB6DA56-5EB2-085D-13ED-32D9CD1E64A9}"/>
              </a:ext>
            </a:extLst>
          </p:cNvPr>
          <p:cNvSpPr txBox="1"/>
          <p:nvPr>
            <p:custDataLst>
              <p:tags r:id="rId2"/>
            </p:custDataLst>
          </p:nvPr>
        </p:nvSpPr>
        <p:spPr>
          <a:xfrm>
            <a:off x="864916"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8">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80</a:t>
            </a:r>
          </a:p>
        </p:txBody>
      </p:sp>
      <p:sp>
        <p:nvSpPr>
          <p:cNvPr id="26" name="Textfeld 25">
            <a:extLst>
              <a:ext uri="{FF2B5EF4-FFF2-40B4-BE49-F238E27FC236}">
                <a16:creationId xmlns:a16="http://schemas.microsoft.com/office/drawing/2014/main" id="{5FD3D6AC-3596-7C47-8E04-4F2728AC163A}"/>
              </a:ext>
            </a:extLst>
          </p:cNvPr>
          <p:cNvSpPr txBox="1"/>
          <p:nvPr>
            <p:custDataLst>
              <p:tags r:id="rId3"/>
            </p:custDataLst>
          </p:nvPr>
        </p:nvSpPr>
        <p:spPr>
          <a:xfrm>
            <a:off x="2714477"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8">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90</a:t>
            </a:r>
          </a:p>
        </p:txBody>
      </p:sp>
      <p:sp>
        <p:nvSpPr>
          <p:cNvPr id="27" name="Textfeld 26">
            <a:extLst>
              <a:ext uri="{FF2B5EF4-FFF2-40B4-BE49-F238E27FC236}">
                <a16:creationId xmlns:a16="http://schemas.microsoft.com/office/drawing/2014/main" id="{D796C0DF-BE3B-ED41-DE61-09E59A485CB7}"/>
              </a:ext>
            </a:extLst>
          </p:cNvPr>
          <p:cNvSpPr txBox="1"/>
          <p:nvPr>
            <p:custDataLst>
              <p:tags r:id="rId4"/>
            </p:custDataLst>
          </p:nvPr>
        </p:nvSpPr>
        <p:spPr>
          <a:xfrm>
            <a:off x="4564038"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8">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95</a:t>
            </a:r>
          </a:p>
        </p:txBody>
      </p:sp>
      <p:sp>
        <p:nvSpPr>
          <p:cNvPr id="28" name="Textfeld 27">
            <a:extLst>
              <a:ext uri="{FF2B5EF4-FFF2-40B4-BE49-F238E27FC236}">
                <a16:creationId xmlns:a16="http://schemas.microsoft.com/office/drawing/2014/main" id="{27C8DB95-16F2-43D4-E88F-BC837649326F}"/>
              </a:ext>
            </a:extLst>
          </p:cNvPr>
          <p:cNvSpPr txBox="1"/>
          <p:nvPr>
            <p:custDataLst>
              <p:tags r:id="rId5"/>
            </p:custDataLst>
          </p:nvPr>
        </p:nvSpPr>
        <p:spPr>
          <a:xfrm>
            <a:off x="6413599"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8">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01</a:t>
            </a:r>
          </a:p>
        </p:txBody>
      </p:sp>
      <p:sp>
        <p:nvSpPr>
          <p:cNvPr id="29" name="Textfeld 28">
            <a:extLst>
              <a:ext uri="{FF2B5EF4-FFF2-40B4-BE49-F238E27FC236}">
                <a16:creationId xmlns:a16="http://schemas.microsoft.com/office/drawing/2014/main" id="{6284712F-5F62-F7D1-B7D3-1EFE8E07352C}"/>
              </a:ext>
            </a:extLst>
          </p:cNvPr>
          <p:cNvSpPr txBox="1"/>
          <p:nvPr>
            <p:custDataLst>
              <p:tags r:id="rId6"/>
            </p:custDataLst>
          </p:nvPr>
        </p:nvSpPr>
        <p:spPr>
          <a:xfrm>
            <a:off x="8263160"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8">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14</a:t>
            </a:r>
          </a:p>
        </p:txBody>
      </p:sp>
      <p:sp>
        <p:nvSpPr>
          <p:cNvPr id="30" name="Textfeld 29">
            <a:extLst>
              <a:ext uri="{FF2B5EF4-FFF2-40B4-BE49-F238E27FC236}">
                <a16:creationId xmlns:a16="http://schemas.microsoft.com/office/drawing/2014/main" id="{ACF8CC0F-85E9-3788-9AD6-9B81D11839C4}"/>
              </a:ext>
            </a:extLst>
          </p:cNvPr>
          <p:cNvSpPr txBox="1"/>
          <p:nvPr>
            <p:custDataLst>
              <p:tags r:id="rId7"/>
            </p:custDataLst>
          </p:nvPr>
        </p:nvSpPr>
        <p:spPr>
          <a:xfrm>
            <a:off x="10112721" y="5885507"/>
            <a:ext cx="828000" cy="274418"/>
          </a:xfrm>
          <a:prstGeom prst="rect">
            <a:avLst/>
          </a:prstGeom>
          <a:solidFill>
            <a:schemeClr val="bg1"/>
          </a:solidFill>
        </p:spPr>
        <p:txBody>
          <a:bodyPr wrap="none" lIns="0" tIns="0" rIns="0" bIns="0" rtlCol="0" anchor="ctr" anchorCtr="0">
            <a:noAutofit/>
          </a:bodyPr>
          <a:lstStyle/>
          <a:p>
            <a:pPr algn="ctr"/>
            <a:r>
              <a:rPr lang="de-DE" sz="2500" dirty="0">
                <a:blipFill dpi="0" rotWithShape="1">
                  <a:blip r:embed="rId18">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26</a:t>
            </a:r>
          </a:p>
        </p:txBody>
      </p:sp>
    </p:spTree>
    <p:extLst>
      <p:ext uri="{BB962C8B-B14F-4D97-AF65-F5344CB8AC3E}">
        <p14:creationId xmlns:p14="http://schemas.microsoft.com/office/powerpoint/2010/main" val="1306548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289D09-8EC7-5811-3E99-2A48943D9B3E}"/>
            </a:ext>
          </a:extLst>
        </p:cNvPr>
        <p:cNvGrpSpPr/>
        <p:nvPr/>
      </p:nvGrpSpPr>
      <p:grpSpPr>
        <a:xfrm>
          <a:off x="0" y="0"/>
          <a:ext cx="0" cy="0"/>
          <a:chOff x="0" y="0"/>
          <a:chExt cx="0" cy="0"/>
        </a:xfrm>
      </p:grpSpPr>
      <p:cxnSp>
        <p:nvCxnSpPr>
          <p:cNvPr id="15" name="Gerade Verbindung 19">
            <a:extLst>
              <a:ext uri="{FF2B5EF4-FFF2-40B4-BE49-F238E27FC236}">
                <a16:creationId xmlns:a16="http://schemas.microsoft.com/office/drawing/2014/main" id="{54F56E08-19FF-84F0-FAF2-6F261643A792}"/>
              </a:ext>
            </a:extLst>
          </p:cNvPr>
          <p:cNvCxnSpPr>
            <a:cxnSpLocks/>
          </p:cNvCxnSpPr>
          <p:nvPr/>
        </p:nvCxnSpPr>
        <p:spPr>
          <a:xfrm>
            <a:off x="9961640" y="3860469"/>
            <a:ext cx="0" cy="1032798"/>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9" name="think-cell data - do not delete" hidden="1">
            <a:extLst>
              <a:ext uri="{FF2B5EF4-FFF2-40B4-BE49-F238E27FC236}">
                <a16:creationId xmlns:a16="http://schemas.microsoft.com/office/drawing/2014/main" id="{79C634BC-909F-AAF9-0A85-01EB33E2A7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7" imgW="306" imgH="306" progId="TCLayout.ActiveDocument.1">
                  <p:embed/>
                </p:oleObj>
              </mc:Choice>
              <mc:Fallback>
                <p:oleObj name="think-cell Folie" r:id="rId47" imgW="306" imgH="306" progId="TCLayout.ActiveDocument.1">
                  <p:embed/>
                  <p:pic>
                    <p:nvPicPr>
                      <p:cNvPr id="9" name="think-cell data - do not delete" hidden="1">
                        <a:extLst>
                          <a:ext uri="{FF2B5EF4-FFF2-40B4-BE49-F238E27FC236}">
                            <a16:creationId xmlns:a16="http://schemas.microsoft.com/office/drawing/2014/main" id="{79C634BC-909F-AAF9-0A85-01EB33E2A75D}"/>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8" name="Textplatzhalter 6">
            <a:extLst>
              <a:ext uri="{FF2B5EF4-FFF2-40B4-BE49-F238E27FC236}">
                <a16:creationId xmlns:a16="http://schemas.microsoft.com/office/drawing/2014/main" id="{ED6D101B-8FC0-014E-A6BF-BD7D2FFC3925}"/>
              </a:ext>
            </a:extLst>
          </p:cNvPr>
          <p:cNvSpPr>
            <a:spLocks noGrp="1"/>
          </p:cNvSpPr>
          <p:nvPr>
            <p:ph type="body" sz="quarter" idx="12"/>
            <p:custDataLst>
              <p:tags r:id="rId2"/>
            </p:custDataLst>
          </p:nvPr>
        </p:nvSpPr>
        <p:spPr/>
        <p:txBody>
          <a:bodyPr vert="horz" wrap="square" lIns="0" tIns="0" rIns="0" bIns="0" rtlCol="0" anchor="t">
            <a:spAutoFit/>
          </a:bodyPr>
          <a:lstStyle/>
          <a:p>
            <a:r>
              <a:rPr lang="de-DE"/>
              <a:t>Die msg-Gruppe im Überblick</a:t>
            </a:r>
            <a:endParaRPr lang="en-US"/>
          </a:p>
        </p:txBody>
      </p:sp>
      <p:sp>
        <p:nvSpPr>
          <p:cNvPr id="6" name="Titel 5">
            <a:extLst>
              <a:ext uri="{FF2B5EF4-FFF2-40B4-BE49-F238E27FC236}">
                <a16:creationId xmlns:a16="http://schemas.microsoft.com/office/drawing/2014/main" id="{54B4822E-9342-9C97-F7DC-5FF4FECB5B44}"/>
              </a:ext>
            </a:extLst>
          </p:cNvPr>
          <p:cNvSpPr>
            <a:spLocks noGrp="1"/>
          </p:cNvSpPr>
          <p:nvPr>
            <p:ph type="title"/>
            <p:custDataLst>
              <p:tags r:id="rId3"/>
            </p:custDataLst>
          </p:nvPr>
        </p:nvSpPr>
        <p:spPr/>
        <p:txBody>
          <a:bodyPr/>
          <a:lstStyle/>
          <a:p>
            <a:r>
              <a:rPr lang="de-DE" b="1" dirty="0"/>
              <a:t>Die ganzheitliche Aufstellung </a:t>
            </a:r>
            <a:r>
              <a:rPr lang="de-DE" dirty="0"/>
              <a:t>der </a:t>
            </a:r>
            <a:r>
              <a:rPr lang="de-DE" dirty="0" err="1"/>
              <a:t>msg</a:t>
            </a:r>
            <a:r>
              <a:rPr lang="de-DE" dirty="0"/>
              <a:t>-Gruppe trägt seit mehr als </a:t>
            </a:r>
            <a:br>
              <a:rPr lang="de-DE" dirty="0"/>
            </a:br>
            <a:r>
              <a:rPr lang="de-DE" dirty="0"/>
              <a:t>vier Jahrzehnten maßgeblich zum Erfolg bei</a:t>
            </a:r>
            <a:br>
              <a:rPr lang="de-DE" dirty="0"/>
            </a:br>
            <a:endParaRPr lang="de-DE" dirty="0"/>
          </a:p>
        </p:txBody>
      </p:sp>
      <p:sp>
        <p:nvSpPr>
          <p:cNvPr id="3" name="Fußzeilenplatzhalter 1">
            <a:extLst>
              <a:ext uri="{FF2B5EF4-FFF2-40B4-BE49-F238E27FC236}">
                <a16:creationId xmlns:a16="http://schemas.microsoft.com/office/drawing/2014/main" id="{BC0C8705-C973-491E-6566-EE597880E588}"/>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4F6578E1-B3E4-FE5F-385F-41A756129380}"/>
              </a:ext>
            </a:extLst>
          </p:cNvPr>
          <p:cNvSpPr>
            <a:spLocks noGrp="1"/>
          </p:cNvSpPr>
          <p:nvPr>
            <p:ph type="sldNum" sz="quarter" idx="11"/>
          </p:nvPr>
        </p:nvSpPr>
        <p:spPr/>
        <p:txBody>
          <a:bodyPr anchor="b" anchorCtr="0"/>
          <a:lstStyle/>
          <a:p>
            <a:fld id="{B27B0579-4238-4E44-9A9E-134B676F827C}" type="slidenum">
              <a:rPr lang="de-DE" smtClean="0"/>
              <a:pPr/>
              <a:t>11</a:t>
            </a:fld>
            <a:endParaRPr lang="de-DE"/>
          </a:p>
        </p:txBody>
      </p:sp>
      <p:cxnSp>
        <p:nvCxnSpPr>
          <p:cNvPr id="2" name="Gerade Verbindung 136">
            <a:extLst>
              <a:ext uri="{FF2B5EF4-FFF2-40B4-BE49-F238E27FC236}">
                <a16:creationId xmlns:a16="http://schemas.microsoft.com/office/drawing/2014/main" id="{6BB45638-4D4A-36D9-B13F-93C6BD18EA0E}"/>
              </a:ext>
            </a:extLst>
          </p:cNvPr>
          <p:cNvCxnSpPr>
            <a:cxnSpLocks/>
            <a:stCxn id="16" idx="0"/>
          </p:cNvCxnSpPr>
          <p:nvPr/>
        </p:nvCxnSpPr>
        <p:spPr>
          <a:xfrm>
            <a:off x="1873625" y="3531402"/>
            <a:ext cx="0" cy="329067"/>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Gerade Verbindung 137">
            <a:extLst>
              <a:ext uri="{FF2B5EF4-FFF2-40B4-BE49-F238E27FC236}">
                <a16:creationId xmlns:a16="http://schemas.microsoft.com/office/drawing/2014/main" id="{F80DF5E5-31E7-9C38-8644-CB4E3690461A}"/>
              </a:ext>
            </a:extLst>
          </p:cNvPr>
          <p:cNvCxnSpPr>
            <a:cxnSpLocks/>
          </p:cNvCxnSpPr>
          <p:nvPr/>
        </p:nvCxnSpPr>
        <p:spPr>
          <a:xfrm>
            <a:off x="633834" y="3855928"/>
            <a:ext cx="0" cy="509278"/>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Oval 140">
            <a:extLst>
              <a:ext uri="{FF2B5EF4-FFF2-40B4-BE49-F238E27FC236}">
                <a16:creationId xmlns:a16="http://schemas.microsoft.com/office/drawing/2014/main" id="{AB733A4C-5096-5B56-7F23-C46013FB4229}"/>
              </a:ext>
            </a:extLst>
          </p:cNvPr>
          <p:cNvSpPr/>
          <p:nvPr>
            <p:custDataLst>
              <p:tags r:id="rId4"/>
            </p:custDataLst>
          </p:nvPr>
        </p:nvSpPr>
        <p:spPr>
          <a:xfrm>
            <a:off x="614598" y="4365206"/>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6" name="Oval 142">
            <a:extLst>
              <a:ext uri="{FF2B5EF4-FFF2-40B4-BE49-F238E27FC236}">
                <a16:creationId xmlns:a16="http://schemas.microsoft.com/office/drawing/2014/main" id="{ACED6E8A-B2ED-7A3D-92AD-76E32EFC8848}"/>
              </a:ext>
            </a:extLst>
          </p:cNvPr>
          <p:cNvSpPr/>
          <p:nvPr>
            <p:custDataLst>
              <p:tags r:id="rId5"/>
            </p:custDataLst>
          </p:nvPr>
        </p:nvSpPr>
        <p:spPr>
          <a:xfrm>
            <a:off x="1853755" y="353140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21" name="Gerade Verbindung 145">
            <a:extLst>
              <a:ext uri="{FF2B5EF4-FFF2-40B4-BE49-F238E27FC236}">
                <a16:creationId xmlns:a16="http://schemas.microsoft.com/office/drawing/2014/main" id="{EC0D3C94-6A0E-C2CA-BED3-580EFA1180D2}"/>
              </a:ext>
            </a:extLst>
          </p:cNvPr>
          <p:cNvCxnSpPr>
            <a:cxnSpLocks/>
          </p:cNvCxnSpPr>
          <p:nvPr/>
        </p:nvCxnSpPr>
        <p:spPr>
          <a:xfrm>
            <a:off x="2788437" y="2875481"/>
            <a:ext cx="0" cy="984988"/>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166">
            <a:extLst>
              <a:ext uri="{FF2B5EF4-FFF2-40B4-BE49-F238E27FC236}">
                <a16:creationId xmlns:a16="http://schemas.microsoft.com/office/drawing/2014/main" id="{4C81E51C-8CDE-89C7-0856-2A3ABA4BDA23}"/>
              </a:ext>
            </a:extLst>
          </p:cNvPr>
          <p:cNvCxnSpPr>
            <a:cxnSpLocks/>
            <a:endCxn id="27" idx="4"/>
          </p:cNvCxnSpPr>
          <p:nvPr/>
        </p:nvCxnSpPr>
        <p:spPr>
          <a:xfrm>
            <a:off x="3659535" y="3863248"/>
            <a:ext cx="3452" cy="1448924"/>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Oval 170">
            <a:extLst>
              <a:ext uri="{FF2B5EF4-FFF2-40B4-BE49-F238E27FC236}">
                <a16:creationId xmlns:a16="http://schemas.microsoft.com/office/drawing/2014/main" id="{F9A71F8D-9661-B176-715B-1396E23E7B79}"/>
              </a:ext>
            </a:extLst>
          </p:cNvPr>
          <p:cNvSpPr/>
          <p:nvPr>
            <p:custDataLst>
              <p:tags r:id="rId6"/>
            </p:custDataLst>
          </p:nvPr>
        </p:nvSpPr>
        <p:spPr>
          <a:xfrm>
            <a:off x="3641214" y="4821739"/>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7" name="Oval 175">
            <a:extLst>
              <a:ext uri="{FF2B5EF4-FFF2-40B4-BE49-F238E27FC236}">
                <a16:creationId xmlns:a16="http://schemas.microsoft.com/office/drawing/2014/main" id="{718A902B-713E-CCE2-FE0F-EDDCDDDE392B}"/>
              </a:ext>
            </a:extLst>
          </p:cNvPr>
          <p:cNvSpPr/>
          <p:nvPr>
            <p:custDataLst>
              <p:tags r:id="rId7"/>
            </p:custDataLst>
          </p:nvPr>
        </p:nvSpPr>
        <p:spPr>
          <a:xfrm>
            <a:off x="3639665" y="5266453"/>
            <a:ext cx="46643" cy="45719"/>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8" name="Oval 176">
            <a:extLst>
              <a:ext uri="{FF2B5EF4-FFF2-40B4-BE49-F238E27FC236}">
                <a16:creationId xmlns:a16="http://schemas.microsoft.com/office/drawing/2014/main" id="{28CFA513-A833-CF08-2D1D-C1A3130E080C}"/>
              </a:ext>
            </a:extLst>
          </p:cNvPr>
          <p:cNvSpPr/>
          <p:nvPr>
            <p:custDataLst>
              <p:tags r:id="rId8"/>
            </p:custDataLst>
          </p:nvPr>
        </p:nvSpPr>
        <p:spPr>
          <a:xfrm>
            <a:off x="3641214" y="4607249"/>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30" name="Oval 177">
            <a:extLst>
              <a:ext uri="{FF2B5EF4-FFF2-40B4-BE49-F238E27FC236}">
                <a16:creationId xmlns:a16="http://schemas.microsoft.com/office/drawing/2014/main" id="{A2680B49-A693-E874-04C4-9216F2CD6622}"/>
              </a:ext>
            </a:extLst>
          </p:cNvPr>
          <p:cNvSpPr/>
          <p:nvPr>
            <p:custDataLst>
              <p:tags r:id="rId9"/>
            </p:custDataLst>
          </p:nvPr>
        </p:nvSpPr>
        <p:spPr>
          <a:xfrm>
            <a:off x="3641214" y="5053645"/>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33" name="Gerade Verbindung 178">
            <a:extLst>
              <a:ext uri="{FF2B5EF4-FFF2-40B4-BE49-F238E27FC236}">
                <a16:creationId xmlns:a16="http://schemas.microsoft.com/office/drawing/2014/main" id="{2D100F29-6500-06FB-EE63-AED8410BA79A}"/>
              </a:ext>
            </a:extLst>
          </p:cNvPr>
          <p:cNvCxnSpPr>
            <a:cxnSpLocks/>
          </p:cNvCxnSpPr>
          <p:nvPr/>
        </p:nvCxnSpPr>
        <p:spPr>
          <a:xfrm>
            <a:off x="8239974" y="3853595"/>
            <a:ext cx="0" cy="1718594"/>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Oval 179">
            <a:extLst>
              <a:ext uri="{FF2B5EF4-FFF2-40B4-BE49-F238E27FC236}">
                <a16:creationId xmlns:a16="http://schemas.microsoft.com/office/drawing/2014/main" id="{BDC82538-8007-26E0-999E-F933099E1CC4}"/>
              </a:ext>
            </a:extLst>
          </p:cNvPr>
          <p:cNvSpPr/>
          <p:nvPr>
            <p:custDataLst>
              <p:tags r:id="rId10"/>
            </p:custDataLst>
          </p:nvPr>
        </p:nvSpPr>
        <p:spPr>
          <a:xfrm>
            <a:off x="8221910" y="4204468"/>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37" name="Gerade Verbindung 182">
            <a:extLst>
              <a:ext uri="{FF2B5EF4-FFF2-40B4-BE49-F238E27FC236}">
                <a16:creationId xmlns:a16="http://schemas.microsoft.com/office/drawing/2014/main" id="{9D5C8AB4-4AFB-346A-CA62-A18AB6B3EF56}"/>
              </a:ext>
            </a:extLst>
          </p:cNvPr>
          <p:cNvCxnSpPr>
            <a:cxnSpLocks/>
            <a:stCxn id="223" idx="4"/>
          </p:cNvCxnSpPr>
          <p:nvPr/>
        </p:nvCxnSpPr>
        <p:spPr>
          <a:xfrm>
            <a:off x="9122336" y="2227546"/>
            <a:ext cx="651" cy="1630077"/>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CEA018D3-B437-2FF9-C778-9CDF8492C86E}"/>
              </a:ext>
            </a:extLst>
          </p:cNvPr>
          <p:cNvCxnSpPr>
            <a:cxnSpLocks/>
          </p:cNvCxnSpPr>
          <p:nvPr/>
        </p:nvCxnSpPr>
        <p:spPr>
          <a:xfrm>
            <a:off x="633834" y="3858198"/>
            <a:ext cx="11223204" cy="0"/>
          </a:xfrm>
          <a:prstGeom prst="straightConnector1">
            <a:avLst/>
          </a:prstGeom>
          <a:ln w="12700">
            <a:solidFill>
              <a:schemeClr val="tx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1" name="Oval 190">
            <a:extLst>
              <a:ext uri="{FF2B5EF4-FFF2-40B4-BE49-F238E27FC236}">
                <a16:creationId xmlns:a16="http://schemas.microsoft.com/office/drawing/2014/main" id="{2E157B6B-98EC-DED0-B9A6-A44D33812003}"/>
              </a:ext>
            </a:extLst>
          </p:cNvPr>
          <p:cNvSpPr/>
          <p:nvPr>
            <p:custDataLst>
              <p:tags r:id="rId11"/>
            </p:custDataLst>
          </p:nvPr>
        </p:nvSpPr>
        <p:spPr>
          <a:xfrm>
            <a:off x="8221910" y="442294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43" name="Gerade Verbindung 199">
            <a:extLst>
              <a:ext uri="{FF2B5EF4-FFF2-40B4-BE49-F238E27FC236}">
                <a16:creationId xmlns:a16="http://schemas.microsoft.com/office/drawing/2014/main" id="{17004E9A-7EC1-11BD-FF5E-16EFC2AE1DCC}"/>
              </a:ext>
            </a:extLst>
          </p:cNvPr>
          <p:cNvCxnSpPr>
            <a:cxnSpLocks/>
          </p:cNvCxnSpPr>
          <p:nvPr/>
        </p:nvCxnSpPr>
        <p:spPr>
          <a:xfrm>
            <a:off x="6074336" y="3860469"/>
            <a:ext cx="0" cy="1711720"/>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Oval 201">
            <a:extLst>
              <a:ext uri="{FF2B5EF4-FFF2-40B4-BE49-F238E27FC236}">
                <a16:creationId xmlns:a16="http://schemas.microsoft.com/office/drawing/2014/main" id="{6C09764E-0A00-5514-7693-36DDE3F4CA95}"/>
              </a:ext>
            </a:extLst>
          </p:cNvPr>
          <p:cNvSpPr/>
          <p:nvPr>
            <p:custDataLst>
              <p:tags r:id="rId12"/>
            </p:custDataLst>
          </p:nvPr>
        </p:nvSpPr>
        <p:spPr>
          <a:xfrm>
            <a:off x="6054466" y="420093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47" name="Gerade Verbindung 206">
            <a:extLst>
              <a:ext uri="{FF2B5EF4-FFF2-40B4-BE49-F238E27FC236}">
                <a16:creationId xmlns:a16="http://schemas.microsoft.com/office/drawing/2014/main" id="{400889B0-8191-DF3E-7350-23E4D3EE3CE9}"/>
              </a:ext>
            </a:extLst>
          </p:cNvPr>
          <p:cNvCxnSpPr>
            <a:cxnSpLocks/>
            <a:stCxn id="197" idx="0"/>
          </p:cNvCxnSpPr>
          <p:nvPr/>
        </p:nvCxnSpPr>
        <p:spPr>
          <a:xfrm>
            <a:off x="4770578" y="2836529"/>
            <a:ext cx="310" cy="1026719"/>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Oval 208">
            <a:extLst>
              <a:ext uri="{FF2B5EF4-FFF2-40B4-BE49-F238E27FC236}">
                <a16:creationId xmlns:a16="http://schemas.microsoft.com/office/drawing/2014/main" id="{7D051CBE-4E4E-A175-F39C-1351286303EF}"/>
              </a:ext>
            </a:extLst>
          </p:cNvPr>
          <p:cNvSpPr/>
          <p:nvPr>
            <p:custDataLst>
              <p:tags r:id="rId13"/>
            </p:custDataLst>
          </p:nvPr>
        </p:nvSpPr>
        <p:spPr>
          <a:xfrm>
            <a:off x="4750708" y="328250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49" name="Oval 209">
            <a:extLst>
              <a:ext uri="{FF2B5EF4-FFF2-40B4-BE49-F238E27FC236}">
                <a16:creationId xmlns:a16="http://schemas.microsoft.com/office/drawing/2014/main" id="{2F3AA12E-D3D6-5335-AC14-E1747A15803E}"/>
              </a:ext>
            </a:extLst>
          </p:cNvPr>
          <p:cNvSpPr/>
          <p:nvPr>
            <p:custDataLst>
              <p:tags r:id="rId14"/>
            </p:custDataLst>
          </p:nvPr>
        </p:nvSpPr>
        <p:spPr>
          <a:xfrm>
            <a:off x="4750708" y="306186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53" name="Gerade Verbindung 214">
            <a:extLst>
              <a:ext uri="{FF2B5EF4-FFF2-40B4-BE49-F238E27FC236}">
                <a16:creationId xmlns:a16="http://schemas.microsoft.com/office/drawing/2014/main" id="{0DD28341-17D7-305B-F047-88AD5F9E0C33}"/>
              </a:ext>
            </a:extLst>
          </p:cNvPr>
          <p:cNvCxnSpPr>
            <a:cxnSpLocks/>
            <a:stCxn id="205" idx="0"/>
          </p:cNvCxnSpPr>
          <p:nvPr/>
        </p:nvCxnSpPr>
        <p:spPr>
          <a:xfrm>
            <a:off x="6915405" y="3057644"/>
            <a:ext cx="0" cy="795951"/>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Oval 216">
            <a:extLst>
              <a:ext uri="{FF2B5EF4-FFF2-40B4-BE49-F238E27FC236}">
                <a16:creationId xmlns:a16="http://schemas.microsoft.com/office/drawing/2014/main" id="{DB317F0C-5C9C-7467-DA99-6F27F6A8C186}"/>
              </a:ext>
            </a:extLst>
          </p:cNvPr>
          <p:cNvSpPr/>
          <p:nvPr>
            <p:custDataLst>
              <p:tags r:id="rId15"/>
            </p:custDataLst>
          </p:nvPr>
        </p:nvSpPr>
        <p:spPr>
          <a:xfrm>
            <a:off x="6895535" y="350803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60" name="Oval 217">
            <a:extLst>
              <a:ext uri="{FF2B5EF4-FFF2-40B4-BE49-F238E27FC236}">
                <a16:creationId xmlns:a16="http://schemas.microsoft.com/office/drawing/2014/main" id="{BB482694-D221-31EF-9B29-69E308CDCDD8}"/>
              </a:ext>
            </a:extLst>
          </p:cNvPr>
          <p:cNvSpPr/>
          <p:nvPr>
            <p:custDataLst>
              <p:tags r:id="rId16"/>
            </p:custDataLst>
          </p:nvPr>
        </p:nvSpPr>
        <p:spPr>
          <a:xfrm>
            <a:off x="6895535" y="327989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62" name="Oval 225">
            <a:extLst>
              <a:ext uri="{FF2B5EF4-FFF2-40B4-BE49-F238E27FC236}">
                <a16:creationId xmlns:a16="http://schemas.microsoft.com/office/drawing/2014/main" id="{F8083A73-30B8-43C5-792F-ECCB45A58794}"/>
              </a:ext>
            </a:extLst>
          </p:cNvPr>
          <p:cNvSpPr/>
          <p:nvPr>
            <p:custDataLst>
              <p:tags r:id="rId17"/>
            </p:custDataLst>
          </p:nvPr>
        </p:nvSpPr>
        <p:spPr>
          <a:xfrm>
            <a:off x="6054466" y="441343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28" name="Oval 226">
            <a:extLst>
              <a:ext uri="{FF2B5EF4-FFF2-40B4-BE49-F238E27FC236}">
                <a16:creationId xmlns:a16="http://schemas.microsoft.com/office/drawing/2014/main" id="{0B5B57AC-356F-1A82-E98D-482CA389F208}"/>
              </a:ext>
            </a:extLst>
          </p:cNvPr>
          <p:cNvSpPr/>
          <p:nvPr>
            <p:custDataLst>
              <p:tags r:id="rId18"/>
            </p:custDataLst>
          </p:nvPr>
        </p:nvSpPr>
        <p:spPr>
          <a:xfrm>
            <a:off x="6054466" y="485802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35" name="Oval 227">
            <a:extLst>
              <a:ext uri="{FF2B5EF4-FFF2-40B4-BE49-F238E27FC236}">
                <a16:creationId xmlns:a16="http://schemas.microsoft.com/office/drawing/2014/main" id="{47B3C20E-BA17-9DEB-839E-023A7B19A321}"/>
              </a:ext>
            </a:extLst>
          </p:cNvPr>
          <p:cNvSpPr/>
          <p:nvPr>
            <p:custDataLst>
              <p:tags r:id="rId19"/>
            </p:custDataLst>
          </p:nvPr>
        </p:nvSpPr>
        <p:spPr>
          <a:xfrm>
            <a:off x="6054466" y="507936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39" name="Oval 229">
            <a:extLst>
              <a:ext uri="{FF2B5EF4-FFF2-40B4-BE49-F238E27FC236}">
                <a16:creationId xmlns:a16="http://schemas.microsoft.com/office/drawing/2014/main" id="{E2EC1E46-5D11-8E55-ED70-FF60D81ED348}"/>
              </a:ext>
            </a:extLst>
          </p:cNvPr>
          <p:cNvSpPr/>
          <p:nvPr>
            <p:custDataLst>
              <p:tags r:id="rId20"/>
            </p:custDataLst>
          </p:nvPr>
        </p:nvSpPr>
        <p:spPr>
          <a:xfrm>
            <a:off x="6054466" y="463153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142" name="Grafik 141">
            <a:extLst>
              <a:ext uri="{FF2B5EF4-FFF2-40B4-BE49-F238E27FC236}">
                <a16:creationId xmlns:a16="http://schemas.microsoft.com/office/drawing/2014/main" id="{7DD85BE1-6FAD-55ED-50DA-1947E8692D7D}"/>
              </a:ext>
            </a:extLst>
          </p:cNvPr>
          <p:cNvPicPr>
            <a:picLocks noChangeAspect="1"/>
          </p:cNvPicPr>
          <p:nvPr/>
        </p:nvPicPr>
        <p:blipFill>
          <a:blip>
            <a:extLst>
              <a:ext uri="{96DAC541-7B7A-43D3-8B79-37D633B846F1}">
                <asvg:svgBlip xmlns:asvg="http://schemas.microsoft.com/office/drawing/2016/SVG/main" r:embed="rId49"/>
              </a:ext>
            </a:extLst>
          </a:blip>
          <a:srcRect/>
          <a:stretch/>
        </p:blipFill>
        <p:spPr>
          <a:xfrm>
            <a:off x="2877394" y="2960335"/>
            <a:ext cx="829818" cy="236194"/>
          </a:xfrm>
          <a:prstGeom prst="rect">
            <a:avLst/>
          </a:prstGeom>
        </p:spPr>
      </p:pic>
      <p:pic>
        <p:nvPicPr>
          <p:cNvPr id="147" name="Grafik 146">
            <a:extLst>
              <a:ext uri="{FF2B5EF4-FFF2-40B4-BE49-F238E27FC236}">
                <a16:creationId xmlns:a16="http://schemas.microsoft.com/office/drawing/2014/main" id="{C0FAAE12-7952-B745-CD85-7C80F4E53676}"/>
              </a:ext>
            </a:extLst>
          </p:cNvPr>
          <p:cNvPicPr>
            <a:picLocks noChangeAspect="1"/>
          </p:cNvPicPr>
          <p:nvPr/>
        </p:nvPicPr>
        <p:blipFill>
          <a:blip>
            <a:extLst>
              <a:ext uri="{96DAC541-7B7A-43D3-8B79-37D633B846F1}">
                <asvg:svgBlip xmlns:asvg="http://schemas.microsoft.com/office/drawing/2016/SVG/main" r:embed="rId50"/>
              </a:ext>
            </a:extLst>
          </a:blip>
          <a:srcRect/>
          <a:stretch/>
        </p:blipFill>
        <p:spPr>
          <a:xfrm>
            <a:off x="4865338" y="2747477"/>
            <a:ext cx="764980" cy="196709"/>
          </a:xfrm>
          <a:prstGeom prst="rect">
            <a:avLst/>
          </a:prstGeom>
        </p:spPr>
      </p:pic>
      <p:pic>
        <p:nvPicPr>
          <p:cNvPr id="148" name="Grafik 147">
            <a:extLst>
              <a:ext uri="{FF2B5EF4-FFF2-40B4-BE49-F238E27FC236}">
                <a16:creationId xmlns:a16="http://schemas.microsoft.com/office/drawing/2014/main" id="{A846EB8B-B7A3-3003-17A1-073CD094039E}"/>
              </a:ext>
            </a:extLst>
          </p:cNvPr>
          <p:cNvPicPr>
            <a:picLocks noChangeAspect="1"/>
          </p:cNvPicPr>
          <p:nvPr/>
        </p:nvPicPr>
        <p:blipFill rotWithShape="1">
          <a:blip r:embed="rId51"/>
          <a:srcRect t="15608"/>
          <a:stretch/>
        </p:blipFill>
        <p:spPr>
          <a:xfrm>
            <a:off x="6094205" y="5348007"/>
            <a:ext cx="791528" cy="333994"/>
          </a:xfrm>
          <a:prstGeom prst="rect">
            <a:avLst/>
          </a:prstGeom>
        </p:spPr>
      </p:pic>
      <p:pic>
        <p:nvPicPr>
          <p:cNvPr id="149" name="Grafik 148">
            <a:extLst>
              <a:ext uri="{FF2B5EF4-FFF2-40B4-BE49-F238E27FC236}">
                <a16:creationId xmlns:a16="http://schemas.microsoft.com/office/drawing/2014/main" id="{5471F86F-5882-DD5C-9B40-3C2D631C9845}"/>
              </a:ext>
            </a:extLst>
          </p:cNvPr>
          <p:cNvPicPr>
            <a:picLocks noChangeAspect="1"/>
          </p:cNvPicPr>
          <p:nvPr/>
        </p:nvPicPr>
        <p:blipFill>
          <a:blip>
            <a:extLst>
              <a:ext uri="{96DAC541-7B7A-43D3-8B79-37D633B846F1}">
                <asvg:svgBlip xmlns:asvg="http://schemas.microsoft.com/office/drawing/2016/SVG/main" r:embed="rId52"/>
              </a:ext>
            </a:extLst>
          </a:blip>
          <a:srcRect/>
          <a:stretch/>
        </p:blipFill>
        <p:spPr>
          <a:xfrm>
            <a:off x="5421713" y="4790007"/>
            <a:ext cx="541064" cy="283114"/>
          </a:xfrm>
          <a:prstGeom prst="rect">
            <a:avLst/>
          </a:prstGeom>
        </p:spPr>
      </p:pic>
      <p:pic>
        <p:nvPicPr>
          <p:cNvPr id="153" name="Grafik 152">
            <a:extLst>
              <a:ext uri="{FF2B5EF4-FFF2-40B4-BE49-F238E27FC236}">
                <a16:creationId xmlns:a16="http://schemas.microsoft.com/office/drawing/2014/main" id="{77F45514-6D2D-5FFE-B484-153BD8B4BA58}"/>
              </a:ext>
            </a:extLst>
          </p:cNvPr>
          <p:cNvPicPr>
            <a:picLocks noChangeAspect="1"/>
          </p:cNvPicPr>
          <p:nvPr/>
        </p:nvPicPr>
        <p:blipFill>
          <a:blip>
            <a:extLst>
              <a:ext uri="{96DAC541-7B7A-43D3-8B79-37D633B846F1}">
                <asvg:svgBlip xmlns:asvg="http://schemas.microsoft.com/office/drawing/2016/SVG/main" r:embed="rId53"/>
              </a:ext>
            </a:extLst>
          </a:blip>
          <a:srcRect/>
          <a:stretch/>
        </p:blipFill>
        <p:spPr>
          <a:xfrm>
            <a:off x="6170623" y="5022378"/>
            <a:ext cx="554645" cy="177713"/>
          </a:xfrm>
          <a:prstGeom prst="rect">
            <a:avLst/>
          </a:prstGeom>
        </p:spPr>
      </p:pic>
      <p:pic>
        <p:nvPicPr>
          <p:cNvPr id="154" name="Grafik 153">
            <a:extLst>
              <a:ext uri="{FF2B5EF4-FFF2-40B4-BE49-F238E27FC236}">
                <a16:creationId xmlns:a16="http://schemas.microsoft.com/office/drawing/2014/main" id="{BCD261C7-762A-B3BF-2560-A0530BE791C8}"/>
              </a:ext>
            </a:extLst>
          </p:cNvPr>
          <p:cNvPicPr>
            <a:picLocks noChangeAspect="1"/>
          </p:cNvPicPr>
          <p:nvPr/>
        </p:nvPicPr>
        <p:blipFill>
          <a:blip r:embed="rId54"/>
          <a:srcRect/>
          <a:stretch/>
        </p:blipFill>
        <p:spPr>
          <a:xfrm>
            <a:off x="5415378" y="4338031"/>
            <a:ext cx="551416" cy="172419"/>
          </a:xfrm>
          <a:prstGeom prst="rect">
            <a:avLst/>
          </a:prstGeom>
        </p:spPr>
      </p:pic>
      <p:pic>
        <p:nvPicPr>
          <p:cNvPr id="155" name="Grafik 154">
            <a:extLst>
              <a:ext uri="{FF2B5EF4-FFF2-40B4-BE49-F238E27FC236}">
                <a16:creationId xmlns:a16="http://schemas.microsoft.com/office/drawing/2014/main" id="{48A8E9F8-13CD-FA1F-11BC-AD5F6886145B}"/>
              </a:ext>
            </a:extLst>
          </p:cNvPr>
          <p:cNvPicPr>
            <a:picLocks noChangeAspect="1"/>
          </p:cNvPicPr>
          <p:nvPr/>
        </p:nvPicPr>
        <p:blipFill>
          <a:blip>
            <a:extLst>
              <a:ext uri="{96DAC541-7B7A-43D3-8B79-37D633B846F1}">
                <asvg:svgBlip xmlns:asvg="http://schemas.microsoft.com/office/drawing/2016/SVG/main" r:embed="rId55"/>
              </a:ext>
            </a:extLst>
          </a:blip>
          <a:srcRect/>
          <a:stretch/>
        </p:blipFill>
        <p:spPr>
          <a:xfrm>
            <a:off x="1947531" y="3450991"/>
            <a:ext cx="583073" cy="162562"/>
          </a:xfrm>
          <a:prstGeom prst="rect">
            <a:avLst/>
          </a:prstGeom>
        </p:spPr>
      </p:pic>
      <p:pic>
        <p:nvPicPr>
          <p:cNvPr id="156" name="Grafik 155">
            <a:extLst>
              <a:ext uri="{FF2B5EF4-FFF2-40B4-BE49-F238E27FC236}">
                <a16:creationId xmlns:a16="http://schemas.microsoft.com/office/drawing/2014/main" id="{7BC1F618-38AA-217C-633F-072D5A424A79}"/>
              </a:ext>
            </a:extLst>
          </p:cNvPr>
          <p:cNvPicPr>
            <a:picLocks noChangeAspect="1"/>
          </p:cNvPicPr>
          <p:nvPr/>
        </p:nvPicPr>
        <p:blipFill>
          <a:blip r:embed="rId56"/>
          <a:srcRect/>
          <a:stretch/>
        </p:blipFill>
        <p:spPr>
          <a:xfrm>
            <a:off x="3783085" y="4756062"/>
            <a:ext cx="560866" cy="185398"/>
          </a:xfrm>
          <a:prstGeom prst="rect">
            <a:avLst/>
          </a:prstGeom>
        </p:spPr>
      </p:pic>
      <p:pic>
        <p:nvPicPr>
          <p:cNvPr id="158" name="Grafik 157">
            <a:extLst>
              <a:ext uri="{FF2B5EF4-FFF2-40B4-BE49-F238E27FC236}">
                <a16:creationId xmlns:a16="http://schemas.microsoft.com/office/drawing/2014/main" id="{30B2AB53-DEED-3692-D916-9D7DE6402D68}"/>
              </a:ext>
            </a:extLst>
          </p:cNvPr>
          <p:cNvPicPr>
            <a:picLocks noChangeAspect="1"/>
          </p:cNvPicPr>
          <p:nvPr/>
        </p:nvPicPr>
        <p:blipFill>
          <a:blip>
            <a:extLst>
              <a:ext uri="{96DAC541-7B7A-43D3-8B79-37D633B846F1}">
                <asvg:svgBlip xmlns:asvg="http://schemas.microsoft.com/office/drawing/2016/SVG/main" r:embed="rId57"/>
              </a:ext>
            </a:extLst>
          </a:blip>
          <a:srcRect/>
          <a:stretch/>
        </p:blipFill>
        <p:spPr>
          <a:xfrm>
            <a:off x="3014066" y="4920212"/>
            <a:ext cx="627148" cy="264386"/>
          </a:xfrm>
          <a:prstGeom prst="rect">
            <a:avLst/>
          </a:prstGeom>
        </p:spPr>
      </p:pic>
      <p:pic>
        <p:nvPicPr>
          <p:cNvPr id="166" name="Grafik 165">
            <a:extLst>
              <a:ext uri="{FF2B5EF4-FFF2-40B4-BE49-F238E27FC236}">
                <a16:creationId xmlns:a16="http://schemas.microsoft.com/office/drawing/2014/main" id="{D48EFB4C-4482-FA41-38F4-5CF079E1D3CA}"/>
              </a:ext>
            </a:extLst>
          </p:cNvPr>
          <p:cNvPicPr>
            <a:picLocks noChangeAspect="1"/>
          </p:cNvPicPr>
          <p:nvPr/>
        </p:nvPicPr>
        <p:blipFill>
          <a:blip>
            <a:extLst>
              <a:ext uri="{96DAC541-7B7A-43D3-8B79-37D633B846F1}">
                <asvg:svgBlip xmlns:asvg="http://schemas.microsoft.com/office/drawing/2016/SVG/main" r:embed="rId58"/>
              </a:ext>
            </a:extLst>
          </a:blip>
          <a:srcRect/>
          <a:stretch/>
        </p:blipFill>
        <p:spPr>
          <a:xfrm>
            <a:off x="3784987" y="5219788"/>
            <a:ext cx="561337" cy="177202"/>
          </a:xfrm>
          <a:prstGeom prst="rect">
            <a:avLst/>
          </a:prstGeom>
        </p:spPr>
      </p:pic>
      <p:pic>
        <p:nvPicPr>
          <p:cNvPr id="169" name="Grafik 168">
            <a:extLst>
              <a:ext uri="{FF2B5EF4-FFF2-40B4-BE49-F238E27FC236}">
                <a16:creationId xmlns:a16="http://schemas.microsoft.com/office/drawing/2014/main" id="{7F1E83E5-D59D-639D-0A7C-776BB62EA8A2}"/>
              </a:ext>
            </a:extLst>
          </p:cNvPr>
          <p:cNvPicPr>
            <a:picLocks noChangeAspect="1"/>
          </p:cNvPicPr>
          <p:nvPr/>
        </p:nvPicPr>
        <p:blipFill>
          <a:blip>
            <a:extLst>
              <a:ext uri="{96DAC541-7B7A-43D3-8B79-37D633B846F1}">
                <asvg:svgBlip xmlns:asvg="http://schemas.microsoft.com/office/drawing/2016/SVG/main" r:embed="rId59"/>
              </a:ext>
            </a:extLst>
          </a:blip>
          <a:srcRect/>
          <a:stretch/>
        </p:blipFill>
        <p:spPr>
          <a:xfrm>
            <a:off x="6167939" y="4582768"/>
            <a:ext cx="717801" cy="241413"/>
          </a:xfrm>
          <a:prstGeom prst="rect">
            <a:avLst/>
          </a:prstGeom>
        </p:spPr>
      </p:pic>
      <p:pic>
        <p:nvPicPr>
          <p:cNvPr id="172" name="Grafik 171">
            <a:extLst>
              <a:ext uri="{FF2B5EF4-FFF2-40B4-BE49-F238E27FC236}">
                <a16:creationId xmlns:a16="http://schemas.microsoft.com/office/drawing/2014/main" id="{398B1340-DAE0-4C0F-364D-E8654478BEF5}"/>
              </a:ext>
            </a:extLst>
          </p:cNvPr>
          <p:cNvPicPr>
            <a:picLocks noChangeAspect="1"/>
          </p:cNvPicPr>
          <p:nvPr/>
        </p:nvPicPr>
        <p:blipFill>
          <a:blip>
            <a:extLst>
              <a:ext uri="{96DAC541-7B7A-43D3-8B79-37D633B846F1}">
                <asvg:svgBlip xmlns:asvg="http://schemas.microsoft.com/office/drawing/2016/SVG/main" r:embed="rId60"/>
              </a:ext>
            </a:extLst>
          </a:blip>
          <a:srcRect/>
          <a:stretch/>
        </p:blipFill>
        <p:spPr>
          <a:xfrm>
            <a:off x="6170967" y="4126237"/>
            <a:ext cx="579331" cy="180893"/>
          </a:xfrm>
          <a:prstGeom prst="rect">
            <a:avLst/>
          </a:prstGeom>
        </p:spPr>
      </p:pic>
      <p:pic>
        <p:nvPicPr>
          <p:cNvPr id="173" name="Grafik 172">
            <a:extLst>
              <a:ext uri="{FF2B5EF4-FFF2-40B4-BE49-F238E27FC236}">
                <a16:creationId xmlns:a16="http://schemas.microsoft.com/office/drawing/2014/main" id="{E0342693-19A0-5783-62A1-B68A041CF87D}"/>
              </a:ext>
            </a:extLst>
          </p:cNvPr>
          <p:cNvPicPr>
            <a:picLocks noChangeAspect="1"/>
          </p:cNvPicPr>
          <p:nvPr/>
        </p:nvPicPr>
        <p:blipFill>
          <a:blip>
            <a:extLst>
              <a:ext uri="{96DAC541-7B7A-43D3-8B79-37D633B846F1}">
                <asvg:svgBlip xmlns:asvg="http://schemas.microsoft.com/office/drawing/2016/SVG/main" r:embed="rId61"/>
              </a:ext>
            </a:extLst>
          </a:blip>
          <a:srcRect/>
          <a:stretch/>
        </p:blipFill>
        <p:spPr>
          <a:xfrm>
            <a:off x="6225185" y="3232137"/>
            <a:ext cx="573472" cy="201300"/>
          </a:xfrm>
          <a:prstGeom prst="rect">
            <a:avLst/>
          </a:prstGeom>
        </p:spPr>
      </p:pic>
      <p:pic>
        <p:nvPicPr>
          <p:cNvPr id="174" name="Grafik 173">
            <a:extLst>
              <a:ext uri="{FF2B5EF4-FFF2-40B4-BE49-F238E27FC236}">
                <a16:creationId xmlns:a16="http://schemas.microsoft.com/office/drawing/2014/main" id="{03E436FF-5313-E980-E477-3ABDF26B734B}"/>
              </a:ext>
            </a:extLst>
          </p:cNvPr>
          <p:cNvPicPr>
            <a:picLocks noChangeAspect="1"/>
          </p:cNvPicPr>
          <p:nvPr/>
        </p:nvPicPr>
        <p:blipFill>
          <a:blip>
            <a:extLst>
              <a:ext uri="{96DAC541-7B7A-43D3-8B79-37D633B846F1}">
                <asvg:svgBlip xmlns:asvg="http://schemas.microsoft.com/office/drawing/2016/SVG/main" r:embed="rId62"/>
              </a:ext>
            </a:extLst>
          </a:blip>
          <a:srcRect/>
          <a:stretch/>
        </p:blipFill>
        <p:spPr>
          <a:xfrm>
            <a:off x="7026128" y="2999802"/>
            <a:ext cx="573472" cy="180234"/>
          </a:xfrm>
          <a:prstGeom prst="rect">
            <a:avLst/>
          </a:prstGeom>
        </p:spPr>
      </p:pic>
      <p:pic>
        <p:nvPicPr>
          <p:cNvPr id="175" name="Grafik 174">
            <a:extLst>
              <a:ext uri="{FF2B5EF4-FFF2-40B4-BE49-F238E27FC236}">
                <a16:creationId xmlns:a16="http://schemas.microsoft.com/office/drawing/2014/main" id="{7344F7CB-F111-2E41-DC27-FA291F209A75}"/>
              </a:ext>
            </a:extLst>
          </p:cNvPr>
          <p:cNvPicPr>
            <a:picLocks noChangeAspect="1"/>
          </p:cNvPicPr>
          <p:nvPr/>
        </p:nvPicPr>
        <p:blipFill>
          <a:blip>
            <a:extLst>
              <a:ext uri="{96DAC541-7B7A-43D3-8B79-37D633B846F1}">
                <asvg:svgBlip xmlns:asvg="http://schemas.microsoft.com/office/drawing/2016/SVG/main" r:embed="rId63"/>
              </a:ext>
            </a:extLst>
          </a:blip>
          <a:srcRect/>
          <a:stretch/>
        </p:blipFill>
        <p:spPr>
          <a:xfrm>
            <a:off x="8315248" y="4821739"/>
            <a:ext cx="535876" cy="149519"/>
          </a:xfrm>
          <a:prstGeom prst="rect">
            <a:avLst/>
          </a:prstGeom>
        </p:spPr>
      </p:pic>
      <p:pic>
        <p:nvPicPr>
          <p:cNvPr id="181" name="Grafik 180">
            <a:extLst>
              <a:ext uri="{FF2B5EF4-FFF2-40B4-BE49-F238E27FC236}">
                <a16:creationId xmlns:a16="http://schemas.microsoft.com/office/drawing/2014/main" id="{278718F7-5059-B44B-E6B8-529E4743E5B3}"/>
              </a:ext>
            </a:extLst>
          </p:cNvPr>
          <p:cNvPicPr>
            <a:picLocks noChangeAspect="1"/>
          </p:cNvPicPr>
          <p:nvPr/>
        </p:nvPicPr>
        <p:blipFill>
          <a:blip>
            <a:extLst>
              <a:ext uri="{96DAC541-7B7A-43D3-8B79-37D633B846F1}">
                <asvg:svgBlip xmlns:asvg="http://schemas.microsoft.com/office/drawing/2016/SVG/main" r:embed="rId64"/>
              </a:ext>
            </a:extLst>
          </a:blip>
          <a:srcRect/>
          <a:stretch/>
        </p:blipFill>
        <p:spPr>
          <a:xfrm>
            <a:off x="7649946" y="5043898"/>
            <a:ext cx="509262" cy="184997"/>
          </a:xfrm>
          <a:prstGeom prst="rect">
            <a:avLst/>
          </a:prstGeom>
        </p:spPr>
      </p:pic>
      <p:pic>
        <p:nvPicPr>
          <p:cNvPr id="182" name="Grafik 181">
            <a:extLst>
              <a:ext uri="{FF2B5EF4-FFF2-40B4-BE49-F238E27FC236}">
                <a16:creationId xmlns:a16="http://schemas.microsoft.com/office/drawing/2014/main" id="{C122ABFD-6296-F02C-B00B-16E23705A78E}"/>
              </a:ext>
            </a:extLst>
          </p:cNvPr>
          <p:cNvPicPr>
            <a:picLocks noChangeAspect="1"/>
          </p:cNvPicPr>
          <p:nvPr/>
        </p:nvPicPr>
        <p:blipFill>
          <a:blip>
            <a:extLst>
              <a:ext uri="{96DAC541-7B7A-43D3-8B79-37D633B846F1}">
                <asvg:svgBlip xmlns:asvg="http://schemas.microsoft.com/office/drawing/2016/SVG/main" r:embed="rId65"/>
              </a:ext>
            </a:extLst>
          </a:blip>
          <a:srcRect/>
          <a:stretch/>
        </p:blipFill>
        <p:spPr>
          <a:xfrm>
            <a:off x="7655124" y="4547537"/>
            <a:ext cx="509578" cy="206951"/>
          </a:xfrm>
          <a:prstGeom prst="rect">
            <a:avLst/>
          </a:prstGeom>
        </p:spPr>
      </p:pic>
      <p:pic>
        <p:nvPicPr>
          <p:cNvPr id="184" name="Grafik 183">
            <a:extLst>
              <a:ext uri="{FF2B5EF4-FFF2-40B4-BE49-F238E27FC236}">
                <a16:creationId xmlns:a16="http://schemas.microsoft.com/office/drawing/2014/main" id="{9977E2B9-D4B4-204C-8340-A9D0D837231A}"/>
              </a:ext>
            </a:extLst>
          </p:cNvPr>
          <p:cNvPicPr>
            <a:picLocks noChangeAspect="1"/>
          </p:cNvPicPr>
          <p:nvPr/>
        </p:nvPicPr>
        <p:blipFill>
          <a:blip>
            <a:extLst>
              <a:ext uri="{96DAC541-7B7A-43D3-8B79-37D633B846F1}">
                <asvg:svgBlip xmlns:asvg="http://schemas.microsoft.com/office/drawing/2016/SVG/main" r:embed="rId66"/>
              </a:ext>
            </a:extLst>
          </a:blip>
          <a:srcRect/>
          <a:stretch/>
        </p:blipFill>
        <p:spPr>
          <a:xfrm>
            <a:off x="9208528" y="3474129"/>
            <a:ext cx="656056" cy="174432"/>
          </a:xfrm>
          <a:prstGeom prst="rect">
            <a:avLst/>
          </a:prstGeom>
        </p:spPr>
      </p:pic>
      <p:pic>
        <p:nvPicPr>
          <p:cNvPr id="185" name="Grafik 184">
            <a:extLst>
              <a:ext uri="{FF2B5EF4-FFF2-40B4-BE49-F238E27FC236}">
                <a16:creationId xmlns:a16="http://schemas.microsoft.com/office/drawing/2014/main" id="{7387A9C5-57F4-9E29-E73E-DE533FC3AC2A}"/>
              </a:ext>
            </a:extLst>
          </p:cNvPr>
          <p:cNvPicPr>
            <a:picLocks noChangeAspect="1"/>
          </p:cNvPicPr>
          <p:nvPr/>
        </p:nvPicPr>
        <p:blipFill>
          <a:blip>
            <a:extLst>
              <a:ext uri="{96DAC541-7B7A-43D3-8B79-37D633B846F1}">
                <asvg:svgBlip xmlns:asvg="http://schemas.microsoft.com/office/drawing/2016/SVG/main" r:embed="rId67"/>
              </a:ext>
            </a:extLst>
          </a:blip>
          <a:srcRect/>
          <a:stretch/>
        </p:blipFill>
        <p:spPr>
          <a:xfrm>
            <a:off x="9206060" y="2997624"/>
            <a:ext cx="660991" cy="193986"/>
          </a:xfrm>
          <a:prstGeom prst="rect">
            <a:avLst/>
          </a:prstGeom>
        </p:spPr>
      </p:pic>
      <p:pic>
        <p:nvPicPr>
          <p:cNvPr id="186" name="Grafik 185">
            <a:extLst>
              <a:ext uri="{FF2B5EF4-FFF2-40B4-BE49-F238E27FC236}">
                <a16:creationId xmlns:a16="http://schemas.microsoft.com/office/drawing/2014/main" id="{FB6503EE-FC53-6809-CBF8-E5895E5F6BE9}"/>
              </a:ext>
            </a:extLst>
          </p:cNvPr>
          <p:cNvPicPr>
            <a:picLocks noChangeAspect="1"/>
          </p:cNvPicPr>
          <p:nvPr/>
        </p:nvPicPr>
        <p:blipFill>
          <a:blip>
            <a:extLst>
              <a:ext uri="{96DAC541-7B7A-43D3-8B79-37D633B846F1}">
                <asvg:svgBlip xmlns:asvg="http://schemas.microsoft.com/office/drawing/2016/SVG/main" r:embed="rId68"/>
              </a:ext>
            </a:extLst>
          </a:blip>
          <a:srcRect t="34704" b="34704"/>
          <a:stretch/>
        </p:blipFill>
        <p:spPr>
          <a:xfrm>
            <a:off x="8472612" y="2747503"/>
            <a:ext cx="537800" cy="232820"/>
          </a:xfrm>
          <a:prstGeom prst="rect">
            <a:avLst/>
          </a:prstGeom>
        </p:spPr>
      </p:pic>
      <p:pic>
        <p:nvPicPr>
          <p:cNvPr id="187" name="Grafik 186">
            <a:extLst>
              <a:ext uri="{FF2B5EF4-FFF2-40B4-BE49-F238E27FC236}">
                <a16:creationId xmlns:a16="http://schemas.microsoft.com/office/drawing/2014/main" id="{0883B2D1-43D5-7084-CF66-B1C669FB3040}"/>
              </a:ext>
            </a:extLst>
          </p:cNvPr>
          <p:cNvPicPr>
            <a:picLocks noChangeAspect="1"/>
          </p:cNvPicPr>
          <p:nvPr/>
        </p:nvPicPr>
        <p:blipFill>
          <a:blip>
            <a:extLst>
              <a:ext uri="{96DAC541-7B7A-43D3-8B79-37D633B846F1}">
                <asvg:svgBlip xmlns:asvg="http://schemas.microsoft.com/office/drawing/2016/SVG/main" r:embed="rId69"/>
              </a:ext>
            </a:extLst>
          </a:blip>
          <a:srcRect/>
          <a:stretch/>
        </p:blipFill>
        <p:spPr>
          <a:xfrm>
            <a:off x="8330900" y="4365205"/>
            <a:ext cx="488206" cy="169443"/>
          </a:xfrm>
          <a:prstGeom prst="rect">
            <a:avLst/>
          </a:prstGeom>
        </p:spPr>
      </p:pic>
      <p:pic>
        <p:nvPicPr>
          <p:cNvPr id="188" name="Grafik 187">
            <a:extLst>
              <a:ext uri="{FF2B5EF4-FFF2-40B4-BE49-F238E27FC236}">
                <a16:creationId xmlns:a16="http://schemas.microsoft.com/office/drawing/2014/main" id="{B8A0827F-A261-4433-CB2A-E9EE0A43C444}"/>
              </a:ext>
            </a:extLst>
          </p:cNvPr>
          <p:cNvPicPr>
            <a:picLocks noChangeAspect="1"/>
          </p:cNvPicPr>
          <p:nvPr/>
        </p:nvPicPr>
        <p:blipFill>
          <a:blip r:embed="rId70"/>
          <a:srcRect/>
          <a:stretch/>
        </p:blipFill>
        <p:spPr>
          <a:xfrm>
            <a:off x="7797958" y="5427846"/>
            <a:ext cx="345664" cy="288686"/>
          </a:xfrm>
          <a:prstGeom prst="rect">
            <a:avLst/>
          </a:prstGeom>
        </p:spPr>
      </p:pic>
      <p:pic>
        <p:nvPicPr>
          <p:cNvPr id="189" name="Grafik 188">
            <a:extLst>
              <a:ext uri="{FF2B5EF4-FFF2-40B4-BE49-F238E27FC236}">
                <a16:creationId xmlns:a16="http://schemas.microsoft.com/office/drawing/2014/main" id="{E87DE56C-44B7-5707-FA9A-60C5A97F418E}"/>
              </a:ext>
            </a:extLst>
          </p:cNvPr>
          <p:cNvPicPr>
            <a:picLocks noChangeAspect="1"/>
          </p:cNvPicPr>
          <p:nvPr/>
        </p:nvPicPr>
        <p:blipFill>
          <a:blip>
            <a:extLst>
              <a:ext uri="{96DAC541-7B7A-43D3-8B79-37D633B846F1}">
                <asvg:svgBlip xmlns:asvg="http://schemas.microsoft.com/office/drawing/2016/SVG/main" r:embed="rId71"/>
              </a:ext>
            </a:extLst>
          </a:blip>
          <a:srcRect/>
          <a:stretch/>
        </p:blipFill>
        <p:spPr>
          <a:xfrm>
            <a:off x="7655124" y="4191118"/>
            <a:ext cx="504084" cy="121118"/>
          </a:xfrm>
          <a:prstGeom prst="rect">
            <a:avLst/>
          </a:prstGeom>
        </p:spPr>
      </p:pic>
      <p:pic>
        <p:nvPicPr>
          <p:cNvPr id="192" name="Grafik 191">
            <a:extLst>
              <a:ext uri="{FF2B5EF4-FFF2-40B4-BE49-F238E27FC236}">
                <a16:creationId xmlns:a16="http://schemas.microsoft.com/office/drawing/2014/main" id="{956FBB32-99ED-AE69-B188-D03218D5F82C}"/>
              </a:ext>
            </a:extLst>
          </p:cNvPr>
          <p:cNvPicPr>
            <a:picLocks noChangeAspect="1"/>
          </p:cNvPicPr>
          <p:nvPr/>
        </p:nvPicPr>
        <p:blipFill>
          <a:blip r:embed="rId72"/>
          <a:srcRect/>
          <a:stretch/>
        </p:blipFill>
        <p:spPr>
          <a:xfrm>
            <a:off x="3793967" y="4326086"/>
            <a:ext cx="652095" cy="145532"/>
          </a:xfrm>
          <a:prstGeom prst="rect">
            <a:avLst/>
          </a:prstGeom>
        </p:spPr>
      </p:pic>
      <p:sp>
        <p:nvSpPr>
          <p:cNvPr id="193" name="Oval 156">
            <a:extLst>
              <a:ext uri="{FF2B5EF4-FFF2-40B4-BE49-F238E27FC236}">
                <a16:creationId xmlns:a16="http://schemas.microsoft.com/office/drawing/2014/main" id="{30F74EBA-8269-E72B-984E-039D835101C4}"/>
              </a:ext>
            </a:extLst>
          </p:cNvPr>
          <p:cNvSpPr/>
          <p:nvPr>
            <p:custDataLst>
              <p:tags r:id="rId21"/>
            </p:custDataLst>
          </p:nvPr>
        </p:nvSpPr>
        <p:spPr>
          <a:xfrm>
            <a:off x="3641214" y="437406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194" name="Grafik 193">
            <a:extLst>
              <a:ext uri="{FF2B5EF4-FFF2-40B4-BE49-F238E27FC236}">
                <a16:creationId xmlns:a16="http://schemas.microsoft.com/office/drawing/2014/main" id="{89EE1DE8-EC53-0C13-7874-8E92BDE16554}"/>
              </a:ext>
            </a:extLst>
          </p:cNvPr>
          <p:cNvPicPr>
            <a:picLocks noChangeAspect="1"/>
          </p:cNvPicPr>
          <p:nvPr/>
        </p:nvPicPr>
        <p:blipFill>
          <a:blip>
            <a:extLst>
              <a:ext uri="{96DAC541-7B7A-43D3-8B79-37D633B846F1}">
                <asvg:svgBlip xmlns:asvg="http://schemas.microsoft.com/office/drawing/2016/SVG/main" r:embed="rId73"/>
              </a:ext>
            </a:extLst>
          </a:blip>
          <a:srcRect/>
          <a:stretch/>
        </p:blipFill>
        <p:spPr>
          <a:xfrm>
            <a:off x="8476850" y="3208945"/>
            <a:ext cx="540076" cy="185576"/>
          </a:xfrm>
          <a:prstGeom prst="rect">
            <a:avLst/>
          </a:prstGeom>
        </p:spPr>
      </p:pic>
      <p:pic>
        <p:nvPicPr>
          <p:cNvPr id="195" name="Grafik 194">
            <a:extLst>
              <a:ext uri="{FF2B5EF4-FFF2-40B4-BE49-F238E27FC236}">
                <a16:creationId xmlns:a16="http://schemas.microsoft.com/office/drawing/2014/main" id="{9D894A20-8C34-A202-A7C8-36AD467B4637}"/>
              </a:ext>
            </a:extLst>
          </p:cNvPr>
          <p:cNvPicPr>
            <a:picLocks noChangeAspect="1"/>
          </p:cNvPicPr>
          <p:nvPr/>
        </p:nvPicPr>
        <p:blipFill>
          <a:blip>
            <a:extLst>
              <a:ext uri="{96DAC541-7B7A-43D3-8B79-37D633B846F1}">
                <asvg:svgBlip xmlns:asvg="http://schemas.microsoft.com/office/drawing/2016/SVG/main" r:embed="rId74"/>
              </a:ext>
            </a:extLst>
          </a:blip>
          <a:srcRect/>
          <a:stretch/>
        </p:blipFill>
        <p:spPr>
          <a:xfrm>
            <a:off x="4865543" y="3222504"/>
            <a:ext cx="977592" cy="170205"/>
          </a:xfrm>
          <a:prstGeom prst="rect">
            <a:avLst/>
          </a:prstGeom>
        </p:spPr>
      </p:pic>
      <p:pic>
        <p:nvPicPr>
          <p:cNvPr id="196" name="Grafik 195" descr="News und Pressemitteilugen">
            <a:extLst>
              <a:ext uri="{FF2B5EF4-FFF2-40B4-BE49-F238E27FC236}">
                <a16:creationId xmlns:a16="http://schemas.microsoft.com/office/drawing/2014/main" id="{A6969DFE-C34F-6303-5A64-7845B732E47B}"/>
              </a:ext>
            </a:extLst>
          </p:cNvPr>
          <p:cNvPicPr>
            <a:picLocks noChangeAspect="1"/>
          </p:cNvPicPr>
          <p:nvPr/>
        </p:nvPicPr>
        <p:blipFill rotWithShape="1">
          <a:blip r:embed="rId75"/>
          <a:srcRect l="5154" t="39044" b="39074"/>
          <a:stretch/>
        </p:blipFill>
        <p:spPr>
          <a:xfrm>
            <a:off x="2495085" y="4469147"/>
            <a:ext cx="1165401" cy="273032"/>
          </a:xfrm>
          <a:prstGeom prst="rect">
            <a:avLst/>
          </a:prstGeom>
        </p:spPr>
      </p:pic>
      <p:sp>
        <p:nvSpPr>
          <p:cNvPr id="197" name="Oval 14">
            <a:extLst>
              <a:ext uri="{FF2B5EF4-FFF2-40B4-BE49-F238E27FC236}">
                <a16:creationId xmlns:a16="http://schemas.microsoft.com/office/drawing/2014/main" id="{BD531D24-675C-2EB6-B41F-7A6A8D7AFA00}"/>
              </a:ext>
            </a:extLst>
          </p:cNvPr>
          <p:cNvSpPr/>
          <p:nvPr>
            <p:custDataLst>
              <p:tags r:id="rId22"/>
            </p:custDataLst>
          </p:nvPr>
        </p:nvSpPr>
        <p:spPr>
          <a:xfrm>
            <a:off x="4750708" y="2836529"/>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198" name="Grafik 197">
            <a:extLst>
              <a:ext uri="{FF2B5EF4-FFF2-40B4-BE49-F238E27FC236}">
                <a16:creationId xmlns:a16="http://schemas.microsoft.com/office/drawing/2014/main" id="{B291CED7-9558-1364-BB16-C9868BD1C402}"/>
              </a:ext>
            </a:extLst>
          </p:cNvPr>
          <p:cNvPicPr>
            <a:picLocks noChangeAspect="1"/>
          </p:cNvPicPr>
          <p:nvPr/>
        </p:nvPicPr>
        <p:blipFill>
          <a:blip>
            <a:extLst>
              <a:ext uri="{96DAC541-7B7A-43D3-8B79-37D633B846F1}">
                <asvg:svgBlip xmlns:asvg="http://schemas.microsoft.com/office/drawing/2016/SVG/main" r:embed="rId76"/>
              </a:ext>
            </a:extLst>
          </a:blip>
          <a:srcRect/>
          <a:stretch/>
        </p:blipFill>
        <p:spPr>
          <a:xfrm>
            <a:off x="7034178" y="3459840"/>
            <a:ext cx="579331" cy="182075"/>
          </a:xfrm>
          <a:prstGeom prst="rect">
            <a:avLst/>
          </a:prstGeom>
        </p:spPr>
      </p:pic>
      <p:pic>
        <p:nvPicPr>
          <p:cNvPr id="199" name="Grafik 198" descr="Ein Bild, das Text, Screenshot, Logo, Schrift enthält.&#10;&#10;Automatisch generierte Beschreibung">
            <a:extLst>
              <a:ext uri="{FF2B5EF4-FFF2-40B4-BE49-F238E27FC236}">
                <a16:creationId xmlns:a16="http://schemas.microsoft.com/office/drawing/2014/main" id="{8320A61C-0AB8-433E-9B55-C93E04BF4C39}"/>
              </a:ext>
            </a:extLst>
          </p:cNvPr>
          <p:cNvPicPr>
            <a:picLocks noChangeAspect="1"/>
          </p:cNvPicPr>
          <p:nvPr/>
        </p:nvPicPr>
        <p:blipFill rotWithShape="1">
          <a:blip r:embed="rId77"/>
          <a:srcRect l="43388" t="25616" r="42061" b="65370"/>
          <a:stretch/>
        </p:blipFill>
        <p:spPr>
          <a:xfrm>
            <a:off x="9191612" y="2480284"/>
            <a:ext cx="364940" cy="319515"/>
          </a:xfrm>
          <a:prstGeom prst="rect">
            <a:avLst/>
          </a:prstGeom>
        </p:spPr>
      </p:pic>
      <p:pic>
        <p:nvPicPr>
          <p:cNvPr id="201" name="Grafik 200" descr="Ein Bild, das Screenshot, Schrift, Schwarz, Grafiken enthält.&#10;&#10;Automatisch generierte Beschreibung">
            <a:extLst>
              <a:ext uri="{FF2B5EF4-FFF2-40B4-BE49-F238E27FC236}">
                <a16:creationId xmlns:a16="http://schemas.microsoft.com/office/drawing/2014/main" id="{CBDE2E5B-4282-9111-5444-ACD43ED197B2}"/>
              </a:ext>
            </a:extLst>
          </p:cNvPr>
          <p:cNvPicPr>
            <a:picLocks noChangeAspect="1"/>
          </p:cNvPicPr>
          <p:nvPr/>
        </p:nvPicPr>
        <p:blipFill>
          <a:blip r:embed="rId78"/>
          <a:stretch>
            <a:fillRect/>
          </a:stretch>
        </p:blipFill>
        <p:spPr>
          <a:xfrm>
            <a:off x="754871" y="4208817"/>
            <a:ext cx="1042554" cy="307444"/>
          </a:xfrm>
          <a:prstGeom prst="rect">
            <a:avLst/>
          </a:prstGeom>
        </p:spPr>
      </p:pic>
      <p:sp>
        <p:nvSpPr>
          <p:cNvPr id="203" name="Oval 50">
            <a:extLst>
              <a:ext uri="{FF2B5EF4-FFF2-40B4-BE49-F238E27FC236}">
                <a16:creationId xmlns:a16="http://schemas.microsoft.com/office/drawing/2014/main" id="{B2F4F3A1-415D-0D4E-DACA-6825545CE406}"/>
              </a:ext>
            </a:extLst>
          </p:cNvPr>
          <p:cNvSpPr/>
          <p:nvPr>
            <p:custDataLst>
              <p:tags r:id="rId23"/>
            </p:custDataLst>
          </p:nvPr>
        </p:nvSpPr>
        <p:spPr>
          <a:xfrm>
            <a:off x="6054466" y="530781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4" name="Oval 55">
            <a:extLst>
              <a:ext uri="{FF2B5EF4-FFF2-40B4-BE49-F238E27FC236}">
                <a16:creationId xmlns:a16="http://schemas.microsoft.com/office/drawing/2014/main" id="{7CC0DA31-8BCF-537E-2DDA-51CD4518F344}"/>
              </a:ext>
            </a:extLst>
          </p:cNvPr>
          <p:cNvSpPr/>
          <p:nvPr>
            <p:custDataLst>
              <p:tags r:id="rId24"/>
            </p:custDataLst>
          </p:nvPr>
        </p:nvSpPr>
        <p:spPr>
          <a:xfrm>
            <a:off x="6054466" y="553323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5" name="Oval 62">
            <a:extLst>
              <a:ext uri="{FF2B5EF4-FFF2-40B4-BE49-F238E27FC236}">
                <a16:creationId xmlns:a16="http://schemas.microsoft.com/office/drawing/2014/main" id="{BA7DC7A5-C1EC-35F8-BE16-B6A91C56AABF}"/>
              </a:ext>
            </a:extLst>
          </p:cNvPr>
          <p:cNvSpPr/>
          <p:nvPr>
            <p:custDataLst>
              <p:tags r:id="rId25"/>
            </p:custDataLst>
          </p:nvPr>
        </p:nvSpPr>
        <p:spPr>
          <a:xfrm>
            <a:off x="6895535" y="305764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6" name="Oval 129">
            <a:extLst>
              <a:ext uri="{FF2B5EF4-FFF2-40B4-BE49-F238E27FC236}">
                <a16:creationId xmlns:a16="http://schemas.microsoft.com/office/drawing/2014/main" id="{C287A298-11B1-A520-1869-E36EB05FF7B9}"/>
              </a:ext>
            </a:extLst>
          </p:cNvPr>
          <p:cNvSpPr/>
          <p:nvPr>
            <p:custDataLst>
              <p:tags r:id="rId26"/>
            </p:custDataLst>
          </p:nvPr>
        </p:nvSpPr>
        <p:spPr>
          <a:xfrm>
            <a:off x="8221910" y="4648366"/>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8" name="Oval 135">
            <a:extLst>
              <a:ext uri="{FF2B5EF4-FFF2-40B4-BE49-F238E27FC236}">
                <a16:creationId xmlns:a16="http://schemas.microsoft.com/office/drawing/2014/main" id="{72CF5D2B-BAD6-FD8F-6412-18D9491002BA}"/>
              </a:ext>
            </a:extLst>
          </p:cNvPr>
          <p:cNvSpPr/>
          <p:nvPr>
            <p:custDataLst>
              <p:tags r:id="rId27"/>
            </p:custDataLst>
          </p:nvPr>
        </p:nvSpPr>
        <p:spPr>
          <a:xfrm>
            <a:off x="8221910" y="487379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1" name="Oval 139">
            <a:extLst>
              <a:ext uri="{FF2B5EF4-FFF2-40B4-BE49-F238E27FC236}">
                <a16:creationId xmlns:a16="http://schemas.microsoft.com/office/drawing/2014/main" id="{B6E5F93C-3FC0-8C3C-4E96-7C99C56F5EAE}"/>
              </a:ext>
            </a:extLst>
          </p:cNvPr>
          <p:cNvSpPr/>
          <p:nvPr>
            <p:custDataLst>
              <p:tags r:id="rId28"/>
            </p:custDataLst>
          </p:nvPr>
        </p:nvSpPr>
        <p:spPr>
          <a:xfrm>
            <a:off x="8221910" y="509604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2" name="Oval 143">
            <a:extLst>
              <a:ext uri="{FF2B5EF4-FFF2-40B4-BE49-F238E27FC236}">
                <a16:creationId xmlns:a16="http://schemas.microsoft.com/office/drawing/2014/main" id="{9A816B6F-5950-429A-4CC9-2A893293672C}"/>
              </a:ext>
            </a:extLst>
          </p:cNvPr>
          <p:cNvSpPr/>
          <p:nvPr>
            <p:custDataLst>
              <p:tags r:id="rId29"/>
            </p:custDataLst>
          </p:nvPr>
        </p:nvSpPr>
        <p:spPr>
          <a:xfrm>
            <a:off x="8218735" y="532464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3" name="Oval 158">
            <a:extLst>
              <a:ext uri="{FF2B5EF4-FFF2-40B4-BE49-F238E27FC236}">
                <a16:creationId xmlns:a16="http://schemas.microsoft.com/office/drawing/2014/main" id="{EC19E836-AAF2-5488-553A-125275C1D29F}"/>
              </a:ext>
            </a:extLst>
          </p:cNvPr>
          <p:cNvSpPr/>
          <p:nvPr>
            <p:custDataLst>
              <p:tags r:id="rId30"/>
            </p:custDataLst>
          </p:nvPr>
        </p:nvSpPr>
        <p:spPr>
          <a:xfrm>
            <a:off x="9102466" y="240106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4" name="Oval 160">
            <a:extLst>
              <a:ext uri="{FF2B5EF4-FFF2-40B4-BE49-F238E27FC236}">
                <a16:creationId xmlns:a16="http://schemas.microsoft.com/office/drawing/2014/main" id="{0DA5F409-C0ED-0CEF-F88A-95CEFA4C41F8}"/>
              </a:ext>
            </a:extLst>
          </p:cNvPr>
          <p:cNvSpPr/>
          <p:nvPr>
            <p:custDataLst>
              <p:tags r:id="rId31"/>
            </p:custDataLst>
          </p:nvPr>
        </p:nvSpPr>
        <p:spPr>
          <a:xfrm>
            <a:off x="9102466" y="261954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6" name="Oval 161">
            <a:extLst>
              <a:ext uri="{FF2B5EF4-FFF2-40B4-BE49-F238E27FC236}">
                <a16:creationId xmlns:a16="http://schemas.microsoft.com/office/drawing/2014/main" id="{D059772C-B1E4-B080-B565-B9082491EB3A}"/>
              </a:ext>
            </a:extLst>
          </p:cNvPr>
          <p:cNvSpPr/>
          <p:nvPr>
            <p:custDataLst>
              <p:tags r:id="rId32"/>
            </p:custDataLst>
          </p:nvPr>
        </p:nvSpPr>
        <p:spPr>
          <a:xfrm>
            <a:off x="9102466" y="2844966"/>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9" name="Oval 162">
            <a:extLst>
              <a:ext uri="{FF2B5EF4-FFF2-40B4-BE49-F238E27FC236}">
                <a16:creationId xmlns:a16="http://schemas.microsoft.com/office/drawing/2014/main" id="{882148C1-E283-2887-CCEE-AFDFEE7CAF77}"/>
              </a:ext>
            </a:extLst>
          </p:cNvPr>
          <p:cNvSpPr/>
          <p:nvPr>
            <p:custDataLst>
              <p:tags r:id="rId33"/>
            </p:custDataLst>
          </p:nvPr>
        </p:nvSpPr>
        <p:spPr>
          <a:xfrm>
            <a:off x="9102466" y="307039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20" name="Oval 163">
            <a:extLst>
              <a:ext uri="{FF2B5EF4-FFF2-40B4-BE49-F238E27FC236}">
                <a16:creationId xmlns:a16="http://schemas.microsoft.com/office/drawing/2014/main" id="{D72682E2-F6CF-0B9F-4E73-74EC10079015}"/>
              </a:ext>
            </a:extLst>
          </p:cNvPr>
          <p:cNvSpPr/>
          <p:nvPr>
            <p:custDataLst>
              <p:tags r:id="rId34"/>
            </p:custDataLst>
          </p:nvPr>
        </p:nvSpPr>
        <p:spPr>
          <a:xfrm>
            <a:off x="9102466" y="329264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21" name="Oval 164">
            <a:extLst>
              <a:ext uri="{FF2B5EF4-FFF2-40B4-BE49-F238E27FC236}">
                <a16:creationId xmlns:a16="http://schemas.microsoft.com/office/drawing/2014/main" id="{395F69EE-D5AD-7354-8645-E2BCCE51127C}"/>
              </a:ext>
            </a:extLst>
          </p:cNvPr>
          <p:cNvSpPr/>
          <p:nvPr>
            <p:custDataLst>
              <p:tags r:id="rId35"/>
            </p:custDataLst>
          </p:nvPr>
        </p:nvSpPr>
        <p:spPr>
          <a:xfrm>
            <a:off x="9102466" y="352124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22" name="Grafik 221" descr="Ein Bild, das Schrift, Grafiken, Screenshot, Grafikdesign enthält.&#10;&#10;Automatisch generierte Beschreibung">
            <a:extLst>
              <a:ext uri="{FF2B5EF4-FFF2-40B4-BE49-F238E27FC236}">
                <a16:creationId xmlns:a16="http://schemas.microsoft.com/office/drawing/2014/main" id="{B05BE2E8-EB34-441A-0B9D-DC563370D93B}"/>
              </a:ext>
            </a:extLst>
          </p:cNvPr>
          <p:cNvPicPr>
            <a:picLocks noChangeAspect="1"/>
          </p:cNvPicPr>
          <p:nvPr/>
        </p:nvPicPr>
        <p:blipFill>
          <a:blip r:embed="rId79"/>
          <a:stretch>
            <a:fillRect/>
          </a:stretch>
        </p:blipFill>
        <p:spPr>
          <a:xfrm>
            <a:off x="9369398" y="4591194"/>
            <a:ext cx="515509" cy="192248"/>
          </a:xfrm>
          <a:prstGeom prst="rect">
            <a:avLst/>
          </a:prstGeom>
        </p:spPr>
      </p:pic>
      <p:sp>
        <p:nvSpPr>
          <p:cNvPr id="223" name="Oval 169">
            <a:extLst>
              <a:ext uri="{FF2B5EF4-FFF2-40B4-BE49-F238E27FC236}">
                <a16:creationId xmlns:a16="http://schemas.microsoft.com/office/drawing/2014/main" id="{2C0B48FA-6A0C-C1F8-86C1-ED70DC66BC10}"/>
              </a:ext>
            </a:extLst>
          </p:cNvPr>
          <p:cNvSpPr/>
          <p:nvPr>
            <p:custDataLst>
              <p:tags r:id="rId36"/>
            </p:custDataLst>
          </p:nvPr>
        </p:nvSpPr>
        <p:spPr>
          <a:xfrm>
            <a:off x="9102466" y="218859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31" name="Oval 23">
            <a:extLst>
              <a:ext uri="{FF2B5EF4-FFF2-40B4-BE49-F238E27FC236}">
                <a16:creationId xmlns:a16="http://schemas.microsoft.com/office/drawing/2014/main" id="{C770A6D5-5078-6A73-5EC1-406CDB0849D6}"/>
              </a:ext>
            </a:extLst>
          </p:cNvPr>
          <p:cNvSpPr/>
          <p:nvPr>
            <p:custDataLst>
              <p:tags r:id="rId37"/>
            </p:custDataLst>
          </p:nvPr>
        </p:nvSpPr>
        <p:spPr>
          <a:xfrm>
            <a:off x="9943577" y="4648366"/>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33" name="Grafik 232">
            <a:extLst>
              <a:ext uri="{FF2B5EF4-FFF2-40B4-BE49-F238E27FC236}">
                <a16:creationId xmlns:a16="http://schemas.microsoft.com/office/drawing/2014/main" id="{5A2CAB4F-B909-B90B-81A7-BB9DE20D2314}"/>
              </a:ext>
            </a:extLst>
          </p:cNvPr>
          <p:cNvPicPr>
            <a:picLocks noChangeAspect="1"/>
          </p:cNvPicPr>
          <p:nvPr/>
        </p:nvPicPr>
        <p:blipFill>
          <a:blip>
            <a:extLst>
              <a:ext uri="{96DAC541-7B7A-43D3-8B79-37D633B846F1}">
                <asvg:svgBlip xmlns:asvg="http://schemas.microsoft.com/office/drawing/2016/SVG/main" r:embed="rId80"/>
              </a:ext>
            </a:extLst>
          </a:blip>
          <a:stretch>
            <a:fillRect/>
          </a:stretch>
        </p:blipFill>
        <p:spPr>
          <a:xfrm>
            <a:off x="2081177" y="2774810"/>
            <a:ext cx="629183" cy="223710"/>
          </a:xfrm>
          <a:prstGeom prst="rect">
            <a:avLst/>
          </a:prstGeom>
        </p:spPr>
      </p:pic>
      <p:pic>
        <p:nvPicPr>
          <p:cNvPr id="234" name="Grafik 233">
            <a:extLst>
              <a:ext uri="{FF2B5EF4-FFF2-40B4-BE49-F238E27FC236}">
                <a16:creationId xmlns:a16="http://schemas.microsoft.com/office/drawing/2014/main" id="{2F551E24-0AB4-1385-F45B-6F89860782C9}"/>
              </a:ext>
            </a:extLst>
          </p:cNvPr>
          <p:cNvPicPr>
            <a:picLocks noChangeAspect="1"/>
          </p:cNvPicPr>
          <p:nvPr/>
        </p:nvPicPr>
        <p:blipFill>
          <a:blip>
            <a:extLst>
              <a:ext uri="{96DAC541-7B7A-43D3-8B79-37D633B846F1}">
                <asvg:svgBlip xmlns:asvg="http://schemas.microsoft.com/office/drawing/2016/SVG/main" r:embed="rId81"/>
              </a:ext>
            </a:extLst>
          </a:blip>
          <a:stretch>
            <a:fillRect/>
          </a:stretch>
        </p:blipFill>
        <p:spPr>
          <a:xfrm>
            <a:off x="8318838" y="5276377"/>
            <a:ext cx="887417" cy="243364"/>
          </a:xfrm>
          <a:prstGeom prst="rect">
            <a:avLst/>
          </a:prstGeom>
        </p:spPr>
      </p:pic>
      <p:sp>
        <p:nvSpPr>
          <p:cNvPr id="235" name="Oval 26">
            <a:extLst>
              <a:ext uri="{FF2B5EF4-FFF2-40B4-BE49-F238E27FC236}">
                <a16:creationId xmlns:a16="http://schemas.microsoft.com/office/drawing/2014/main" id="{D309144A-BF25-B3A0-1816-A3F430376B7A}"/>
              </a:ext>
            </a:extLst>
          </p:cNvPr>
          <p:cNvSpPr/>
          <p:nvPr>
            <p:custDataLst>
              <p:tags r:id="rId38"/>
            </p:custDataLst>
          </p:nvPr>
        </p:nvSpPr>
        <p:spPr>
          <a:xfrm>
            <a:off x="2769091" y="303272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36" name="Oval 27">
            <a:extLst>
              <a:ext uri="{FF2B5EF4-FFF2-40B4-BE49-F238E27FC236}">
                <a16:creationId xmlns:a16="http://schemas.microsoft.com/office/drawing/2014/main" id="{F9AEC5FD-0389-9D6C-CA3A-52423AAF6541}"/>
              </a:ext>
            </a:extLst>
          </p:cNvPr>
          <p:cNvSpPr/>
          <p:nvPr>
            <p:custDataLst>
              <p:tags r:id="rId39"/>
            </p:custDataLst>
          </p:nvPr>
        </p:nvSpPr>
        <p:spPr>
          <a:xfrm>
            <a:off x="2768513" y="284131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38" name="Grafik 237" descr="Ein Bild, das Screenshot, Grafiken, Schrift, Symbol enthält.&#10;&#10;Automatisch generierte Beschreibung">
            <a:extLst>
              <a:ext uri="{FF2B5EF4-FFF2-40B4-BE49-F238E27FC236}">
                <a16:creationId xmlns:a16="http://schemas.microsoft.com/office/drawing/2014/main" id="{4912FE69-3367-B12D-276F-61E5B30EDF76}"/>
              </a:ext>
            </a:extLst>
          </p:cNvPr>
          <p:cNvPicPr>
            <a:picLocks noChangeAspect="1"/>
          </p:cNvPicPr>
          <p:nvPr/>
        </p:nvPicPr>
        <p:blipFill>
          <a:blip r:embed="rId82"/>
          <a:stretch>
            <a:fillRect/>
          </a:stretch>
        </p:blipFill>
        <p:spPr>
          <a:xfrm>
            <a:off x="8392992" y="2264235"/>
            <a:ext cx="684770" cy="297224"/>
          </a:xfrm>
          <a:prstGeom prst="rect">
            <a:avLst/>
          </a:prstGeom>
        </p:spPr>
      </p:pic>
      <p:sp>
        <p:nvSpPr>
          <p:cNvPr id="239" name="Oval 38">
            <a:extLst>
              <a:ext uri="{FF2B5EF4-FFF2-40B4-BE49-F238E27FC236}">
                <a16:creationId xmlns:a16="http://schemas.microsoft.com/office/drawing/2014/main" id="{AE04F17C-A0C2-95D5-0102-DB991C502C5A}"/>
              </a:ext>
            </a:extLst>
          </p:cNvPr>
          <p:cNvSpPr/>
          <p:nvPr>
            <p:custDataLst>
              <p:tags r:id="rId40"/>
            </p:custDataLst>
          </p:nvPr>
        </p:nvSpPr>
        <p:spPr>
          <a:xfrm>
            <a:off x="8218735" y="5550066"/>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41" name="Grafik 240">
            <a:extLst>
              <a:ext uri="{FF2B5EF4-FFF2-40B4-BE49-F238E27FC236}">
                <a16:creationId xmlns:a16="http://schemas.microsoft.com/office/drawing/2014/main" id="{7A90A3CB-4F62-7523-0D3E-D7A91BE618F0}"/>
              </a:ext>
            </a:extLst>
          </p:cNvPr>
          <p:cNvPicPr>
            <a:picLocks noChangeAspect="1"/>
          </p:cNvPicPr>
          <p:nvPr/>
        </p:nvPicPr>
        <p:blipFill>
          <a:blip>
            <a:extLst>
              <a:ext uri="{96DAC541-7B7A-43D3-8B79-37D633B846F1}">
                <asvg:svgBlip xmlns:asvg="http://schemas.microsoft.com/office/drawing/2016/SVG/main" r:embed="rId83"/>
              </a:ext>
            </a:extLst>
          </a:blip>
          <a:stretch>
            <a:fillRect/>
          </a:stretch>
        </p:blipFill>
        <p:spPr>
          <a:xfrm>
            <a:off x="11025234" y="3508038"/>
            <a:ext cx="858223" cy="266587"/>
          </a:xfrm>
          <a:prstGeom prst="rect">
            <a:avLst/>
          </a:prstGeom>
        </p:spPr>
      </p:pic>
      <p:pic>
        <p:nvPicPr>
          <p:cNvPr id="4" name="Grafik 3">
            <a:extLst>
              <a:ext uri="{FF2B5EF4-FFF2-40B4-BE49-F238E27FC236}">
                <a16:creationId xmlns:a16="http://schemas.microsoft.com/office/drawing/2014/main" id="{5919D577-A7A8-E502-A06A-979AF45747B0}"/>
              </a:ext>
            </a:extLst>
          </p:cNvPr>
          <p:cNvPicPr>
            <a:picLocks noChangeAspect="1"/>
          </p:cNvPicPr>
          <p:nvPr/>
        </p:nvPicPr>
        <p:blipFill>
          <a:blip r:embed="rId84"/>
          <a:srcRect/>
          <a:stretch/>
        </p:blipFill>
        <p:spPr>
          <a:xfrm>
            <a:off x="4094368" y="2984063"/>
            <a:ext cx="579331" cy="181704"/>
          </a:xfrm>
          <a:prstGeom prst="rect">
            <a:avLst/>
          </a:prstGeom>
        </p:spPr>
      </p:pic>
      <p:sp>
        <p:nvSpPr>
          <p:cNvPr id="7" name="Textfeld 6">
            <a:extLst>
              <a:ext uri="{FF2B5EF4-FFF2-40B4-BE49-F238E27FC236}">
                <a16:creationId xmlns:a16="http://schemas.microsoft.com/office/drawing/2014/main" id="{9F3A7EF6-6416-8C1B-E811-BFA3458AFDCA}"/>
              </a:ext>
            </a:extLst>
          </p:cNvPr>
          <p:cNvSpPr txBox="1"/>
          <p:nvPr>
            <p:custDataLst>
              <p:tags r:id="rId41"/>
            </p:custDataLst>
          </p:nvPr>
        </p:nvSpPr>
        <p:spPr>
          <a:xfrm>
            <a:off x="673216" y="3489262"/>
            <a:ext cx="828000" cy="274418"/>
          </a:xfrm>
          <a:prstGeom prst="rect">
            <a:avLst/>
          </a:prstGeom>
          <a:solidFill>
            <a:schemeClr val="bg1"/>
          </a:solidFill>
        </p:spPr>
        <p:txBody>
          <a:bodyPr wrap="none" lIns="0" tIns="0" rIns="0" bIns="0" rtlCol="0" anchor="ctr" anchorCtr="0">
            <a:noAutofit/>
          </a:bodyPr>
          <a:lstStyle/>
          <a:p>
            <a:pPr algn="ctr"/>
            <a:r>
              <a:rPr lang="de-DE" sz="3400">
                <a:blipFill dpi="0" rotWithShape="1">
                  <a:blip r:embed="rId85">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80</a:t>
            </a:r>
          </a:p>
        </p:txBody>
      </p:sp>
      <p:sp>
        <p:nvSpPr>
          <p:cNvPr id="12" name="Textfeld 11">
            <a:extLst>
              <a:ext uri="{FF2B5EF4-FFF2-40B4-BE49-F238E27FC236}">
                <a16:creationId xmlns:a16="http://schemas.microsoft.com/office/drawing/2014/main" id="{24301F6E-F9D7-6288-BF42-0B8048BAFDE9}"/>
              </a:ext>
            </a:extLst>
          </p:cNvPr>
          <p:cNvSpPr txBox="1"/>
          <p:nvPr>
            <p:custDataLst>
              <p:tags r:id="rId42"/>
            </p:custDataLst>
          </p:nvPr>
        </p:nvSpPr>
        <p:spPr>
          <a:xfrm>
            <a:off x="3183579" y="3489262"/>
            <a:ext cx="828000" cy="274418"/>
          </a:xfrm>
          <a:prstGeom prst="rect">
            <a:avLst/>
          </a:prstGeom>
          <a:solidFill>
            <a:schemeClr val="bg1"/>
          </a:solidFill>
        </p:spPr>
        <p:txBody>
          <a:bodyPr wrap="none" lIns="0" tIns="0" rIns="0" bIns="0" rtlCol="0" anchor="ctr" anchorCtr="0">
            <a:noAutofit/>
          </a:bodyPr>
          <a:lstStyle/>
          <a:p>
            <a:pPr algn="ctr"/>
            <a:r>
              <a:rPr lang="de-DE" sz="3400" dirty="0">
                <a:blipFill dpi="0" rotWithShape="1">
                  <a:blip r:embed="rId85">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00</a:t>
            </a:r>
          </a:p>
        </p:txBody>
      </p:sp>
      <p:sp>
        <p:nvSpPr>
          <p:cNvPr id="13" name="Textfeld 12">
            <a:extLst>
              <a:ext uri="{FF2B5EF4-FFF2-40B4-BE49-F238E27FC236}">
                <a16:creationId xmlns:a16="http://schemas.microsoft.com/office/drawing/2014/main" id="{7B2F556E-E1C6-24EB-4114-17E089119BE1}"/>
              </a:ext>
            </a:extLst>
          </p:cNvPr>
          <p:cNvSpPr txBox="1"/>
          <p:nvPr>
            <p:custDataLst>
              <p:tags r:id="rId43"/>
            </p:custDataLst>
          </p:nvPr>
        </p:nvSpPr>
        <p:spPr>
          <a:xfrm>
            <a:off x="10330038" y="3977378"/>
            <a:ext cx="828000" cy="274418"/>
          </a:xfrm>
          <a:prstGeom prst="rect">
            <a:avLst/>
          </a:prstGeom>
          <a:solidFill>
            <a:schemeClr val="bg1"/>
          </a:solidFill>
        </p:spPr>
        <p:txBody>
          <a:bodyPr wrap="none" lIns="0" tIns="0" rIns="0" bIns="0" rtlCol="0" anchor="ctr" anchorCtr="0">
            <a:noAutofit/>
          </a:bodyPr>
          <a:lstStyle/>
          <a:p>
            <a:pPr algn="ctr"/>
            <a:r>
              <a:rPr lang="de-DE" sz="3400" dirty="0">
                <a:blipFill dpi="0" rotWithShape="1">
                  <a:blip r:embed="rId85">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26</a:t>
            </a:r>
          </a:p>
        </p:txBody>
      </p:sp>
      <p:pic>
        <p:nvPicPr>
          <p:cNvPr id="5" name="Grafik 4" descr="Ein Bild, das Grafiken, Schrift, Farbigkeit, Screenshot enthält.&#10;&#10;KI-generierte Inhalte können fehlerhaft sein.">
            <a:extLst>
              <a:ext uri="{FF2B5EF4-FFF2-40B4-BE49-F238E27FC236}">
                <a16:creationId xmlns:a16="http://schemas.microsoft.com/office/drawing/2014/main" id="{C5C944B4-7891-6149-0CDE-1E2D81CB09B8}"/>
              </a:ext>
            </a:extLst>
          </p:cNvPr>
          <p:cNvPicPr>
            <a:picLocks noChangeAspect="1"/>
          </p:cNvPicPr>
          <p:nvPr/>
        </p:nvPicPr>
        <p:blipFill>
          <a:blip r:embed="rId86"/>
          <a:stretch>
            <a:fillRect/>
          </a:stretch>
        </p:blipFill>
        <p:spPr>
          <a:xfrm>
            <a:off x="10066317" y="4833905"/>
            <a:ext cx="674975" cy="107939"/>
          </a:xfrm>
          <a:prstGeom prst="rect">
            <a:avLst/>
          </a:prstGeom>
        </p:spPr>
      </p:pic>
      <p:sp>
        <p:nvSpPr>
          <p:cNvPr id="11" name="Oval 135">
            <a:extLst>
              <a:ext uri="{FF2B5EF4-FFF2-40B4-BE49-F238E27FC236}">
                <a16:creationId xmlns:a16="http://schemas.microsoft.com/office/drawing/2014/main" id="{605E8A91-EA25-3AB8-6E1B-3650A5FF5D84}"/>
              </a:ext>
            </a:extLst>
          </p:cNvPr>
          <p:cNvSpPr/>
          <p:nvPr>
            <p:custDataLst>
              <p:tags r:id="rId44"/>
            </p:custDataLst>
          </p:nvPr>
        </p:nvSpPr>
        <p:spPr>
          <a:xfrm>
            <a:off x="9943200" y="4874400"/>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Tree>
    <p:extLst>
      <p:ext uri="{BB962C8B-B14F-4D97-AF65-F5344CB8AC3E}">
        <p14:creationId xmlns:p14="http://schemas.microsoft.com/office/powerpoint/2010/main" val="2405817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B6EA6B50-886F-7D60-24BA-EA5203AED692}"/>
              </a:ext>
            </a:extLst>
          </p:cNvPr>
          <p:cNvPicPr>
            <a:picLocks noChangeAspect="1"/>
          </p:cNvPicPr>
          <p:nvPr/>
        </p:nvPicPr>
        <p:blipFill>
          <a:blip r:embed="rId21"/>
          <a:srcRect t="4993" b="4993"/>
          <a:stretch/>
        </p:blipFill>
        <p:spPr>
          <a:xfrm>
            <a:off x="268268" y="1549594"/>
            <a:ext cx="10988646" cy="5087018"/>
          </a:xfrm>
          <a:prstGeom prst="rect">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2" imgW="306" imgH="306" progId="TCLayout.ActiveDocument.1">
                  <p:embed/>
                </p:oleObj>
              </mc:Choice>
              <mc:Fallback>
                <p:oleObj name="think-cell Folie" r:id="rId22"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5839AFDD-0D67-DEF1-9DFE-4BD62426BCB9}"/>
              </a:ext>
            </a:extLst>
          </p:cNvPr>
          <p:cNvSpPr>
            <a:spLocks noGrp="1"/>
          </p:cNvSpPr>
          <p:nvPr>
            <p:ph type="body" sz="quarter" idx="12"/>
          </p:nvPr>
        </p:nvSpPr>
        <p:spPr/>
        <p:txBody>
          <a:bodyPr/>
          <a:lstStyle/>
          <a:p>
            <a:r>
              <a:rPr lang="de-DE"/>
              <a:t>Die msg-Gruppe im Überblick</a:t>
            </a:r>
          </a:p>
        </p:txBody>
      </p:sp>
      <p:sp>
        <p:nvSpPr>
          <p:cNvPr id="4" name="Titel 3">
            <a:extLst>
              <a:ext uri="{FF2B5EF4-FFF2-40B4-BE49-F238E27FC236}">
                <a16:creationId xmlns:a16="http://schemas.microsoft.com/office/drawing/2014/main" id="{B2233621-6E36-9963-EE01-84D31F79E12F}"/>
              </a:ext>
            </a:extLst>
          </p:cNvPr>
          <p:cNvSpPr>
            <a:spLocks noGrp="1"/>
          </p:cNvSpPr>
          <p:nvPr>
            <p:ph type="title"/>
          </p:nvPr>
        </p:nvSpPr>
        <p:spPr/>
        <p:txBody>
          <a:bodyPr/>
          <a:lstStyle/>
          <a:p>
            <a:r>
              <a:rPr lang="de-DE" dirty="0"/>
              <a:t>Wir sind eine international agierende Unternehmensgruppe</a:t>
            </a:r>
            <a:br>
              <a:rPr lang="de-DE" dirty="0"/>
            </a:br>
            <a:r>
              <a:rPr lang="de-DE" b="1" dirty="0"/>
              <a:t>mit tiefem Branchen-Know-how</a:t>
            </a:r>
            <a:br>
              <a:rPr lang="de-DE" dirty="0"/>
            </a:br>
            <a:endParaRPr lang="de-DE" dirty="0"/>
          </a:p>
        </p:txBody>
      </p:sp>
      <p:sp>
        <p:nvSpPr>
          <p:cNvPr id="2" name="Fußzeilenplatzhalter 1">
            <a:extLst>
              <a:ext uri="{FF2B5EF4-FFF2-40B4-BE49-F238E27FC236}">
                <a16:creationId xmlns:a16="http://schemas.microsoft.com/office/drawing/2014/main" id="{0F7F9DAD-CB58-221D-D607-E38D2ABD42E0}"/>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12</a:t>
            </a:fld>
            <a:endParaRPr lang="de-DE"/>
          </a:p>
        </p:txBody>
      </p:sp>
      <p:sp>
        <p:nvSpPr>
          <p:cNvPr id="7" name="Textfeld 6">
            <a:extLst>
              <a:ext uri="{FF2B5EF4-FFF2-40B4-BE49-F238E27FC236}">
                <a16:creationId xmlns:a16="http://schemas.microsoft.com/office/drawing/2014/main" id="{522BCBBC-499C-8773-80D3-9BDBCD9F7B16}"/>
              </a:ext>
            </a:extLst>
          </p:cNvPr>
          <p:cNvSpPr txBox="1"/>
          <p:nvPr>
            <p:custDataLst>
              <p:tags r:id="rId2"/>
            </p:custDataLst>
          </p:nvPr>
        </p:nvSpPr>
        <p:spPr>
          <a:xfrm>
            <a:off x="1783858" y="2404748"/>
            <a:ext cx="1624327" cy="424785"/>
          </a:xfrm>
          <a:prstGeom prst="rect">
            <a:avLst/>
          </a:prstGeom>
          <a:noFill/>
        </p:spPr>
        <p:txBody>
          <a:bodyPr wrap="square" lIns="0" tIns="0" rIns="0" bIns="0" rtlCol="0">
            <a:noAutofit/>
          </a:bodyPr>
          <a:lstStyle/>
          <a:p>
            <a:pPr algn="ctr"/>
            <a:r>
              <a:rPr lang="de-DE" sz="3600" b="1" dirty="0">
                <a:latin typeface="Aptos" panose="020B0004020202020204" pitchFamily="34" charset="0"/>
              </a:rPr>
              <a:t>39,4 %</a:t>
            </a:r>
          </a:p>
        </p:txBody>
      </p:sp>
      <p:sp>
        <p:nvSpPr>
          <p:cNvPr id="10" name="Textfeld 9">
            <a:extLst>
              <a:ext uri="{FF2B5EF4-FFF2-40B4-BE49-F238E27FC236}">
                <a16:creationId xmlns:a16="http://schemas.microsoft.com/office/drawing/2014/main" id="{5F180707-C9FF-D609-998E-70F5954B711C}"/>
              </a:ext>
            </a:extLst>
          </p:cNvPr>
          <p:cNvSpPr txBox="1"/>
          <p:nvPr>
            <p:custDataLst>
              <p:tags r:id="rId3"/>
            </p:custDataLst>
          </p:nvPr>
        </p:nvSpPr>
        <p:spPr>
          <a:xfrm>
            <a:off x="1587459" y="5246853"/>
            <a:ext cx="1001326" cy="313622"/>
          </a:xfrm>
          <a:prstGeom prst="rect">
            <a:avLst/>
          </a:prstGeom>
          <a:noFill/>
        </p:spPr>
        <p:txBody>
          <a:bodyPr wrap="square" lIns="0" tIns="0" rIns="0" bIns="0" rtlCol="0">
            <a:noAutofit/>
          </a:bodyPr>
          <a:lstStyle/>
          <a:p>
            <a:pPr algn="ctr"/>
            <a:r>
              <a:rPr lang="de-DE" sz="2200" b="1" dirty="0">
                <a:latin typeface="Aptos" panose="020B0004020202020204" pitchFamily="34" charset="0"/>
              </a:rPr>
              <a:t>9,5 %</a:t>
            </a:r>
          </a:p>
        </p:txBody>
      </p:sp>
      <p:sp>
        <p:nvSpPr>
          <p:cNvPr id="11" name="Textfeld 10">
            <a:extLst>
              <a:ext uri="{FF2B5EF4-FFF2-40B4-BE49-F238E27FC236}">
                <a16:creationId xmlns:a16="http://schemas.microsoft.com/office/drawing/2014/main" id="{64414A2F-B87D-76A1-1BE3-83D38DC40E88}"/>
              </a:ext>
            </a:extLst>
          </p:cNvPr>
          <p:cNvSpPr txBox="1"/>
          <p:nvPr>
            <p:custDataLst>
              <p:tags r:id="rId4"/>
            </p:custDataLst>
          </p:nvPr>
        </p:nvSpPr>
        <p:spPr>
          <a:xfrm>
            <a:off x="8442433" y="2473723"/>
            <a:ext cx="1169185" cy="313622"/>
          </a:xfrm>
          <a:prstGeom prst="rect">
            <a:avLst/>
          </a:prstGeom>
          <a:noFill/>
        </p:spPr>
        <p:txBody>
          <a:bodyPr wrap="square" lIns="0" tIns="0" rIns="0" bIns="0" rtlCol="0">
            <a:noAutofit/>
          </a:bodyPr>
          <a:lstStyle/>
          <a:p>
            <a:pPr algn="ctr"/>
            <a:r>
              <a:rPr lang="de-DE" sz="2800" b="1" dirty="0">
                <a:latin typeface="Aptos" panose="020B0004020202020204" pitchFamily="34" charset="0"/>
              </a:rPr>
              <a:t>18,6 %</a:t>
            </a:r>
          </a:p>
        </p:txBody>
      </p:sp>
      <p:sp>
        <p:nvSpPr>
          <p:cNvPr id="12" name="Textfeld 11">
            <a:extLst>
              <a:ext uri="{FF2B5EF4-FFF2-40B4-BE49-F238E27FC236}">
                <a16:creationId xmlns:a16="http://schemas.microsoft.com/office/drawing/2014/main" id="{06BB4E62-6D87-8455-3CBE-4CA062C12865}"/>
              </a:ext>
            </a:extLst>
          </p:cNvPr>
          <p:cNvSpPr txBox="1"/>
          <p:nvPr>
            <p:custDataLst>
              <p:tags r:id="rId5"/>
            </p:custDataLst>
          </p:nvPr>
        </p:nvSpPr>
        <p:spPr>
          <a:xfrm>
            <a:off x="9721925" y="3761160"/>
            <a:ext cx="937364" cy="313622"/>
          </a:xfrm>
          <a:prstGeom prst="rect">
            <a:avLst/>
          </a:prstGeom>
          <a:noFill/>
        </p:spPr>
        <p:txBody>
          <a:bodyPr wrap="square" lIns="0" tIns="0" rIns="0" bIns="0" rtlCol="0">
            <a:noAutofit/>
          </a:bodyPr>
          <a:lstStyle/>
          <a:p>
            <a:pPr algn="ctr"/>
            <a:r>
              <a:rPr lang="de-DE" sz="2400" b="1" dirty="0">
                <a:latin typeface="Aptos" panose="020B0004020202020204" pitchFamily="34" charset="0"/>
              </a:rPr>
              <a:t>14,9 %</a:t>
            </a:r>
          </a:p>
        </p:txBody>
      </p:sp>
      <p:sp>
        <p:nvSpPr>
          <p:cNvPr id="13" name="Textfeld 12">
            <a:extLst>
              <a:ext uri="{FF2B5EF4-FFF2-40B4-BE49-F238E27FC236}">
                <a16:creationId xmlns:a16="http://schemas.microsoft.com/office/drawing/2014/main" id="{9AA02DD3-16A5-89EE-523A-A28E6530DC09}"/>
              </a:ext>
            </a:extLst>
          </p:cNvPr>
          <p:cNvSpPr txBox="1"/>
          <p:nvPr>
            <p:custDataLst>
              <p:tags r:id="rId6"/>
            </p:custDataLst>
          </p:nvPr>
        </p:nvSpPr>
        <p:spPr>
          <a:xfrm>
            <a:off x="8365475" y="4791385"/>
            <a:ext cx="806335" cy="313622"/>
          </a:xfrm>
          <a:prstGeom prst="rect">
            <a:avLst/>
          </a:prstGeom>
          <a:noFill/>
        </p:spPr>
        <p:txBody>
          <a:bodyPr wrap="square" lIns="0" tIns="0" rIns="0" bIns="0" rtlCol="0">
            <a:noAutofit/>
          </a:bodyPr>
          <a:lstStyle/>
          <a:p>
            <a:pPr algn="ctr"/>
            <a:r>
              <a:rPr lang="de-DE" sz="1700" b="1" dirty="0">
                <a:latin typeface="Aptos" panose="020B0004020202020204" pitchFamily="34" charset="0"/>
              </a:rPr>
              <a:t>4,5 %</a:t>
            </a:r>
          </a:p>
        </p:txBody>
      </p:sp>
      <p:sp>
        <p:nvSpPr>
          <p:cNvPr id="14" name="Textfeld 13">
            <a:extLst>
              <a:ext uri="{FF2B5EF4-FFF2-40B4-BE49-F238E27FC236}">
                <a16:creationId xmlns:a16="http://schemas.microsoft.com/office/drawing/2014/main" id="{5081B4E9-F210-E2E8-BD1F-1C859865D43C}"/>
              </a:ext>
            </a:extLst>
          </p:cNvPr>
          <p:cNvSpPr txBox="1"/>
          <p:nvPr>
            <p:custDataLst>
              <p:tags r:id="rId7"/>
            </p:custDataLst>
          </p:nvPr>
        </p:nvSpPr>
        <p:spPr>
          <a:xfrm>
            <a:off x="9847128" y="5545122"/>
            <a:ext cx="806335" cy="171363"/>
          </a:xfrm>
          <a:prstGeom prst="rect">
            <a:avLst/>
          </a:prstGeom>
          <a:noFill/>
        </p:spPr>
        <p:txBody>
          <a:bodyPr wrap="square" lIns="0" tIns="0" rIns="0" bIns="0" rtlCol="0">
            <a:noAutofit/>
          </a:bodyPr>
          <a:lstStyle/>
          <a:p>
            <a:pPr algn="ctr"/>
            <a:r>
              <a:rPr lang="de-DE" sz="1200" b="1" dirty="0">
                <a:latin typeface="Aptos" panose="020B0004020202020204" pitchFamily="34" charset="0"/>
              </a:rPr>
              <a:t>1,2 %</a:t>
            </a:r>
          </a:p>
        </p:txBody>
      </p:sp>
      <p:sp>
        <p:nvSpPr>
          <p:cNvPr id="15" name="Textfeld 14">
            <a:extLst>
              <a:ext uri="{FF2B5EF4-FFF2-40B4-BE49-F238E27FC236}">
                <a16:creationId xmlns:a16="http://schemas.microsoft.com/office/drawing/2014/main" id="{576D34EB-4357-004C-AA2C-B12EC9969266}"/>
              </a:ext>
            </a:extLst>
          </p:cNvPr>
          <p:cNvSpPr txBox="1"/>
          <p:nvPr>
            <p:custDataLst>
              <p:tags r:id="rId8"/>
            </p:custDataLst>
          </p:nvPr>
        </p:nvSpPr>
        <p:spPr>
          <a:xfrm>
            <a:off x="1783549" y="3713970"/>
            <a:ext cx="1624327" cy="246528"/>
          </a:xfrm>
          <a:prstGeom prst="rect">
            <a:avLst/>
          </a:prstGeom>
          <a:noFill/>
        </p:spPr>
        <p:txBody>
          <a:bodyPr wrap="square" lIns="0" tIns="0" rIns="0" bIns="0" rtlCol="0">
            <a:noAutofit/>
          </a:bodyPr>
          <a:lstStyle/>
          <a:p>
            <a:pPr algn="ctr"/>
            <a:r>
              <a:rPr lang="de-DE" sz="1400" b="1">
                <a:latin typeface="Aptos" panose="020B0004020202020204" pitchFamily="34" charset="0"/>
              </a:rPr>
              <a:t>Insurance</a:t>
            </a:r>
          </a:p>
        </p:txBody>
      </p:sp>
      <p:sp>
        <p:nvSpPr>
          <p:cNvPr id="16" name="Textfeld 15">
            <a:extLst>
              <a:ext uri="{FF2B5EF4-FFF2-40B4-BE49-F238E27FC236}">
                <a16:creationId xmlns:a16="http://schemas.microsoft.com/office/drawing/2014/main" id="{DEC6A7D1-DAFB-53F6-E4A0-B32E5E4CC710}"/>
              </a:ext>
            </a:extLst>
          </p:cNvPr>
          <p:cNvSpPr txBox="1"/>
          <p:nvPr>
            <p:custDataLst>
              <p:tags r:id="rId9"/>
            </p:custDataLst>
          </p:nvPr>
        </p:nvSpPr>
        <p:spPr>
          <a:xfrm>
            <a:off x="2524239" y="4861490"/>
            <a:ext cx="1624327" cy="246528"/>
          </a:xfrm>
          <a:prstGeom prst="rect">
            <a:avLst/>
          </a:prstGeom>
          <a:noFill/>
        </p:spPr>
        <p:txBody>
          <a:bodyPr wrap="square" lIns="0" tIns="0" rIns="0" bIns="0" rtlCol="0">
            <a:noAutofit/>
          </a:bodyPr>
          <a:lstStyle/>
          <a:p>
            <a:pPr algn="ctr">
              <a:lnSpc>
                <a:spcPts val="1600"/>
              </a:lnSpc>
            </a:pPr>
            <a:r>
              <a:rPr lang="de-DE" sz="1400" b="1" dirty="0">
                <a:latin typeface="Aptos" panose="020B0004020202020204" pitchFamily="34" charset="0"/>
              </a:rPr>
              <a:t>Industry</a:t>
            </a:r>
          </a:p>
        </p:txBody>
      </p:sp>
      <p:sp>
        <p:nvSpPr>
          <p:cNvPr id="17" name="Textfeld 16">
            <a:extLst>
              <a:ext uri="{FF2B5EF4-FFF2-40B4-BE49-F238E27FC236}">
                <a16:creationId xmlns:a16="http://schemas.microsoft.com/office/drawing/2014/main" id="{861BA8C6-EDC3-B5E6-61C1-C0496C6273D1}"/>
              </a:ext>
            </a:extLst>
          </p:cNvPr>
          <p:cNvSpPr txBox="1"/>
          <p:nvPr>
            <p:custDataLst>
              <p:tags r:id="rId10"/>
            </p:custDataLst>
          </p:nvPr>
        </p:nvSpPr>
        <p:spPr>
          <a:xfrm>
            <a:off x="1297307" y="5940964"/>
            <a:ext cx="1624327" cy="246528"/>
          </a:xfrm>
          <a:prstGeom prst="rect">
            <a:avLst/>
          </a:prstGeom>
          <a:noFill/>
        </p:spPr>
        <p:txBody>
          <a:bodyPr wrap="square" lIns="0" tIns="0" rIns="0" bIns="0" rtlCol="0">
            <a:noAutofit/>
          </a:bodyPr>
          <a:lstStyle/>
          <a:p>
            <a:pPr algn="ctr"/>
            <a:r>
              <a:rPr lang="de-DE" sz="1400" b="1">
                <a:latin typeface="Aptos" panose="020B0004020202020204" pitchFamily="34" charset="0"/>
              </a:rPr>
              <a:t>Public Sector</a:t>
            </a:r>
          </a:p>
        </p:txBody>
      </p:sp>
      <p:sp>
        <p:nvSpPr>
          <p:cNvPr id="18" name="Textfeld 17">
            <a:extLst>
              <a:ext uri="{FF2B5EF4-FFF2-40B4-BE49-F238E27FC236}">
                <a16:creationId xmlns:a16="http://schemas.microsoft.com/office/drawing/2014/main" id="{1A6F354D-2009-540D-A48C-4423B088C1F7}"/>
              </a:ext>
            </a:extLst>
          </p:cNvPr>
          <p:cNvSpPr txBox="1"/>
          <p:nvPr>
            <p:custDataLst>
              <p:tags r:id="rId11"/>
            </p:custDataLst>
          </p:nvPr>
        </p:nvSpPr>
        <p:spPr>
          <a:xfrm>
            <a:off x="8214861" y="3446690"/>
            <a:ext cx="1624327" cy="246528"/>
          </a:xfrm>
          <a:prstGeom prst="rect">
            <a:avLst/>
          </a:prstGeom>
          <a:noFill/>
        </p:spPr>
        <p:txBody>
          <a:bodyPr wrap="square" lIns="0" tIns="0" rIns="0" bIns="0" rtlCol="0">
            <a:noAutofit/>
          </a:bodyPr>
          <a:lstStyle/>
          <a:p>
            <a:pPr algn="ctr"/>
            <a:r>
              <a:rPr lang="de-DE" sz="1400" b="1">
                <a:latin typeface="Aptos" panose="020B0004020202020204" pitchFamily="34" charset="0"/>
              </a:rPr>
              <a:t>Banking</a:t>
            </a:r>
          </a:p>
        </p:txBody>
      </p:sp>
      <p:sp>
        <p:nvSpPr>
          <p:cNvPr id="19" name="Textfeld 18">
            <a:extLst>
              <a:ext uri="{FF2B5EF4-FFF2-40B4-BE49-F238E27FC236}">
                <a16:creationId xmlns:a16="http://schemas.microsoft.com/office/drawing/2014/main" id="{ECD70D2D-EADF-C37B-D456-B6710DA53B63}"/>
              </a:ext>
            </a:extLst>
          </p:cNvPr>
          <p:cNvSpPr txBox="1"/>
          <p:nvPr>
            <p:custDataLst>
              <p:tags r:id="rId12"/>
            </p:custDataLst>
          </p:nvPr>
        </p:nvSpPr>
        <p:spPr>
          <a:xfrm>
            <a:off x="9364996" y="4568998"/>
            <a:ext cx="1624327" cy="439508"/>
          </a:xfrm>
          <a:prstGeom prst="rect">
            <a:avLst/>
          </a:prstGeom>
          <a:noFill/>
        </p:spPr>
        <p:txBody>
          <a:bodyPr wrap="square" lIns="0" tIns="0" rIns="0" bIns="0" rtlCol="0">
            <a:noAutofit/>
          </a:bodyPr>
          <a:lstStyle/>
          <a:p>
            <a:pPr algn="ctr">
              <a:lnSpc>
                <a:spcPts val="1600"/>
              </a:lnSpc>
            </a:pPr>
            <a:r>
              <a:rPr lang="de-DE" sz="1400" b="1" err="1">
                <a:latin typeface="Aptos" panose="020B0004020202020204" pitchFamily="34" charset="0"/>
              </a:rPr>
              <a:t>Horizontals</a:t>
            </a:r>
            <a:r>
              <a:rPr lang="de-DE" sz="1400" b="1">
                <a:latin typeface="Aptos" panose="020B0004020202020204" pitchFamily="34" charset="0"/>
              </a:rPr>
              <a:t>/</a:t>
            </a:r>
            <a:br>
              <a:rPr lang="de-DE" sz="1400" b="1">
                <a:latin typeface="Aptos" panose="020B0004020202020204" pitchFamily="34" charset="0"/>
              </a:rPr>
            </a:br>
            <a:r>
              <a:rPr lang="de-DE" sz="1400" b="1">
                <a:latin typeface="Aptos" panose="020B0004020202020204" pitchFamily="34" charset="0"/>
              </a:rPr>
              <a:t>Sonstiges</a:t>
            </a:r>
          </a:p>
        </p:txBody>
      </p:sp>
      <p:sp>
        <p:nvSpPr>
          <p:cNvPr id="20" name="Textfeld 19">
            <a:extLst>
              <a:ext uri="{FF2B5EF4-FFF2-40B4-BE49-F238E27FC236}">
                <a16:creationId xmlns:a16="http://schemas.microsoft.com/office/drawing/2014/main" id="{4FB3D3B9-15CD-59C0-BA24-06E0FD78C290}"/>
              </a:ext>
            </a:extLst>
          </p:cNvPr>
          <p:cNvSpPr txBox="1"/>
          <p:nvPr>
            <p:custDataLst>
              <p:tags r:id="rId13"/>
            </p:custDataLst>
          </p:nvPr>
        </p:nvSpPr>
        <p:spPr>
          <a:xfrm>
            <a:off x="9438132" y="5919409"/>
            <a:ext cx="1624327" cy="246528"/>
          </a:xfrm>
          <a:prstGeom prst="rect">
            <a:avLst/>
          </a:prstGeom>
          <a:noFill/>
        </p:spPr>
        <p:txBody>
          <a:bodyPr wrap="square" lIns="0" tIns="0" rIns="0" bIns="0" rtlCol="0">
            <a:noAutofit/>
          </a:bodyPr>
          <a:lstStyle/>
          <a:p>
            <a:pPr algn="ctr"/>
            <a:r>
              <a:rPr lang="de-DE" sz="1400" b="1" err="1">
                <a:latin typeface="Aptos" panose="020B0004020202020204" pitchFamily="34" charset="0"/>
              </a:rPr>
              <a:t>Healthcare</a:t>
            </a:r>
            <a:endParaRPr lang="de-DE" sz="1400" b="1">
              <a:latin typeface="Aptos" panose="020B0004020202020204" pitchFamily="34" charset="0"/>
            </a:endParaRPr>
          </a:p>
        </p:txBody>
      </p:sp>
      <p:sp>
        <p:nvSpPr>
          <p:cNvPr id="21" name="Textfeld 20">
            <a:extLst>
              <a:ext uri="{FF2B5EF4-FFF2-40B4-BE49-F238E27FC236}">
                <a16:creationId xmlns:a16="http://schemas.microsoft.com/office/drawing/2014/main" id="{E7A4A080-EA37-1986-60B3-F3B1F80E6671}"/>
              </a:ext>
            </a:extLst>
          </p:cNvPr>
          <p:cNvSpPr txBox="1"/>
          <p:nvPr>
            <p:custDataLst>
              <p:tags r:id="rId14"/>
            </p:custDataLst>
          </p:nvPr>
        </p:nvSpPr>
        <p:spPr>
          <a:xfrm>
            <a:off x="4158025" y="2919015"/>
            <a:ext cx="3520351" cy="803160"/>
          </a:xfrm>
          <a:prstGeom prst="rect">
            <a:avLst/>
          </a:prstGeom>
          <a:noFill/>
        </p:spPr>
        <p:txBody>
          <a:bodyPr wrap="square" lIns="0" tIns="0" rIns="0" bIns="0" rtlCol="0">
            <a:noAutofit/>
          </a:bodyPr>
          <a:lstStyle/>
          <a:p>
            <a:pPr algn="r"/>
            <a:r>
              <a:rPr lang="de-DE" sz="4400" b="1" dirty="0">
                <a:solidFill>
                  <a:schemeClr val="accent1"/>
                </a:solidFill>
                <a:latin typeface="Aptos" panose="020B0004020202020204" pitchFamily="34" charset="0"/>
              </a:rPr>
              <a:t>1,5 Mrd.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ea typeface="+mn-ea"/>
                <a:cs typeface="+mn-cs"/>
              </a:rPr>
              <a:t>Umsatz 2025 (vorläufig)</a:t>
            </a:r>
          </a:p>
          <a:p>
            <a:pPr algn="r"/>
            <a:endParaRPr lang="de-DE" sz="4400" b="1" dirty="0">
              <a:blipFill dpi="0" rotWithShape="1">
                <a:blip r:embed="rId24"/>
                <a:srcRect/>
                <a:tile tx="0" ty="1905000" sx="100000" sy="100000" flip="y" algn="ctr"/>
              </a:blipFill>
              <a:latin typeface="Aptos" panose="020B0004020202020204" pitchFamily="34" charset="0"/>
            </a:endParaRPr>
          </a:p>
        </p:txBody>
      </p:sp>
      <p:sp>
        <p:nvSpPr>
          <p:cNvPr id="22" name="Textfeld 21">
            <a:extLst>
              <a:ext uri="{FF2B5EF4-FFF2-40B4-BE49-F238E27FC236}">
                <a16:creationId xmlns:a16="http://schemas.microsoft.com/office/drawing/2014/main" id="{64184620-7B42-00F1-4B6F-9596B96B2F7C}"/>
              </a:ext>
            </a:extLst>
          </p:cNvPr>
          <p:cNvSpPr txBox="1"/>
          <p:nvPr>
            <p:custDataLst>
              <p:tags r:id="rId15"/>
            </p:custDataLst>
          </p:nvPr>
        </p:nvSpPr>
        <p:spPr>
          <a:xfrm>
            <a:off x="4955211" y="4520757"/>
            <a:ext cx="676450" cy="439508"/>
          </a:xfrm>
          <a:prstGeom prst="rect">
            <a:avLst/>
          </a:prstGeom>
          <a:noFill/>
        </p:spPr>
        <p:txBody>
          <a:bodyPr wrap="square" lIns="0" tIns="0" rIns="0" bIns="0" rtlCol="0">
            <a:noAutofit/>
          </a:bodyPr>
          <a:lstStyle/>
          <a:p>
            <a:pPr algn="ctr"/>
            <a:r>
              <a:rPr lang="de-DE" sz="3000" b="1">
                <a:latin typeface="Aptos" panose="020B0004020202020204" pitchFamily="34" charset="0"/>
              </a:rPr>
              <a:t>34</a:t>
            </a:r>
          </a:p>
          <a:p>
            <a:pPr marL="0" marR="0" lvl="0" indent="0" algn="ctr" defTabSz="914400" rtl="0" eaLnBrk="1" fontAlgn="auto" latinLnBrk="0" hangingPunct="1">
              <a:buClrTx/>
              <a:buSzTx/>
              <a:buFontTx/>
              <a:buNone/>
              <a:tabLst/>
              <a:defRPr/>
            </a:pPr>
            <a:r>
              <a:rPr kumimoji="0" lang="de-DE" sz="1200" b="0" i="0" u="none" strike="noStrike" kern="1200" cap="none" spc="0" normalizeH="0" baseline="0" noProof="0">
                <a:ln>
                  <a:noFill/>
                </a:ln>
                <a:solidFill>
                  <a:prstClr val="black"/>
                </a:solidFill>
                <a:effectLst/>
                <a:uLnTx/>
                <a:uFillTx/>
                <a:ea typeface="+mn-ea"/>
                <a:cs typeface="+mn-cs"/>
              </a:rPr>
              <a:t>Länder</a:t>
            </a:r>
            <a:endParaRPr lang="de-DE" sz="3000" b="1"/>
          </a:p>
          <a:p>
            <a:pPr algn="ctr"/>
            <a:endParaRPr lang="de-DE" sz="3000" b="1">
              <a:latin typeface="Aptos" panose="020B0004020202020204" pitchFamily="34" charset="0"/>
            </a:endParaRPr>
          </a:p>
          <a:p>
            <a:pPr algn="ctr"/>
            <a:endParaRPr lang="de-DE" sz="3000" b="1">
              <a:latin typeface="Aptos" panose="020B0004020202020204" pitchFamily="34" charset="0"/>
            </a:endParaRPr>
          </a:p>
        </p:txBody>
      </p:sp>
      <p:sp>
        <p:nvSpPr>
          <p:cNvPr id="23" name="Textfeld 22">
            <a:extLst>
              <a:ext uri="{FF2B5EF4-FFF2-40B4-BE49-F238E27FC236}">
                <a16:creationId xmlns:a16="http://schemas.microsoft.com/office/drawing/2014/main" id="{47D9B00F-E4AC-4CC1-912B-A9964E069514}"/>
              </a:ext>
            </a:extLst>
          </p:cNvPr>
          <p:cNvSpPr txBox="1"/>
          <p:nvPr>
            <p:custDataLst>
              <p:tags r:id="rId16"/>
            </p:custDataLst>
          </p:nvPr>
        </p:nvSpPr>
        <p:spPr>
          <a:xfrm>
            <a:off x="6151205" y="4520757"/>
            <a:ext cx="1420325" cy="439508"/>
          </a:xfrm>
          <a:prstGeom prst="rect">
            <a:avLst/>
          </a:prstGeom>
          <a:noFill/>
        </p:spPr>
        <p:txBody>
          <a:bodyPr wrap="square" lIns="0" tIns="0" rIns="0" bIns="0" rtlCol="0">
            <a:noAutofit/>
          </a:bodyPr>
          <a:lstStyle/>
          <a:p>
            <a:pPr algn="ctr"/>
            <a:r>
              <a:rPr lang="de-DE" sz="3000" b="1" dirty="0">
                <a:latin typeface="Aptos" panose="020B0004020202020204" pitchFamily="34" charset="0"/>
              </a:rPr>
              <a:t>&gt; 10.000</a:t>
            </a:r>
          </a:p>
          <a:p>
            <a:pPr marL="0" marR="0" lvl="0" indent="0" algn="ctr" defTabSz="914400" rtl="0" eaLnBrk="1" fontAlgn="auto" latinLnBrk="0" hangingPunct="1">
              <a:buClrTx/>
              <a:buSzTx/>
              <a:buFontTx/>
              <a:buNone/>
              <a:tabLst/>
              <a:defRPr/>
            </a:pPr>
            <a:r>
              <a:rPr kumimoji="0" lang="de-DE" sz="1200" b="0" i="0" u="none" strike="noStrike" kern="1200" cap="none" spc="0" normalizeH="0" baseline="0" noProof="0" dirty="0">
                <a:ln>
                  <a:noFill/>
                </a:ln>
                <a:solidFill>
                  <a:prstClr val="black"/>
                </a:solidFill>
                <a:effectLst/>
                <a:uLnTx/>
                <a:uFillTx/>
                <a:ea typeface="+mn-ea"/>
                <a:cs typeface="+mn-cs"/>
              </a:rPr>
              <a:t>Mitarbeitende</a:t>
            </a:r>
          </a:p>
        </p:txBody>
      </p:sp>
      <p:sp>
        <p:nvSpPr>
          <p:cNvPr id="24" name="Textfeld 23">
            <a:extLst>
              <a:ext uri="{FF2B5EF4-FFF2-40B4-BE49-F238E27FC236}">
                <a16:creationId xmlns:a16="http://schemas.microsoft.com/office/drawing/2014/main" id="{46D87C95-2206-C3FA-23CF-C76C67682BF4}"/>
              </a:ext>
            </a:extLst>
          </p:cNvPr>
          <p:cNvSpPr txBox="1"/>
          <p:nvPr>
            <p:custDataLst>
              <p:tags r:id="rId17"/>
            </p:custDataLst>
          </p:nvPr>
        </p:nvSpPr>
        <p:spPr>
          <a:xfrm>
            <a:off x="7969179" y="5248885"/>
            <a:ext cx="1624327" cy="246528"/>
          </a:xfrm>
          <a:prstGeom prst="rect">
            <a:avLst/>
          </a:prstGeom>
          <a:noFill/>
        </p:spPr>
        <p:txBody>
          <a:bodyPr wrap="square" lIns="0" tIns="0" rIns="0" bIns="0" rtlCol="0">
            <a:noAutofit/>
          </a:bodyPr>
          <a:lstStyle/>
          <a:p>
            <a:pPr algn="ctr">
              <a:lnSpc>
                <a:spcPts val="1600"/>
              </a:lnSpc>
            </a:pPr>
            <a:r>
              <a:rPr lang="de-DE" sz="1400" b="1">
                <a:latin typeface="Aptos" panose="020B0004020202020204" pitchFamily="34" charset="0"/>
              </a:rPr>
              <a:t>Automotive &amp;</a:t>
            </a:r>
            <a:br>
              <a:rPr lang="de-DE" sz="1400" b="1">
                <a:latin typeface="Aptos" panose="020B0004020202020204" pitchFamily="34" charset="0"/>
              </a:rPr>
            </a:br>
            <a:r>
              <a:rPr lang="de-DE" sz="1400" b="1">
                <a:latin typeface="Aptos" panose="020B0004020202020204" pitchFamily="34" charset="0"/>
              </a:rPr>
              <a:t>Manufacturing</a:t>
            </a:r>
          </a:p>
        </p:txBody>
      </p:sp>
      <p:pic>
        <p:nvPicPr>
          <p:cNvPr id="25" name="Grafik 24">
            <a:extLst>
              <a:ext uri="{FF2B5EF4-FFF2-40B4-BE49-F238E27FC236}">
                <a16:creationId xmlns:a16="http://schemas.microsoft.com/office/drawing/2014/main" id="{F1041FD1-D870-DC59-17C6-9659DBC87079}"/>
              </a:ext>
            </a:extLst>
          </p:cNvPr>
          <p:cNvPicPr>
            <a:picLocks noChangeAspect="1"/>
          </p:cNvPicPr>
          <p:nvPr/>
        </p:nvPicPr>
        <p:blipFill>
          <a:blip r:embed="rId25"/>
          <a:stretch>
            <a:fillRect/>
          </a:stretch>
        </p:blipFill>
        <p:spPr>
          <a:xfrm>
            <a:off x="6558338" y="4068058"/>
            <a:ext cx="606059" cy="413222"/>
          </a:xfrm>
          <a:prstGeom prst="rect">
            <a:avLst/>
          </a:prstGeom>
        </p:spPr>
      </p:pic>
      <p:pic>
        <p:nvPicPr>
          <p:cNvPr id="26" name="Grafik 25">
            <a:extLst>
              <a:ext uri="{FF2B5EF4-FFF2-40B4-BE49-F238E27FC236}">
                <a16:creationId xmlns:a16="http://schemas.microsoft.com/office/drawing/2014/main" id="{69B9A8D4-EC41-2FCC-959A-E64958EE2CD5}"/>
              </a:ext>
            </a:extLst>
          </p:cNvPr>
          <p:cNvPicPr>
            <a:picLocks noChangeAspect="1"/>
          </p:cNvPicPr>
          <p:nvPr/>
        </p:nvPicPr>
        <p:blipFill>
          <a:blip r:embed="rId26"/>
          <a:stretch>
            <a:fillRect/>
          </a:stretch>
        </p:blipFill>
        <p:spPr>
          <a:xfrm>
            <a:off x="5094255" y="4087957"/>
            <a:ext cx="398363" cy="398365"/>
          </a:xfrm>
          <a:prstGeom prst="rect">
            <a:avLst/>
          </a:prstGeom>
        </p:spPr>
      </p:pic>
      <p:sp>
        <p:nvSpPr>
          <p:cNvPr id="27" name="Textfeld 26">
            <a:extLst>
              <a:ext uri="{FF2B5EF4-FFF2-40B4-BE49-F238E27FC236}">
                <a16:creationId xmlns:a16="http://schemas.microsoft.com/office/drawing/2014/main" id="{2B827170-76AD-7BC7-D7BA-E9A321958CAF}"/>
              </a:ext>
            </a:extLst>
          </p:cNvPr>
          <p:cNvSpPr txBox="1"/>
          <p:nvPr>
            <p:custDataLst>
              <p:tags r:id="rId18"/>
            </p:custDataLst>
          </p:nvPr>
        </p:nvSpPr>
        <p:spPr>
          <a:xfrm>
            <a:off x="2837544" y="4248319"/>
            <a:ext cx="903514" cy="313622"/>
          </a:xfrm>
          <a:prstGeom prst="rect">
            <a:avLst/>
          </a:prstGeom>
          <a:noFill/>
        </p:spPr>
        <p:txBody>
          <a:bodyPr wrap="square" lIns="0" tIns="0" rIns="0" bIns="0" rtlCol="0">
            <a:noAutofit/>
          </a:bodyPr>
          <a:lstStyle/>
          <a:p>
            <a:pPr algn="ctr"/>
            <a:r>
              <a:rPr lang="de-DE" b="1" dirty="0">
                <a:latin typeface="Aptos" panose="020B0004020202020204" pitchFamily="34" charset="0"/>
              </a:rPr>
              <a:t>11.9 %</a:t>
            </a:r>
          </a:p>
        </p:txBody>
      </p:sp>
    </p:spTree>
    <p:extLst>
      <p:ext uri="{BB962C8B-B14F-4D97-AF65-F5344CB8AC3E}">
        <p14:creationId xmlns:p14="http://schemas.microsoft.com/office/powerpoint/2010/main" val="3774848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hteck 17">
            <a:extLst>
              <a:ext uri="{FF2B5EF4-FFF2-40B4-BE49-F238E27FC236}">
                <a16:creationId xmlns:a16="http://schemas.microsoft.com/office/drawing/2014/main" id="{91B7807F-4CCF-5042-0914-6695C36BCC11}"/>
              </a:ext>
            </a:extLst>
          </p:cNvPr>
          <p:cNvSpPr/>
          <p:nvPr>
            <p:custDataLst>
              <p:tags r:id="rId1"/>
            </p:custDataLst>
          </p:nvPr>
        </p:nvSpPr>
        <p:spPr>
          <a:xfrm>
            <a:off x="2579914" y="1786015"/>
            <a:ext cx="9277124" cy="25211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sp>
        <p:nvSpPr>
          <p:cNvPr id="19" name="Rechteck 18">
            <a:extLst>
              <a:ext uri="{FF2B5EF4-FFF2-40B4-BE49-F238E27FC236}">
                <a16:creationId xmlns:a16="http://schemas.microsoft.com/office/drawing/2014/main" id="{D607D7A8-03E5-AA9A-2B19-1BA4F134EA1F}"/>
              </a:ext>
            </a:extLst>
          </p:cNvPr>
          <p:cNvSpPr/>
          <p:nvPr/>
        </p:nvSpPr>
        <p:spPr>
          <a:xfrm>
            <a:off x="2579914" y="4438817"/>
            <a:ext cx="9277124" cy="16629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06" imgH="306" progId="TCLayout.ActiveDocument.1">
                  <p:embed/>
                </p:oleObj>
              </mc:Choice>
              <mc:Fallback>
                <p:oleObj name="think-cell Folie" r:id="rId9"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7" name="Textplatzhalter 16">
            <a:extLst>
              <a:ext uri="{FF2B5EF4-FFF2-40B4-BE49-F238E27FC236}">
                <a16:creationId xmlns:a16="http://schemas.microsoft.com/office/drawing/2014/main" id="{DDB5F42F-D19A-6E64-7601-4864E8AA159C}"/>
              </a:ext>
            </a:extLst>
          </p:cNvPr>
          <p:cNvSpPr>
            <a:spLocks noGrp="1"/>
          </p:cNvSpPr>
          <p:nvPr>
            <p:ph type="body" sz="quarter" idx="12"/>
          </p:nvPr>
        </p:nvSpPr>
        <p:spPr/>
        <p:txBody>
          <a:bodyPr/>
          <a:lstStyle/>
          <a:p>
            <a:r>
              <a:rPr lang="de-DE"/>
              <a:t>Die msg-Gruppe im Überblick</a:t>
            </a:r>
          </a:p>
        </p:txBody>
      </p:sp>
      <p:sp>
        <p:nvSpPr>
          <p:cNvPr id="16" name="Titel 15">
            <a:extLst>
              <a:ext uri="{FF2B5EF4-FFF2-40B4-BE49-F238E27FC236}">
                <a16:creationId xmlns:a16="http://schemas.microsoft.com/office/drawing/2014/main" id="{643E6334-3E88-05EC-8BD3-7B652C43C6FA}"/>
              </a:ext>
            </a:extLst>
          </p:cNvPr>
          <p:cNvSpPr>
            <a:spLocks noGrp="1"/>
          </p:cNvSpPr>
          <p:nvPr>
            <p:ph type="title"/>
          </p:nvPr>
        </p:nvSpPr>
        <p:spPr>
          <a:xfrm>
            <a:off x="623888" y="620713"/>
            <a:ext cx="10358960" cy="738664"/>
          </a:xfrm>
        </p:spPr>
        <p:txBody>
          <a:bodyPr/>
          <a:lstStyle/>
          <a:p>
            <a:r>
              <a:rPr lang="de-DE" dirty="0"/>
              <a:t>Mit innovativen Geschäftsmodellen vom Startup zum </a:t>
            </a:r>
            <a:r>
              <a:rPr lang="de-DE" b="1" dirty="0"/>
              <a:t>größten unabhängigen und eigentümergeführten Beratungs- und IT-Unternehmen in Europa</a:t>
            </a:r>
          </a:p>
        </p:txBody>
      </p:sp>
      <p:sp>
        <p:nvSpPr>
          <p:cNvPr id="2" name="Fußzeilenplatzhalter 1">
            <a:extLst>
              <a:ext uri="{FF2B5EF4-FFF2-40B4-BE49-F238E27FC236}">
                <a16:creationId xmlns:a16="http://schemas.microsoft.com/office/drawing/2014/main" id="{1FA21B58-EB9E-43B8-040A-7584F1E64E9B}"/>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13</a:t>
            </a:fld>
            <a:endParaRPr lang="de-DE"/>
          </a:p>
        </p:txBody>
      </p:sp>
      <p:sp>
        <p:nvSpPr>
          <p:cNvPr id="10" name="Textplatzhalter 14">
            <a:extLst>
              <a:ext uri="{FF2B5EF4-FFF2-40B4-BE49-F238E27FC236}">
                <a16:creationId xmlns:a16="http://schemas.microsoft.com/office/drawing/2014/main" id="{D518C12C-6C17-458E-2003-2CAD959FBDF8}"/>
              </a:ext>
            </a:extLst>
          </p:cNvPr>
          <p:cNvSpPr txBox="1">
            <a:spLocks/>
          </p:cNvSpPr>
          <p:nvPr>
            <p:custDataLst>
              <p:tags r:id="rId3"/>
            </p:custDataLst>
          </p:nvPr>
        </p:nvSpPr>
        <p:spPr>
          <a:xfrm>
            <a:off x="630017" y="2227705"/>
            <a:ext cx="1339587" cy="49141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200" dirty="0">
                <a:cs typeface="Calibri"/>
              </a:rPr>
              <a:t>in Mio./Mrd. €</a:t>
            </a:r>
          </a:p>
          <a:p>
            <a:pPr>
              <a:lnSpc>
                <a:spcPts val="1960"/>
              </a:lnSpc>
            </a:pPr>
            <a:endParaRPr lang="de-DE" sz="1200" dirty="0">
              <a:cs typeface="Calibri"/>
            </a:endParaRPr>
          </a:p>
        </p:txBody>
      </p:sp>
      <p:sp>
        <p:nvSpPr>
          <p:cNvPr id="11" name="Textplatzhalter 14">
            <a:extLst>
              <a:ext uri="{FF2B5EF4-FFF2-40B4-BE49-F238E27FC236}">
                <a16:creationId xmlns:a16="http://schemas.microsoft.com/office/drawing/2014/main" id="{7E512E57-F81E-935F-6F72-A185FC8F8873}"/>
              </a:ext>
            </a:extLst>
          </p:cNvPr>
          <p:cNvSpPr txBox="1">
            <a:spLocks/>
          </p:cNvSpPr>
          <p:nvPr>
            <p:custDataLst>
              <p:tags r:id="rId4"/>
            </p:custDataLst>
          </p:nvPr>
        </p:nvSpPr>
        <p:spPr>
          <a:xfrm>
            <a:off x="630017" y="1781685"/>
            <a:ext cx="2419158"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760"/>
              </a:lnSpc>
            </a:pPr>
            <a:r>
              <a:rPr lang="de-DE" sz="1600" b="1" dirty="0">
                <a:cs typeface="Calibri"/>
              </a:rPr>
              <a:t>Entwicklung </a:t>
            </a:r>
          </a:p>
          <a:p>
            <a:pPr>
              <a:lnSpc>
                <a:spcPts val="1760"/>
              </a:lnSpc>
            </a:pPr>
            <a:r>
              <a:rPr lang="de-DE" sz="1600" b="1" dirty="0">
                <a:cs typeface="Calibri"/>
              </a:rPr>
              <a:t>Umsatz</a:t>
            </a:r>
            <a:endParaRPr lang="de-DE" b="1" dirty="0"/>
          </a:p>
        </p:txBody>
      </p:sp>
      <p:sp>
        <p:nvSpPr>
          <p:cNvPr id="13" name="Textplatzhalter 14">
            <a:extLst>
              <a:ext uri="{FF2B5EF4-FFF2-40B4-BE49-F238E27FC236}">
                <a16:creationId xmlns:a16="http://schemas.microsoft.com/office/drawing/2014/main" id="{506303FD-1F96-DA78-5050-00628B23577C}"/>
              </a:ext>
            </a:extLst>
          </p:cNvPr>
          <p:cNvSpPr txBox="1">
            <a:spLocks/>
          </p:cNvSpPr>
          <p:nvPr/>
        </p:nvSpPr>
        <p:spPr>
          <a:xfrm>
            <a:off x="630017" y="4394206"/>
            <a:ext cx="1518190"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760"/>
              </a:lnSpc>
            </a:pPr>
            <a:r>
              <a:rPr lang="de-DE" sz="1600" b="1">
                <a:cs typeface="Calibri"/>
              </a:rPr>
              <a:t>Entwicklung </a:t>
            </a:r>
          </a:p>
          <a:p>
            <a:pPr>
              <a:lnSpc>
                <a:spcPts val="1760"/>
              </a:lnSpc>
            </a:pPr>
            <a:r>
              <a:rPr lang="de-DE" sz="1600" b="1">
                <a:cs typeface="Calibri"/>
              </a:rPr>
              <a:t>Mitarbeitende</a:t>
            </a:r>
          </a:p>
        </p:txBody>
      </p:sp>
      <p:pic>
        <p:nvPicPr>
          <p:cNvPr id="14" name="Grafik 13">
            <a:extLst>
              <a:ext uri="{FF2B5EF4-FFF2-40B4-BE49-F238E27FC236}">
                <a16:creationId xmlns:a16="http://schemas.microsoft.com/office/drawing/2014/main" id="{9A074EED-3D9B-B725-D5F9-37FA26BCC4AE}"/>
              </a:ext>
            </a:extLst>
          </p:cNvPr>
          <p:cNvPicPr>
            <a:picLocks noChangeAspect="1"/>
          </p:cNvPicPr>
          <p:nvPr/>
        </p:nvPicPr>
        <p:blipFill>
          <a:blip>
            <a:extLst>
              <a:ext uri="{96DAC541-7B7A-43D3-8B79-37D633B846F1}">
                <asvg:svgBlip xmlns:asvg="http://schemas.microsoft.com/office/drawing/2016/SVG/main" r:embed="rId11"/>
              </a:ext>
            </a:extLst>
          </a:blip>
          <a:srcRect t="6649" b="41731"/>
          <a:stretch>
            <a:fillRect/>
          </a:stretch>
        </p:blipFill>
        <p:spPr>
          <a:xfrm>
            <a:off x="2739743" y="1933839"/>
            <a:ext cx="8822240" cy="2544324"/>
          </a:xfrm>
          <a:prstGeom prst="rect">
            <a:avLst/>
          </a:prstGeom>
        </p:spPr>
      </p:pic>
      <p:sp>
        <p:nvSpPr>
          <p:cNvPr id="8" name="Textfeld 7">
            <a:extLst>
              <a:ext uri="{FF2B5EF4-FFF2-40B4-BE49-F238E27FC236}">
                <a16:creationId xmlns:a16="http://schemas.microsoft.com/office/drawing/2014/main" id="{E945234F-7BEB-063A-E62F-CC04A68E9126}"/>
              </a:ext>
            </a:extLst>
          </p:cNvPr>
          <p:cNvSpPr txBox="1"/>
          <p:nvPr>
            <p:custDataLst>
              <p:tags r:id="rId5"/>
            </p:custDataLst>
          </p:nvPr>
        </p:nvSpPr>
        <p:spPr>
          <a:xfrm>
            <a:off x="2852001" y="3408898"/>
            <a:ext cx="815058" cy="323743"/>
          </a:xfrm>
          <a:prstGeom prst="rect">
            <a:avLst/>
          </a:prstGeom>
          <a:noFill/>
        </p:spPr>
        <p:txBody>
          <a:bodyPr wrap="square">
            <a:spAutoFit/>
          </a:bodyPr>
          <a:lstStyle/>
          <a:p>
            <a:pPr>
              <a:lnSpc>
                <a:spcPts val="1960"/>
              </a:lnSpc>
            </a:pPr>
            <a:r>
              <a:rPr lang="de-DE" sz="1050" b="1">
                <a:blipFill dpi="0" rotWithShape="1">
                  <a:blip r:embed="rId12">
                    <a:extLst>
                      <a:ext uri="{28A0092B-C50C-407E-A947-70E740481C1C}">
                        <a14:useLocalDpi xmlns:a14="http://schemas.microsoft.com/office/drawing/2010/main" val="0"/>
                      </a:ext>
                    </a:extLst>
                  </a:blip>
                  <a:srcRect/>
                  <a:stretch>
                    <a:fillRect/>
                  </a:stretch>
                </a:blipFill>
                <a:latin typeface="+mj-lt"/>
                <a:cs typeface="Calibri"/>
              </a:rPr>
              <a:t>Mio. €</a:t>
            </a:r>
          </a:p>
        </p:txBody>
      </p:sp>
      <p:sp>
        <p:nvSpPr>
          <p:cNvPr id="12" name="Textfeld 11">
            <a:extLst>
              <a:ext uri="{FF2B5EF4-FFF2-40B4-BE49-F238E27FC236}">
                <a16:creationId xmlns:a16="http://schemas.microsoft.com/office/drawing/2014/main" id="{2A30509C-D0EF-E528-00BA-31E034F6C24D}"/>
              </a:ext>
            </a:extLst>
          </p:cNvPr>
          <p:cNvSpPr txBox="1"/>
          <p:nvPr>
            <p:custDataLst>
              <p:tags r:id="rId6"/>
            </p:custDataLst>
          </p:nvPr>
        </p:nvSpPr>
        <p:spPr>
          <a:xfrm>
            <a:off x="8267638" y="2178545"/>
            <a:ext cx="815058" cy="323743"/>
          </a:xfrm>
          <a:prstGeom prst="rect">
            <a:avLst/>
          </a:prstGeom>
          <a:noFill/>
        </p:spPr>
        <p:txBody>
          <a:bodyPr wrap="square">
            <a:spAutoFit/>
          </a:bodyPr>
          <a:lstStyle>
            <a:defPPr>
              <a:defRPr lang="de-DE"/>
            </a:defPPr>
            <a:lvl1pPr>
              <a:lnSpc>
                <a:spcPts val="1960"/>
              </a:lnSpc>
              <a:defRPr sz="1000" b="1">
                <a:blipFill dpi="0" rotWithShape="1">
                  <a:blip r:embed="rId13">
                    <a:extLst>
                      <a:ext uri="{28A0092B-C50C-407E-A947-70E740481C1C}">
                        <a14:useLocalDpi xmlns:a14="http://schemas.microsoft.com/office/drawing/2010/main" val="0"/>
                      </a:ext>
                    </a:extLst>
                  </a:blip>
                  <a:srcRect/>
                  <a:stretch>
                    <a:fillRect/>
                  </a:stretch>
                </a:blipFill>
                <a:latin typeface="+mj-lt"/>
                <a:cs typeface="Calibri"/>
              </a:defRPr>
            </a:lvl1pPr>
          </a:lstStyle>
          <a:p>
            <a:r>
              <a:rPr lang="de-DE" sz="1050" dirty="0">
                <a:blipFill dpi="0" rotWithShape="1">
                  <a:blip r:embed="rId12">
                    <a:extLst>
                      <a:ext uri="{28A0092B-C50C-407E-A947-70E740481C1C}">
                        <a14:useLocalDpi xmlns:a14="http://schemas.microsoft.com/office/drawing/2010/main" val="0"/>
                      </a:ext>
                    </a:extLst>
                  </a:blip>
                  <a:srcRect/>
                  <a:stretch>
                    <a:fillRect/>
                  </a:stretch>
                </a:blipFill>
              </a:rPr>
              <a:t>Mrd. €</a:t>
            </a:r>
          </a:p>
        </p:txBody>
      </p:sp>
      <p:pic>
        <p:nvPicPr>
          <p:cNvPr id="15" name="Grafik 14">
            <a:extLst>
              <a:ext uri="{FF2B5EF4-FFF2-40B4-BE49-F238E27FC236}">
                <a16:creationId xmlns:a16="http://schemas.microsoft.com/office/drawing/2014/main" id="{387FA00D-5B8B-458C-5034-AE59AF9493D2}"/>
              </a:ext>
            </a:extLst>
          </p:cNvPr>
          <p:cNvPicPr>
            <a:picLocks noChangeAspect="1"/>
          </p:cNvPicPr>
          <p:nvPr/>
        </p:nvPicPr>
        <p:blipFill>
          <a:blip>
            <a:extLst>
              <a:ext uri="{96DAC541-7B7A-43D3-8B79-37D633B846F1}">
                <asvg:svgBlip xmlns:asvg="http://schemas.microsoft.com/office/drawing/2016/SVG/main" r:embed="rId11"/>
              </a:ext>
            </a:extLst>
          </a:blip>
          <a:srcRect t="59004" b="3293"/>
          <a:stretch>
            <a:fillRect/>
          </a:stretch>
        </p:blipFill>
        <p:spPr>
          <a:xfrm>
            <a:off x="2739743" y="4379961"/>
            <a:ext cx="8822240" cy="1858331"/>
          </a:xfrm>
          <a:prstGeom prst="rect">
            <a:avLst/>
          </a:prstGeom>
        </p:spPr>
      </p:pic>
    </p:spTree>
    <p:extLst>
      <p:ext uri="{BB962C8B-B14F-4D97-AF65-F5344CB8AC3E}">
        <p14:creationId xmlns:p14="http://schemas.microsoft.com/office/powerpoint/2010/main" val="1491919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A0E9AD6C-A590-47DD-CA91-AE11C642052A}"/>
              </a:ext>
            </a:extLst>
          </p:cNvPr>
          <p:cNvSpPr>
            <a:spLocks noGrp="1"/>
          </p:cNvSpPr>
          <p:nvPr>
            <p:ph type="body" sz="quarter" idx="12"/>
          </p:nvPr>
        </p:nvSpPr>
        <p:spPr/>
        <p:txBody>
          <a:bodyPr/>
          <a:lstStyle/>
          <a:p>
            <a:r>
              <a:rPr lang="de-DE"/>
              <a:t>Die msg-Gruppe im Überblick</a:t>
            </a:r>
          </a:p>
        </p:txBody>
      </p:sp>
      <p:sp>
        <p:nvSpPr>
          <p:cNvPr id="2" name="Titel 1">
            <a:extLst>
              <a:ext uri="{FF2B5EF4-FFF2-40B4-BE49-F238E27FC236}">
                <a16:creationId xmlns:a16="http://schemas.microsoft.com/office/drawing/2014/main" id="{63941C0B-FF3E-A64D-1CA7-3593AD95646E}"/>
              </a:ext>
            </a:extLst>
          </p:cNvPr>
          <p:cNvSpPr>
            <a:spLocks noGrp="1"/>
          </p:cNvSpPr>
          <p:nvPr>
            <p:ph type="title"/>
          </p:nvPr>
        </p:nvSpPr>
        <p:spPr/>
        <p:txBody>
          <a:bodyPr/>
          <a:lstStyle/>
          <a:p>
            <a:r>
              <a:rPr lang="de-DE" dirty="0"/>
              <a:t>Unsere Kunden profitieren von unserer </a:t>
            </a:r>
            <a:r>
              <a:rPr lang="de-DE" b="1" dirty="0"/>
              <a:t>weltweiten Präsenz </a:t>
            </a:r>
            <a:br>
              <a:rPr lang="de-DE" dirty="0"/>
            </a:br>
            <a:endParaRPr lang="de-DE" dirty="0"/>
          </a:p>
        </p:txBody>
      </p:sp>
      <p:sp>
        <p:nvSpPr>
          <p:cNvPr id="5" name="Fußzeilenplatzhalter 1">
            <a:extLst>
              <a:ext uri="{FF2B5EF4-FFF2-40B4-BE49-F238E27FC236}">
                <a16:creationId xmlns:a16="http://schemas.microsoft.com/office/drawing/2014/main" id="{5609DEEF-A7A7-FA98-6D97-ED12B7ECFEAF}"/>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14</a:t>
            </a:fld>
            <a:endParaRPr lang="de-DE"/>
          </a:p>
        </p:txBody>
      </p:sp>
      <p:sp>
        <p:nvSpPr>
          <p:cNvPr id="263" name="Textplatzhalter 14">
            <a:extLst>
              <a:ext uri="{FF2B5EF4-FFF2-40B4-BE49-F238E27FC236}">
                <a16:creationId xmlns:a16="http://schemas.microsoft.com/office/drawing/2014/main" id="{2FE46EB6-B1A8-3799-A046-396C4286F136}"/>
              </a:ext>
            </a:extLst>
          </p:cNvPr>
          <p:cNvSpPr txBox="1">
            <a:spLocks/>
          </p:cNvSpPr>
          <p:nvPr/>
        </p:nvSpPr>
        <p:spPr>
          <a:xfrm>
            <a:off x="8806291" y="2661554"/>
            <a:ext cx="2419158" cy="25071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a:cs typeface="Calibri"/>
              </a:rPr>
              <a:t>Länder </a:t>
            </a:r>
          </a:p>
        </p:txBody>
      </p:sp>
      <p:sp>
        <p:nvSpPr>
          <p:cNvPr id="264" name="Textplatzhalter 14">
            <a:extLst>
              <a:ext uri="{FF2B5EF4-FFF2-40B4-BE49-F238E27FC236}">
                <a16:creationId xmlns:a16="http://schemas.microsoft.com/office/drawing/2014/main" id="{BB5DE150-027D-B3A6-E628-164BEE2D5699}"/>
              </a:ext>
            </a:extLst>
          </p:cNvPr>
          <p:cNvSpPr txBox="1">
            <a:spLocks/>
          </p:cNvSpPr>
          <p:nvPr/>
        </p:nvSpPr>
        <p:spPr>
          <a:xfrm>
            <a:off x="8806291" y="3098158"/>
            <a:ext cx="2612168" cy="3374800"/>
          </a:xfrm>
          <a:prstGeom prst="rect">
            <a:avLst/>
          </a:prstGeom>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a:ea typeface="+mn-lt"/>
                <a:cs typeface="+mn-lt"/>
              </a:rPr>
              <a:t>Deutschland | Bulgarien | </a:t>
            </a:r>
          </a:p>
          <a:p>
            <a:r>
              <a:rPr lang="de-DE" sz="1400">
                <a:ea typeface="+mn-lt"/>
                <a:cs typeface="+mn-lt"/>
              </a:rPr>
              <a:t>Frankreich | Italien | Kroatien | </a:t>
            </a:r>
          </a:p>
          <a:p>
            <a:r>
              <a:rPr lang="de-DE" sz="1400">
                <a:ea typeface="+mn-lt"/>
                <a:cs typeface="+mn-lt"/>
              </a:rPr>
              <a:t>Malta | Niederlande | Österreich | Polen | Portugal | Rumänien | </a:t>
            </a:r>
          </a:p>
          <a:p>
            <a:r>
              <a:rPr lang="de-DE" sz="1400">
                <a:ea typeface="+mn-lt"/>
                <a:cs typeface="+mn-lt"/>
              </a:rPr>
              <a:t>Schweiz | Serbien | Slowakei | Slowenien | Spanien | </a:t>
            </a:r>
          </a:p>
          <a:p>
            <a:r>
              <a:rPr lang="de-DE" sz="1400">
                <a:ea typeface="+mn-lt"/>
                <a:cs typeface="+mn-lt"/>
              </a:rPr>
              <a:t>Tschechische Republik | Ungarn | </a:t>
            </a:r>
          </a:p>
          <a:p>
            <a:r>
              <a:rPr lang="de-DE" sz="1400">
                <a:ea typeface="+mn-lt"/>
                <a:cs typeface="+mn-lt"/>
              </a:rPr>
              <a:t>Vereinigtes Königreich | Ukraine | Australien | Brasilien | China | </a:t>
            </a:r>
            <a:br>
              <a:rPr lang="de-DE" sz="1400">
                <a:ea typeface="+mn-lt"/>
                <a:cs typeface="+mn-lt"/>
              </a:rPr>
            </a:br>
            <a:r>
              <a:rPr lang="de-DE" sz="1400">
                <a:ea typeface="+mn-lt"/>
                <a:cs typeface="+mn-lt"/>
              </a:rPr>
              <a:t>Indien | Japan | Kanada | </a:t>
            </a:r>
            <a:br>
              <a:rPr lang="de-DE" sz="1400">
                <a:ea typeface="+mn-lt"/>
                <a:cs typeface="+mn-lt"/>
              </a:rPr>
            </a:br>
            <a:r>
              <a:rPr lang="de-DE" sz="1400">
                <a:ea typeface="+mn-lt"/>
                <a:cs typeface="+mn-lt"/>
              </a:rPr>
              <a:t>Kasachstan | Korea | Mexiko | </a:t>
            </a:r>
            <a:br>
              <a:rPr lang="de-DE" sz="1400">
                <a:ea typeface="+mn-lt"/>
                <a:cs typeface="+mn-lt"/>
              </a:rPr>
            </a:br>
            <a:r>
              <a:rPr lang="de-DE" sz="1400">
                <a:ea typeface="+mn-lt"/>
                <a:cs typeface="+mn-lt"/>
              </a:rPr>
              <a:t>Philippinen | Singapur | </a:t>
            </a:r>
            <a:br>
              <a:rPr lang="de-DE" sz="1400">
                <a:ea typeface="+mn-lt"/>
                <a:cs typeface="+mn-lt"/>
              </a:rPr>
            </a:br>
            <a:r>
              <a:rPr lang="de-DE" sz="1400">
                <a:ea typeface="+mn-lt"/>
                <a:cs typeface="+mn-lt"/>
              </a:rPr>
              <a:t>Südafrika | Usbekistan | USA</a:t>
            </a:r>
          </a:p>
        </p:txBody>
      </p:sp>
      <p:cxnSp>
        <p:nvCxnSpPr>
          <p:cNvPr id="4" name="Gerade Verbindung 268">
            <a:extLst>
              <a:ext uri="{FF2B5EF4-FFF2-40B4-BE49-F238E27FC236}">
                <a16:creationId xmlns:a16="http://schemas.microsoft.com/office/drawing/2014/main" id="{97A6E86B-D4B2-04FB-B7B9-2CD65C4FBCD6}"/>
              </a:ext>
            </a:extLst>
          </p:cNvPr>
          <p:cNvCxnSpPr>
            <a:cxnSpLocks/>
          </p:cNvCxnSpPr>
          <p:nvPr/>
        </p:nvCxnSpPr>
        <p:spPr>
          <a:xfrm>
            <a:off x="8496338" y="1362075"/>
            <a:ext cx="0" cy="492573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7" name="Grafik 6">
            <a:extLst>
              <a:ext uri="{FF2B5EF4-FFF2-40B4-BE49-F238E27FC236}">
                <a16:creationId xmlns:a16="http://schemas.microsoft.com/office/drawing/2014/main" id="{D100179F-D65A-4BE3-165F-A57C67B8B3AA}"/>
              </a:ext>
            </a:extLst>
          </p:cNvPr>
          <p:cNvPicPr>
            <a:picLocks noChangeAspect="1"/>
          </p:cNvPicPr>
          <p:nvPr/>
        </p:nvPicPr>
        <p:blipFill>
          <a:blip r:embed="rId6"/>
          <a:srcRect/>
          <a:stretch/>
        </p:blipFill>
        <p:spPr>
          <a:xfrm>
            <a:off x="659511" y="1798954"/>
            <a:ext cx="7771001" cy="4582383"/>
          </a:xfrm>
          <a:prstGeom prst="rect">
            <a:avLst/>
          </a:prstGeom>
        </p:spPr>
      </p:pic>
      <p:pic>
        <p:nvPicPr>
          <p:cNvPr id="10" name="Grafik 9" descr="Ein Bild, das Text, Screenshot, Schrift, Grafiken enthält.&#10;&#10;Automatisch generierte Beschreibung">
            <a:extLst>
              <a:ext uri="{FF2B5EF4-FFF2-40B4-BE49-F238E27FC236}">
                <a16:creationId xmlns:a16="http://schemas.microsoft.com/office/drawing/2014/main" id="{E5F71BE7-C56C-5FAD-44B1-ED180947AA06}"/>
              </a:ext>
            </a:extLst>
          </p:cNvPr>
          <p:cNvPicPr>
            <a:picLocks noChangeAspect="1"/>
          </p:cNvPicPr>
          <p:nvPr/>
        </p:nvPicPr>
        <p:blipFill>
          <a:blip r:embed="rId7"/>
          <a:srcRect t="88842" r="70005" b="3796"/>
          <a:stretch/>
        </p:blipFill>
        <p:spPr>
          <a:xfrm>
            <a:off x="8781711" y="2088901"/>
            <a:ext cx="708120" cy="479705"/>
          </a:xfrm>
          <a:prstGeom prst="rect">
            <a:avLst/>
          </a:prstGeom>
        </p:spPr>
      </p:pic>
    </p:spTree>
    <p:extLst>
      <p:ext uri="{BB962C8B-B14F-4D97-AF65-F5344CB8AC3E}">
        <p14:creationId xmlns:p14="http://schemas.microsoft.com/office/powerpoint/2010/main" val="267644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DDD517-0761-8AD3-AF91-C060A55CC2D8}"/>
            </a:ext>
          </a:extLst>
        </p:cNvPr>
        <p:cNvGrpSpPr/>
        <p:nvPr/>
      </p:nvGrpSpPr>
      <p:grpSpPr>
        <a:xfrm>
          <a:off x="0" y="0"/>
          <a:ext cx="0" cy="0"/>
          <a:chOff x="0" y="0"/>
          <a:chExt cx="0" cy="0"/>
        </a:xfrm>
      </p:grpSpPr>
      <p:sp>
        <p:nvSpPr>
          <p:cNvPr id="19" name="Textfeld 18">
            <a:extLst>
              <a:ext uri="{FF2B5EF4-FFF2-40B4-BE49-F238E27FC236}">
                <a16:creationId xmlns:a16="http://schemas.microsoft.com/office/drawing/2014/main" id="{E807EEB8-3317-3A0A-A9FD-FB827097C3F7}"/>
              </a:ext>
            </a:extLst>
          </p:cNvPr>
          <p:cNvSpPr txBox="1"/>
          <p:nvPr>
            <p:custDataLst>
              <p:tags r:id="rId1"/>
            </p:custDataLst>
          </p:nvPr>
        </p:nvSpPr>
        <p:spPr>
          <a:xfrm>
            <a:off x="8773245" y="4608277"/>
            <a:ext cx="828000" cy="274418"/>
          </a:xfrm>
          <a:prstGeom prst="rect">
            <a:avLst/>
          </a:prstGeom>
          <a:solidFill>
            <a:schemeClr val="bg1"/>
          </a:solidFill>
        </p:spPr>
        <p:txBody>
          <a:bodyPr wrap="none" lIns="0" tIns="0" rIns="0" bIns="0" rtlCol="0" anchor="ctr" anchorCtr="0">
            <a:noAutofit/>
          </a:bodyPr>
          <a:lstStyle/>
          <a:p>
            <a:r>
              <a:rPr lang="de-DE" sz="4600" b="1" dirty="0">
                <a:blipFill dpi="0" rotWithShape="1">
                  <a:blip r:embed="rId32">
                    <a:extLst>
                      <a:ext uri="{28A0092B-C50C-407E-A947-70E740481C1C}">
                        <a14:useLocalDpi xmlns:a14="http://schemas.microsoft.com/office/drawing/2010/main" val="0"/>
                      </a:ext>
                    </a:extLst>
                  </a:blip>
                  <a:srcRect/>
                  <a:stretch>
                    <a:fillRect/>
                  </a:stretch>
                </a:blipFill>
                <a:latin typeface="Carnac ExtraBold" panose="02000503000000020004" pitchFamily="50" charset="0"/>
              </a:rPr>
              <a:t>974 </a:t>
            </a:r>
          </a:p>
        </p:txBody>
      </p:sp>
      <p:pic>
        <p:nvPicPr>
          <p:cNvPr id="56" name="Grafik 55">
            <a:extLst>
              <a:ext uri="{FF2B5EF4-FFF2-40B4-BE49-F238E27FC236}">
                <a16:creationId xmlns:a16="http://schemas.microsoft.com/office/drawing/2014/main" id="{B39A5245-B071-2E32-A27D-C163C0CFE0C8}"/>
              </a:ext>
            </a:extLst>
          </p:cNvPr>
          <p:cNvPicPr>
            <a:picLocks noChangeAspect="1"/>
          </p:cNvPicPr>
          <p:nvPr/>
        </p:nvPicPr>
        <p:blipFill>
          <a:blip r:embed="rId33">
            <a:extLst>
              <a:ext uri="{BEBA8EAE-BF5A-486C-A8C5-ECC9F3942E4B}">
                <a14:imgProps xmlns:a14="http://schemas.microsoft.com/office/drawing/2010/main">
                  <a14:imgLayer r:embed="rId34">
                    <a14:imgEffect>
                      <a14:brightnessContrast bright="8000"/>
                    </a14:imgEffect>
                  </a14:imgLayer>
                </a14:imgProps>
              </a:ext>
            </a:extLst>
          </a:blip>
          <a:srcRect/>
          <a:stretch/>
        </p:blipFill>
        <p:spPr>
          <a:xfrm>
            <a:off x="2100572" y="975763"/>
            <a:ext cx="4334617" cy="5331632"/>
          </a:xfrm>
          <a:prstGeom prst="rect">
            <a:avLst/>
          </a:prstGeom>
        </p:spPr>
      </p:pic>
      <p:graphicFrame>
        <p:nvGraphicFramePr>
          <p:cNvPr id="9" name="think-cell data - do not delete" hidden="1">
            <a:extLst>
              <a:ext uri="{FF2B5EF4-FFF2-40B4-BE49-F238E27FC236}">
                <a16:creationId xmlns:a16="http://schemas.microsoft.com/office/drawing/2014/main" id="{F9F95B0E-4085-4CF2-B643-2AB8BBAE62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5" imgW="306" imgH="306" progId="TCLayout.ActiveDocument.1">
                  <p:embed/>
                </p:oleObj>
              </mc:Choice>
              <mc:Fallback>
                <p:oleObj name="think-cell Folie" r:id="rId35" imgW="306" imgH="306" progId="TCLayout.ActiveDocument.1">
                  <p:embed/>
                  <p:pic>
                    <p:nvPicPr>
                      <p:cNvPr id="9" name="think-cell data - do not delete" hidden="1">
                        <a:extLst>
                          <a:ext uri="{FF2B5EF4-FFF2-40B4-BE49-F238E27FC236}">
                            <a16:creationId xmlns:a16="http://schemas.microsoft.com/office/drawing/2014/main" id="{F9F95B0E-4085-4CF2-B643-2AB8BBAE62B9}"/>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72771EBE-1C7F-AE32-A1F0-EBAAEF9E588A}"/>
              </a:ext>
            </a:extLst>
          </p:cNvPr>
          <p:cNvSpPr>
            <a:spLocks noGrp="1"/>
          </p:cNvSpPr>
          <p:nvPr>
            <p:ph type="body" sz="quarter" idx="12"/>
          </p:nvPr>
        </p:nvSpPr>
        <p:spPr/>
        <p:txBody>
          <a:bodyPr/>
          <a:lstStyle/>
          <a:p>
            <a:r>
              <a:rPr lang="de-DE"/>
              <a:t>Die msg-Gruppe im Überblick</a:t>
            </a:r>
          </a:p>
        </p:txBody>
      </p:sp>
      <p:sp>
        <p:nvSpPr>
          <p:cNvPr id="2" name="Titel 1">
            <a:extLst>
              <a:ext uri="{FF2B5EF4-FFF2-40B4-BE49-F238E27FC236}">
                <a16:creationId xmlns:a16="http://schemas.microsoft.com/office/drawing/2014/main" id="{B6239560-308F-359B-6892-E3B3770B7003}"/>
              </a:ext>
            </a:extLst>
          </p:cNvPr>
          <p:cNvSpPr>
            <a:spLocks noGrp="1"/>
          </p:cNvSpPr>
          <p:nvPr>
            <p:ph type="title"/>
          </p:nvPr>
        </p:nvSpPr>
        <p:spPr/>
        <p:txBody>
          <a:bodyPr/>
          <a:lstStyle/>
          <a:p>
            <a:r>
              <a:rPr lang="de-DE" b="1" dirty="0"/>
              <a:t>Lokale Präsenz </a:t>
            </a:r>
            <a:r>
              <a:rPr lang="de-DE" dirty="0"/>
              <a:t>für unsere deutschen Kunden zeichnet uns aus</a:t>
            </a:r>
          </a:p>
        </p:txBody>
      </p:sp>
      <p:sp>
        <p:nvSpPr>
          <p:cNvPr id="25" name="Fußzeilenplatzhalter 1">
            <a:extLst>
              <a:ext uri="{FF2B5EF4-FFF2-40B4-BE49-F238E27FC236}">
                <a16:creationId xmlns:a16="http://schemas.microsoft.com/office/drawing/2014/main" id="{26E8B645-EF7A-FACD-C5CA-700A47519D1E}"/>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D5A92F25-5C06-431A-C868-A4B3B6DBAE90}"/>
              </a:ext>
            </a:extLst>
          </p:cNvPr>
          <p:cNvSpPr>
            <a:spLocks noGrp="1"/>
          </p:cNvSpPr>
          <p:nvPr>
            <p:ph type="sldNum" sz="quarter" idx="11"/>
          </p:nvPr>
        </p:nvSpPr>
        <p:spPr/>
        <p:txBody>
          <a:bodyPr anchor="b" anchorCtr="0"/>
          <a:lstStyle/>
          <a:p>
            <a:fld id="{B27B0579-4238-4E44-9A9E-134B676F827C}" type="slidenum">
              <a:rPr lang="de-DE" smtClean="0"/>
              <a:pPr/>
              <a:t>15</a:t>
            </a:fld>
            <a:endParaRPr lang="de-DE"/>
          </a:p>
        </p:txBody>
      </p:sp>
      <p:sp>
        <p:nvSpPr>
          <p:cNvPr id="218" name="Textplatzhalter 14">
            <a:extLst>
              <a:ext uri="{FF2B5EF4-FFF2-40B4-BE49-F238E27FC236}">
                <a16:creationId xmlns:a16="http://schemas.microsoft.com/office/drawing/2014/main" id="{D02E9231-D1FD-0797-28D2-5DAB16D7E488}"/>
              </a:ext>
            </a:extLst>
          </p:cNvPr>
          <p:cNvSpPr txBox="1">
            <a:spLocks/>
          </p:cNvSpPr>
          <p:nvPr>
            <p:custDataLst>
              <p:tags r:id="rId3"/>
            </p:custDataLst>
          </p:nvPr>
        </p:nvSpPr>
        <p:spPr>
          <a:xfrm>
            <a:off x="4144442" y="2021107"/>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mj-lt"/>
                <a:cs typeface="Calibri"/>
              </a:rPr>
              <a:t>Hamburg</a:t>
            </a:r>
          </a:p>
        </p:txBody>
      </p:sp>
      <p:sp>
        <p:nvSpPr>
          <p:cNvPr id="219" name="Textplatzhalter 14">
            <a:extLst>
              <a:ext uri="{FF2B5EF4-FFF2-40B4-BE49-F238E27FC236}">
                <a16:creationId xmlns:a16="http://schemas.microsoft.com/office/drawing/2014/main" id="{15752F0C-71FB-5107-FC47-8FAF10D17515}"/>
              </a:ext>
            </a:extLst>
          </p:cNvPr>
          <p:cNvSpPr txBox="1">
            <a:spLocks/>
          </p:cNvSpPr>
          <p:nvPr>
            <p:custDataLst>
              <p:tags r:id="rId4"/>
            </p:custDataLst>
          </p:nvPr>
        </p:nvSpPr>
        <p:spPr>
          <a:xfrm>
            <a:off x="5605698" y="2644753"/>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mj-lt"/>
                <a:cs typeface="Calibri"/>
              </a:rPr>
              <a:t>Berlin</a:t>
            </a:r>
          </a:p>
        </p:txBody>
      </p:sp>
      <p:sp>
        <p:nvSpPr>
          <p:cNvPr id="230" name="Textplatzhalter 14">
            <a:extLst>
              <a:ext uri="{FF2B5EF4-FFF2-40B4-BE49-F238E27FC236}">
                <a16:creationId xmlns:a16="http://schemas.microsoft.com/office/drawing/2014/main" id="{1E25BB78-E7A8-6B58-7CEC-B7E6F935D942}"/>
              </a:ext>
            </a:extLst>
          </p:cNvPr>
          <p:cNvSpPr txBox="1">
            <a:spLocks/>
          </p:cNvSpPr>
          <p:nvPr>
            <p:custDataLst>
              <p:tags r:id="rId5"/>
            </p:custDataLst>
          </p:nvPr>
        </p:nvSpPr>
        <p:spPr>
          <a:xfrm>
            <a:off x="4372733" y="2895725"/>
            <a:ext cx="1685768" cy="278268"/>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dirty="0">
                <a:latin typeface="+mj-lt"/>
                <a:cs typeface="Calibri"/>
              </a:rPr>
              <a:t>Braunschweig</a:t>
            </a:r>
          </a:p>
        </p:txBody>
      </p:sp>
      <p:sp>
        <p:nvSpPr>
          <p:cNvPr id="231" name="Textplatzhalter 14">
            <a:extLst>
              <a:ext uri="{FF2B5EF4-FFF2-40B4-BE49-F238E27FC236}">
                <a16:creationId xmlns:a16="http://schemas.microsoft.com/office/drawing/2014/main" id="{FD25EECC-8480-7835-90C7-E9B0BF4C9BDE}"/>
              </a:ext>
            </a:extLst>
          </p:cNvPr>
          <p:cNvSpPr txBox="1">
            <a:spLocks/>
          </p:cNvSpPr>
          <p:nvPr>
            <p:custDataLst>
              <p:tags r:id="rId6"/>
            </p:custDataLst>
          </p:nvPr>
        </p:nvSpPr>
        <p:spPr>
          <a:xfrm>
            <a:off x="2026101" y="3086312"/>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Münster</a:t>
            </a:r>
          </a:p>
        </p:txBody>
      </p:sp>
      <p:sp>
        <p:nvSpPr>
          <p:cNvPr id="232" name="Textplatzhalter 14">
            <a:extLst>
              <a:ext uri="{FF2B5EF4-FFF2-40B4-BE49-F238E27FC236}">
                <a16:creationId xmlns:a16="http://schemas.microsoft.com/office/drawing/2014/main" id="{46387EFB-81D1-ABB9-62B8-7891C2AC214F}"/>
              </a:ext>
            </a:extLst>
          </p:cNvPr>
          <p:cNvSpPr txBox="1">
            <a:spLocks/>
          </p:cNvSpPr>
          <p:nvPr>
            <p:custDataLst>
              <p:tags r:id="rId7"/>
            </p:custDataLst>
          </p:nvPr>
        </p:nvSpPr>
        <p:spPr>
          <a:xfrm>
            <a:off x="4799917" y="5609228"/>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mj-lt"/>
                <a:cs typeface="Calibri"/>
              </a:rPr>
              <a:t>Ismaning/München</a:t>
            </a:r>
          </a:p>
        </p:txBody>
      </p:sp>
      <p:sp>
        <p:nvSpPr>
          <p:cNvPr id="233" name="Textplatzhalter 14">
            <a:extLst>
              <a:ext uri="{FF2B5EF4-FFF2-40B4-BE49-F238E27FC236}">
                <a16:creationId xmlns:a16="http://schemas.microsoft.com/office/drawing/2014/main" id="{DB9BBD52-EF1D-6A04-22EA-A06A624D7FC8}"/>
              </a:ext>
            </a:extLst>
          </p:cNvPr>
          <p:cNvSpPr txBox="1">
            <a:spLocks/>
          </p:cNvSpPr>
          <p:nvPr>
            <p:custDataLst>
              <p:tags r:id="rId8"/>
            </p:custDataLst>
          </p:nvPr>
        </p:nvSpPr>
        <p:spPr>
          <a:xfrm>
            <a:off x="1865054" y="5562673"/>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St. Georgen</a:t>
            </a:r>
          </a:p>
        </p:txBody>
      </p:sp>
      <p:sp>
        <p:nvSpPr>
          <p:cNvPr id="234" name="Textplatzhalter 14">
            <a:extLst>
              <a:ext uri="{FF2B5EF4-FFF2-40B4-BE49-F238E27FC236}">
                <a16:creationId xmlns:a16="http://schemas.microsoft.com/office/drawing/2014/main" id="{34B3B9BD-3C9F-D36A-927F-FE52E7137389}"/>
              </a:ext>
            </a:extLst>
          </p:cNvPr>
          <p:cNvSpPr txBox="1">
            <a:spLocks/>
          </p:cNvSpPr>
          <p:nvPr>
            <p:custDataLst>
              <p:tags r:id="rId9"/>
            </p:custDataLst>
          </p:nvPr>
        </p:nvSpPr>
        <p:spPr>
          <a:xfrm>
            <a:off x="1879013" y="5031806"/>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latin typeface="+mj-lt"/>
                <a:cs typeface="Calibri"/>
              </a:rPr>
              <a:t>Karlsruhe</a:t>
            </a:r>
          </a:p>
        </p:txBody>
      </p:sp>
      <p:sp>
        <p:nvSpPr>
          <p:cNvPr id="235" name="Textplatzhalter 14">
            <a:extLst>
              <a:ext uri="{FF2B5EF4-FFF2-40B4-BE49-F238E27FC236}">
                <a16:creationId xmlns:a16="http://schemas.microsoft.com/office/drawing/2014/main" id="{1E5FA05A-5D4A-0BDC-6636-8172E65A1AC8}"/>
              </a:ext>
            </a:extLst>
          </p:cNvPr>
          <p:cNvSpPr txBox="1">
            <a:spLocks/>
          </p:cNvSpPr>
          <p:nvPr>
            <p:custDataLst>
              <p:tags r:id="rId10"/>
            </p:custDataLst>
          </p:nvPr>
        </p:nvSpPr>
        <p:spPr>
          <a:xfrm>
            <a:off x="3802626" y="5209851"/>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mj-lt"/>
                <a:cs typeface="Calibri"/>
              </a:rPr>
              <a:t>Stuttgart</a:t>
            </a:r>
          </a:p>
        </p:txBody>
      </p:sp>
      <p:sp>
        <p:nvSpPr>
          <p:cNvPr id="238" name="Textplatzhalter 14">
            <a:extLst>
              <a:ext uri="{FF2B5EF4-FFF2-40B4-BE49-F238E27FC236}">
                <a16:creationId xmlns:a16="http://schemas.microsoft.com/office/drawing/2014/main" id="{7C2937B9-B6B5-37DB-A364-5F83B979ACD7}"/>
              </a:ext>
            </a:extLst>
          </p:cNvPr>
          <p:cNvSpPr txBox="1">
            <a:spLocks/>
          </p:cNvSpPr>
          <p:nvPr>
            <p:custDataLst>
              <p:tags r:id="rId11"/>
            </p:custDataLst>
          </p:nvPr>
        </p:nvSpPr>
        <p:spPr>
          <a:xfrm>
            <a:off x="5629491" y="5298861"/>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mj-lt"/>
                <a:cs typeface="Calibri"/>
              </a:rPr>
              <a:t>Passau</a:t>
            </a:r>
          </a:p>
        </p:txBody>
      </p:sp>
      <p:sp>
        <p:nvSpPr>
          <p:cNvPr id="239" name="Textplatzhalter 14">
            <a:extLst>
              <a:ext uri="{FF2B5EF4-FFF2-40B4-BE49-F238E27FC236}">
                <a16:creationId xmlns:a16="http://schemas.microsoft.com/office/drawing/2014/main" id="{02C34ABE-5611-B124-17AB-69EBA87F8962}"/>
              </a:ext>
            </a:extLst>
          </p:cNvPr>
          <p:cNvSpPr txBox="1">
            <a:spLocks/>
          </p:cNvSpPr>
          <p:nvPr>
            <p:custDataLst>
              <p:tags r:id="rId12"/>
            </p:custDataLst>
          </p:nvPr>
        </p:nvSpPr>
        <p:spPr>
          <a:xfrm>
            <a:off x="3009009" y="4727821"/>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Nürnberg</a:t>
            </a:r>
          </a:p>
        </p:txBody>
      </p:sp>
      <p:sp>
        <p:nvSpPr>
          <p:cNvPr id="246" name="Textplatzhalter 14">
            <a:extLst>
              <a:ext uri="{FF2B5EF4-FFF2-40B4-BE49-F238E27FC236}">
                <a16:creationId xmlns:a16="http://schemas.microsoft.com/office/drawing/2014/main" id="{453AD758-A302-EE14-17C5-21C4A72A1073}"/>
              </a:ext>
            </a:extLst>
          </p:cNvPr>
          <p:cNvSpPr txBox="1">
            <a:spLocks/>
          </p:cNvSpPr>
          <p:nvPr>
            <p:custDataLst>
              <p:tags r:id="rId13"/>
            </p:custDataLst>
          </p:nvPr>
        </p:nvSpPr>
        <p:spPr>
          <a:xfrm>
            <a:off x="1984690" y="4327473"/>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Frankfurt/M.</a:t>
            </a:r>
          </a:p>
        </p:txBody>
      </p:sp>
      <p:sp>
        <p:nvSpPr>
          <p:cNvPr id="250" name="Textplatzhalter 14">
            <a:extLst>
              <a:ext uri="{FF2B5EF4-FFF2-40B4-BE49-F238E27FC236}">
                <a16:creationId xmlns:a16="http://schemas.microsoft.com/office/drawing/2014/main" id="{1351C956-9479-2416-C5C0-60637ADEA971}"/>
              </a:ext>
            </a:extLst>
          </p:cNvPr>
          <p:cNvSpPr txBox="1">
            <a:spLocks/>
          </p:cNvSpPr>
          <p:nvPr>
            <p:custDataLst>
              <p:tags r:id="rId14"/>
            </p:custDataLst>
          </p:nvPr>
        </p:nvSpPr>
        <p:spPr>
          <a:xfrm>
            <a:off x="3759724" y="3849762"/>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Chemnitz</a:t>
            </a:r>
          </a:p>
        </p:txBody>
      </p:sp>
      <p:sp>
        <p:nvSpPr>
          <p:cNvPr id="251" name="Textplatzhalter 14">
            <a:extLst>
              <a:ext uri="{FF2B5EF4-FFF2-40B4-BE49-F238E27FC236}">
                <a16:creationId xmlns:a16="http://schemas.microsoft.com/office/drawing/2014/main" id="{8FB9782F-854A-ED13-5A72-B81CEF9EF487}"/>
              </a:ext>
            </a:extLst>
          </p:cNvPr>
          <p:cNvSpPr txBox="1">
            <a:spLocks/>
          </p:cNvSpPr>
          <p:nvPr>
            <p:custDataLst>
              <p:tags r:id="rId15"/>
            </p:custDataLst>
          </p:nvPr>
        </p:nvSpPr>
        <p:spPr>
          <a:xfrm>
            <a:off x="1413547" y="2644753"/>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latin typeface="+mj-lt"/>
                <a:cs typeface="Calibri"/>
              </a:rPr>
              <a:t>Lingen (Ems) </a:t>
            </a:r>
          </a:p>
        </p:txBody>
      </p:sp>
      <p:sp>
        <p:nvSpPr>
          <p:cNvPr id="252" name="Textplatzhalter 14">
            <a:extLst>
              <a:ext uri="{FF2B5EF4-FFF2-40B4-BE49-F238E27FC236}">
                <a16:creationId xmlns:a16="http://schemas.microsoft.com/office/drawing/2014/main" id="{D5E0790B-776F-A533-1C72-933173B0A24F}"/>
              </a:ext>
            </a:extLst>
          </p:cNvPr>
          <p:cNvSpPr txBox="1">
            <a:spLocks/>
          </p:cNvSpPr>
          <p:nvPr>
            <p:custDataLst>
              <p:tags r:id="rId16"/>
            </p:custDataLst>
          </p:nvPr>
        </p:nvSpPr>
        <p:spPr>
          <a:xfrm>
            <a:off x="2617383" y="1632986"/>
            <a:ext cx="1334803" cy="29154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r>
              <a:rPr lang="de-DE" sz="1200" dirty="0">
                <a:latin typeface="+mj-lt"/>
                <a:cs typeface="Calibri"/>
              </a:rPr>
              <a:t>Wilhelmshaven</a:t>
            </a:r>
          </a:p>
        </p:txBody>
      </p:sp>
      <p:sp>
        <p:nvSpPr>
          <p:cNvPr id="253" name="Textplatzhalter 14">
            <a:extLst>
              <a:ext uri="{FF2B5EF4-FFF2-40B4-BE49-F238E27FC236}">
                <a16:creationId xmlns:a16="http://schemas.microsoft.com/office/drawing/2014/main" id="{91B107C8-8B26-3178-C809-F68192D84415}"/>
              </a:ext>
            </a:extLst>
          </p:cNvPr>
          <p:cNvSpPr txBox="1">
            <a:spLocks/>
          </p:cNvSpPr>
          <p:nvPr>
            <p:custDataLst>
              <p:tags r:id="rId17"/>
            </p:custDataLst>
          </p:nvPr>
        </p:nvSpPr>
        <p:spPr>
          <a:xfrm>
            <a:off x="2510525" y="2488227"/>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Hannover</a:t>
            </a:r>
          </a:p>
        </p:txBody>
      </p:sp>
      <p:sp>
        <p:nvSpPr>
          <p:cNvPr id="254" name="Textplatzhalter 14">
            <a:extLst>
              <a:ext uri="{FF2B5EF4-FFF2-40B4-BE49-F238E27FC236}">
                <a16:creationId xmlns:a16="http://schemas.microsoft.com/office/drawing/2014/main" id="{F872C499-1C10-A1E3-6677-331C08C4E287}"/>
              </a:ext>
            </a:extLst>
          </p:cNvPr>
          <p:cNvSpPr txBox="1">
            <a:spLocks/>
          </p:cNvSpPr>
          <p:nvPr>
            <p:custDataLst>
              <p:tags r:id="rId18"/>
            </p:custDataLst>
          </p:nvPr>
        </p:nvSpPr>
        <p:spPr>
          <a:xfrm>
            <a:off x="1200738" y="3577808"/>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Düsseldorf</a:t>
            </a:r>
          </a:p>
        </p:txBody>
      </p:sp>
      <p:sp>
        <p:nvSpPr>
          <p:cNvPr id="255" name="Textplatzhalter 14">
            <a:extLst>
              <a:ext uri="{FF2B5EF4-FFF2-40B4-BE49-F238E27FC236}">
                <a16:creationId xmlns:a16="http://schemas.microsoft.com/office/drawing/2014/main" id="{19047CF2-7487-51CE-AABD-154BBB1F37A2}"/>
              </a:ext>
            </a:extLst>
          </p:cNvPr>
          <p:cNvSpPr txBox="1">
            <a:spLocks/>
          </p:cNvSpPr>
          <p:nvPr>
            <p:custDataLst>
              <p:tags r:id="rId19"/>
            </p:custDataLst>
          </p:nvPr>
        </p:nvSpPr>
        <p:spPr>
          <a:xfrm>
            <a:off x="2915631" y="3424892"/>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mj-lt"/>
                <a:cs typeface="Calibri"/>
              </a:rPr>
              <a:t>Essen</a:t>
            </a:r>
          </a:p>
        </p:txBody>
      </p:sp>
      <p:sp>
        <p:nvSpPr>
          <p:cNvPr id="256" name="Textplatzhalter 14">
            <a:extLst>
              <a:ext uri="{FF2B5EF4-FFF2-40B4-BE49-F238E27FC236}">
                <a16:creationId xmlns:a16="http://schemas.microsoft.com/office/drawing/2014/main" id="{FAF741E5-81B8-8A65-F841-9800CFBA0F37}"/>
              </a:ext>
            </a:extLst>
          </p:cNvPr>
          <p:cNvSpPr txBox="1">
            <a:spLocks/>
          </p:cNvSpPr>
          <p:nvPr>
            <p:custDataLst>
              <p:tags r:id="rId20"/>
            </p:custDataLst>
          </p:nvPr>
        </p:nvSpPr>
        <p:spPr>
          <a:xfrm>
            <a:off x="2902729" y="3779595"/>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dirty="0">
                <a:latin typeface="+mj-lt"/>
                <a:cs typeface="Calibri"/>
              </a:rPr>
              <a:t>Köln</a:t>
            </a:r>
          </a:p>
        </p:txBody>
      </p:sp>
      <p:pic>
        <p:nvPicPr>
          <p:cNvPr id="7" name="Grafik 6" descr="Ein Bild, das rot, Herz enthält.&#10;&#10;Automatisch generierte Beschreibung">
            <a:extLst>
              <a:ext uri="{FF2B5EF4-FFF2-40B4-BE49-F238E27FC236}">
                <a16:creationId xmlns:a16="http://schemas.microsoft.com/office/drawing/2014/main" id="{38071992-9A6D-9CE8-A59D-23047FC61D39}"/>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190033" y="1903450"/>
            <a:ext cx="178642" cy="233608"/>
          </a:xfrm>
          <a:prstGeom prst="rect">
            <a:avLst/>
          </a:prstGeom>
        </p:spPr>
      </p:pic>
      <p:pic>
        <p:nvPicPr>
          <p:cNvPr id="12" name="Grafik 11" descr="Ein Bild, das rot, Herz enthält.&#10;&#10;Automatisch generierte Beschreibung">
            <a:extLst>
              <a:ext uri="{FF2B5EF4-FFF2-40B4-BE49-F238E27FC236}">
                <a16:creationId xmlns:a16="http://schemas.microsoft.com/office/drawing/2014/main" id="{F889D17D-9427-BBA3-A03D-01DE1A5CC2B4}"/>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975755" y="1896872"/>
            <a:ext cx="178642" cy="233608"/>
          </a:xfrm>
          <a:prstGeom prst="rect">
            <a:avLst/>
          </a:prstGeom>
        </p:spPr>
      </p:pic>
      <p:pic>
        <p:nvPicPr>
          <p:cNvPr id="14" name="Grafik 13" descr="Ein Bild, das rot, Herz enthält.&#10;&#10;Automatisch generierte Beschreibung">
            <a:extLst>
              <a:ext uri="{FF2B5EF4-FFF2-40B4-BE49-F238E27FC236}">
                <a16:creationId xmlns:a16="http://schemas.microsoft.com/office/drawing/2014/main" id="{33FC96BC-E2EF-FA2F-1D41-04C1BD925666}"/>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5385720" y="2634734"/>
            <a:ext cx="178642" cy="233608"/>
          </a:xfrm>
          <a:prstGeom prst="rect">
            <a:avLst/>
          </a:prstGeom>
        </p:spPr>
      </p:pic>
      <p:pic>
        <p:nvPicPr>
          <p:cNvPr id="17" name="Grafik 16" descr="Ein Bild, das rot, Herz enthält.&#10;&#10;Automatisch generierte Beschreibung">
            <a:extLst>
              <a:ext uri="{FF2B5EF4-FFF2-40B4-BE49-F238E27FC236}">
                <a16:creationId xmlns:a16="http://schemas.microsoft.com/office/drawing/2014/main" id="{B8D0DF6B-B05E-FCAB-86E3-0F823C94834C}"/>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4190182" y="2789951"/>
            <a:ext cx="178642" cy="233608"/>
          </a:xfrm>
          <a:prstGeom prst="rect">
            <a:avLst/>
          </a:prstGeom>
        </p:spPr>
      </p:pic>
      <p:pic>
        <p:nvPicPr>
          <p:cNvPr id="21" name="Grafik 20" descr="Ein Bild, das rot, Herz enthält.&#10;&#10;Automatisch generierte Beschreibung">
            <a:extLst>
              <a:ext uri="{FF2B5EF4-FFF2-40B4-BE49-F238E27FC236}">
                <a16:creationId xmlns:a16="http://schemas.microsoft.com/office/drawing/2014/main" id="{18B75DAC-468A-392D-A1A5-C4288C301B97}"/>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868564" y="2715471"/>
            <a:ext cx="178642" cy="233608"/>
          </a:xfrm>
          <a:prstGeom prst="rect">
            <a:avLst/>
          </a:prstGeom>
        </p:spPr>
      </p:pic>
      <p:pic>
        <p:nvPicPr>
          <p:cNvPr id="24" name="Grafik 23" descr="Ein Bild, das rot, Herz enthält.&#10;&#10;Automatisch generierte Beschreibung">
            <a:extLst>
              <a:ext uri="{FF2B5EF4-FFF2-40B4-BE49-F238E27FC236}">
                <a16:creationId xmlns:a16="http://schemas.microsoft.com/office/drawing/2014/main" id="{DC9AED18-7B27-3D12-AC80-CF4C27A42FD5}"/>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2854886" y="2610322"/>
            <a:ext cx="178642" cy="233608"/>
          </a:xfrm>
          <a:prstGeom prst="rect">
            <a:avLst/>
          </a:prstGeom>
        </p:spPr>
      </p:pic>
      <p:pic>
        <p:nvPicPr>
          <p:cNvPr id="26" name="Grafik 25" descr="Ein Bild, das rot, Herz enthält.&#10;&#10;Automatisch generierte Beschreibung">
            <a:extLst>
              <a:ext uri="{FF2B5EF4-FFF2-40B4-BE49-F238E27FC236}">
                <a16:creationId xmlns:a16="http://schemas.microsoft.com/office/drawing/2014/main" id="{026F22EA-DBA6-0703-F04B-EBF83CEEAB5F}"/>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211963" y="2942828"/>
            <a:ext cx="178642" cy="233608"/>
          </a:xfrm>
          <a:prstGeom prst="rect">
            <a:avLst/>
          </a:prstGeom>
        </p:spPr>
      </p:pic>
      <p:pic>
        <p:nvPicPr>
          <p:cNvPr id="29" name="Grafik 28" descr="Ein Bild, das rot, Herz enthält.&#10;&#10;Automatisch generierte Beschreibung">
            <a:extLst>
              <a:ext uri="{FF2B5EF4-FFF2-40B4-BE49-F238E27FC236}">
                <a16:creationId xmlns:a16="http://schemas.microsoft.com/office/drawing/2014/main" id="{BE614411-9CEE-19CE-2231-903709EDF483}"/>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2983323" y="3005411"/>
            <a:ext cx="178642" cy="233608"/>
          </a:xfrm>
          <a:prstGeom prst="rect">
            <a:avLst/>
          </a:prstGeom>
        </p:spPr>
      </p:pic>
      <p:pic>
        <p:nvPicPr>
          <p:cNvPr id="43" name="Grafik 42" descr="Ein Bild, das rot, Herz enthält.&#10;&#10;Automatisch generierte Beschreibung">
            <a:extLst>
              <a:ext uri="{FF2B5EF4-FFF2-40B4-BE49-F238E27FC236}">
                <a16:creationId xmlns:a16="http://schemas.microsoft.com/office/drawing/2014/main" id="{96785A06-20FB-052A-1F52-9B81F8791C3A}"/>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2617384" y="3489511"/>
            <a:ext cx="178642" cy="233608"/>
          </a:xfrm>
          <a:prstGeom prst="rect">
            <a:avLst/>
          </a:prstGeom>
        </p:spPr>
      </p:pic>
      <p:pic>
        <p:nvPicPr>
          <p:cNvPr id="45" name="Grafik 44" descr="Ein Bild, das rot, Herz enthält.&#10;&#10;Automatisch generierte Beschreibung">
            <a:extLst>
              <a:ext uri="{FF2B5EF4-FFF2-40B4-BE49-F238E27FC236}">
                <a16:creationId xmlns:a16="http://schemas.microsoft.com/office/drawing/2014/main" id="{46389172-BFE6-43FD-6229-911814D29FCE}"/>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2704009" y="3696970"/>
            <a:ext cx="178642" cy="233608"/>
          </a:xfrm>
          <a:prstGeom prst="rect">
            <a:avLst/>
          </a:prstGeom>
        </p:spPr>
      </p:pic>
      <p:pic>
        <p:nvPicPr>
          <p:cNvPr id="46" name="Grafik 45" descr="Ein Bild, das rot, Herz enthält.&#10;&#10;Automatisch generierte Beschreibung">
            <a:extLst>
              <a:ext uri="{FF2B5EF4-FFF2-40B4-BE49-F238E27FC236}">
                <a16:creationId xmlns:a16="http://schemas.microsoft.com/office/drawing/2014/main" id="{A33809B5-5549-43A9-BAFD-ACF35C0A570F}"/>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2729721" y="3333178"/>
            <a:ext cx="178642" cy="233608"/>
          </a:xfrm>
          <a:prstGeom prst="rect">
            <a:avLst/>
          </a:prstGeom>
        </p:spPr>
      </p:pic>
      <p:pic>
        <p:nvPicPr>
          <p:cNvPr id="52" name="Grafik 51" descr="Ein Bild, das rot, Herz enthält.&#10;&#10;Automatisch generierte Beschreibung">
            <a:extLst>
              <a:ext uri="{FF2B5EF4-FFF2-40B4-BE49-F238E27FC236}">
                <a16:creationId xmlns:a16="http://schemas.microsoft.com/office/drawing/2014/main" id="{279631CF-1370-7BF7-F418-77C004BDD0E3}"/>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5186564" y="3739503"/>
            <a:ext cx="178642" cy="233608"/>
          </a:xfrm>
          <a:prstGeom prst="rect">
            <a:avLst/>
          </a:prstGeom>
        </p:spPr>
      </p:pic>
      <p:pic>
        <p:nvPicPr>
          <p:cNvPr id="192" name="Grafik 191" descr="Ein Bild, das rot, Herz enthält.&#10;&#10;Automatisch generierte Beschreibung">
            <a:extLst>
              <a:ext uri="{FF2B5EF4-FFF2-40B4-BE49-F238E27FC236}">
                <a16:creationId xmlns:a16="http://schemas.microsoft.com/office/drawing/2014/main" id="{4DE9BC5A-9ECB-455F-3D5E-6FEF7F471ABE}"/>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414642" y="4219162"/>
            <a:ext cx="178642" cy="233608"/>
          </a:xfrm>
          <a:prstGeom prst="rect">
            <a:avLst/>
          </a:prstGeom>
        </p:spPr>
      </p:pic>
      <p:pic>
        <p:nvPicPr>
          <p:cNvPr id="193" name="Grafik 192" descr="Ein Bild, das rot, Herz enthält.&#10;&#10;Automatisch generierte Beschreibung">
            <a:extLst>
              <a:ext uri="{FF2B5EF4-FFF2-40B4-BE49-F238E27FC236}">
                <a16:creationId xmlns:a16="http://schemas.microsoft.com/office/drawing/2014/main" id="{EB8F50AB-595F-94A4-674C-ABC2F98B209D}"/>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4423719" y="4628682"/>
            <a:ext cx="178642" cy="233608"/>
          </a:xfrm>
          <a:prstGeom prst="rect">
            <a:avLst/>
          </a:prstGeom>
        </p:spPr>
      </p:pic>
      <p:pic>
        <p:nvPicPr>
          <p:cNvPr id="194" name="Grafik 193" descr="Ein Bild, das rot, Herz enthält.&#10;&#10;Automatisch generierte Beschreibung">
            <a:extLst>
              <a:ext uri="{FF2B5EF4-FFF2-40B4-BE49-F238E27FC236}">
                <a16:creationId xmlns:a16="http://schemas.microsoft.com/office/drawing/2014/main" id="{F3905183-259E-3012-713B-9B5AF06C9345}"/>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304026" y="4944307"/>
            <a:ext cx="178642" cy="233608"/>
          </a:xfrm>
          <a:prstGeom prst="rect">
            <a:avLst/>
          </a:prstGeom>
        </p:spPr>
      </p:pic>
      <p:pic>
        <p:nvPicPr>
          <p:cNvPr id="196" name="Grafik 195" descr="Ein Bild, das rot, Herz enthält.&#10;&#10;Automatisch generierte Beschreibung">
            <a:extLst>
              <a:ext uri="{FF2B5EF4-FFF2-40B4-BE49-F238E27FC236}">
                <a16:creationId xmlns:a16="http://schemas.microsoft.com/office/drawing/2014/main" id="{3DDC181A-D6D4-CA95-CA30-3EE7E7660C6C}"/>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632832" y="5078188"/>
            <a:ext cx="178642" cy="233608"/>
          </a:xfrm>
          <a:prstGeom prst="rect">
            <a:avLst/>
          </a:prstGeom>
        </p:spPr>
      </p:pic>
      <p:pic>
        <p:nvPicPr>
          <p:cNvPr id="198" name="Grafik 197" descr="Ein Bild, das rot, Herz enthält.&#10;&#10;Automatisch generierte Beschreibung">
            <a:extLst>
              <a:ext uri="{FF2B5EF4-FFF2-40B4-BE49-F238E27FC236}">
                <a16:creationId xmlns:a16="http://schemas.microsoft.com/office/drawing/2014/main" id="{AD8DBDE3-AF89-A72B-C02D-870589E2FD66}"/>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282814" y="5483585"/>
            <a:ext cx="178642" cy="233608"/>
          </a:xfrm>
          <a:prstGeom prst="rect">
            <a:avLst/>
          </a:prstGeom>
        </p:spPr>
      </p:pic>
      <p:pic>
        <p:nvPicPr>
          <p:cNvPr id="208" name="Grafik 207" descr="Ein Bild, das rot, Herz enthält.&#10;&#10;Automatisch generierte Beschreibung">
            <a:extLst>
              <a:ext uri="{FF2B5EF4-FFF2-40B4-BE49-F238E27FC236}">
                <a16:creationId xmlns:a16="http://schemas.microsoft.com/office/drawing/2014/main" id="{99339990-E5D0-1E9C-7A25-774ED3EFE25A}"/>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5422254" y="5214550"/>
            <a:ext cx="178642" cy="233608"/>
          </a:xfrm>
          <a:prstGeom prst="rect">
            <a:avLst/>
          </a:prstGeom>
        </p:spPr>
      </p:pic>
      <p:pic>
        <p:nvPicPr>
          <p:cNvPr id="209" name="Grafik 208" descr="Ein Bild, das rot, Herz enthält.&#10;&#10;Automatisch generierte Beschreibung">
            <a:extLst>
              <a:ext uri="{FF2B5EF4-FFF2-40B4-BE49-F238E27FC236}">
                <a16:creationId xmlns:a16="http://schemas.microsoft.com/office/drawing/2014/main" id="{5CBBE26F-BE4A-344D-F1E5-7EA1B53B7DA5}"/>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4631084" y="5480912"/>
            <a:ext cx="178642" cy="233608"/>
          </a:xfrm>
          <a:prstGeom prst="rect">
            <a:avLst/>
          </a:prstGeom>
        </p:spPr>
      </p:pic>
      <p:sp>
        <p:nvSpPr>
          <p:cNvPr id="8" name="Textplatzhalter 14">
            <a:extLst>
              <a:ext uri="{FF2B5EF4-FFF2-40B4-BE49-F238E27FC236}">
                <a16:creationId xmlns:a16="http://schemas.microsoft.com/office/drawing/2014/main" id="{B8E8411E-7059-50C4-A3DE-3DA8841C8C6B}"/>
              </a:ext>
            </a:extLst>
          </p:cNvPr>
          <p:cNvSpPr txBox="1">
            <a:spLocks/>
          </p:cNvSpPr>
          <p:nvPr>
            <p:custDataLst>
              <p:tags r:id="rId21"/>
            </p:custDataLst>
          </p:nvPr>
        </p:nvSpPr>
        <p:spPr>
          <a:xfrm>
            <a:off x="8773245" y="2624291"/>
            <a:ext cx="2419158" cy="249171"/>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a:cs typeface="Calibri"/>
              </a:rPr>
              <a:t>Mitarbeitende </a:t>
            </a:r>
          </a:p>
        </p:txBody>
      </p:sp>
      <p:sp>
        <p:nvSpPr>
          <p:cNvPr id="10" name="Textplatzhalter 14">
            <a:extLst>
              <a:ext uri="{FF2B5EF4-FFF2-40B4-BE49-F238E27FC236}">
                <a16:creationId xmlns:a16="http://schemas.microsoft.com/office/drawing/2014/main" id="{EE604EF5-8989-4691-6E62-8329296E6F3A}"/>
              </a:ext>
            </a:extLst>
          </p:cNvPr>
          <p:cNvSpPr txBox="1">
            <a:spLocks/>
          </p:cNvSpPr>
          <p:nvPr>
            <p:custDataLst>
              <p:tags r:id="rId22"/>
            </p:custDataLst>
          </p:nvPr>
        </p:nvSpPr>
        <p:spPr>
          <a:xfrm>
            <a:off x="8773245" y="3830540"/>
            <a:ext cx="2419158" cy="250710"/>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a:cs typeface="Calibri"/>
              </a:rPr>
              <a:t>Standorte </a:t>
            </a:r>
          </a:p>
        </p:txBody>
      </p:sp>
      <p:sp>
        <p:nvSpPr>
          <p:cNvPr id="13" name="Textplatzhalter 14">
            <a:extLst>
              <a:ext uri="{FF2B5EF4-FFF2-40B4-BE49-F238E27FC236}">
                <a16:creationId xmlns:a16="http://schemas.microsoft.com/office/drawing/2014/main" id="{7769337C-9E7C-3ECE-2D18-BF2FB4A1A57A}"/>
              </a:ext>
            </a:extLst>
          </p:cNvPr>
          <p:cNvSpPr txBox="1">
            <a:spLocks/>
          </p:cNvSpPr>
          <p:nvPr>
            <p:custDataLst>
              <p:tags r:id="rId23"/>
            </p:custDataLst>
          </p:nvPr>
        </p:nvSpPr>
        <p:spPr>
          <a:xfrm>
            <a:off x="8773244" y="5005707"/>
            <a:ext cx="2746201" cy="249171"/>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dirty="0">
                <a:cs typeface="Calibri"/>
              </a:rPr>
              <a:t>Mio. € Umsatz 2025 (vorläufig) </a:t>
            </a:r>
          </a:p>
        </p:txBody>
      </p:sp>
      <p:cxnSp>
        <p:nvCxnSpPr>
          <p:cNvPr id="23" name="Gerade Verbindung 268">
            <a:extLst>
              <a:ext uri="{FF2B5EF4-FFF2-40B4-BE49-F238E27FC236}">
                <a16:creationId xmlns:a16="http://schemas.microsoft.com/office/drawing/2014/main" id="{0319DB2E-1BF4-EC97-312F-D87266C8BE42}"/>
              </a:ext>
            </a:extLst>
          </p:cNvPr>
          <p:cNvCxnSpPr>
            <a:cxnSpLocks/>
          </p:cNvCxnSpPr>
          <p:nvPr/>
        </p:nvCxnSpPr>
        <p:spPr>
          <a:xfrm>
            <a:off x="8496338" y="1362075"/>
            <a:ext cx="0" cy="492573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sp>
        <p:nvSpPr>
          <p:cNvPr id="28" name="Textplatzhalter 14">
            <a:extLst>
              <a:ext uri="{FF2B5EF4-FFF2-40B4-BE49-F238E27FC236}">
                <a16:creationId xmlns:a16="http://schemas.microsoft.com/office/drawing/2014/main" id="{84FD87E2-6E86-EEF1-2869-4AE43F72068C}"/>
              </a:ext>
            </a:extLst>
          </p:cNvPr>
          <p:cNvSpPr txBox="1">
            <a:spLocks/>
          </p:cNvSpPr>
          <p:nvPr>
            <p:custDataLst>
              <p:tags r:id="rId24"/>
            </p:custDataLst>
          </p:nvPr>
        </p:nvSpPr>
        <p:spPr>
          <a:xfrm>
            <a:off x="3392441" y="4325002"/>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Würzburg</a:t>
            </a:r>
          </a:p>
        </p:txBody>
      </p:sp>
      <p:pic>
        <p:nvPicPr>
          <p:cNvPr id="30" name="Grafik 29" descr="Ein Bild, das rot, Herz enthält.&#10;&#10;Automatisch generierte Beschreibung">
            <a:extLst>
              <a:ext uri="{FF2B5EF4-FFF2-40B4-BE49-F238E27FC236}">
                <a16:creationId xmlns:a16="http://schemas.microsoft.com/office/drawing/2014/main" id="{85922ED8-E8CC-BD97-BEE1-7BD8DFFDF6CF}"/>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952048" y="4436193"/>
            <a:ext cx="178642" cy="233608"/>
          </a:xfrm>
          <a:prstGeom prst="rect">
            <a:avLst/>
          </a:prstGeom>
        </p:spPr>
      </p:pic>
      <p:sp>
        <p:nvSpPr>
          <p:cNvPr id="11" name="Textfeld 10">
            <a:extLst>
              <a:ext uri="{FF2B5EF4-FFF2-40B4-BE49-F238E27FC236}">
                <a16:creationId xmlns:a16="http://schemas.microsoft.com/office/drawing/2014/main" id="{CBBE2DDB-B8D5-F29A-A7C0-E3E92E1A7C75}"/>
              </a:ext>
            </a:extLst>
          </p:cNvPr>
          <p:cNvSpPr txBox="1"/>
          <p:nvPr>
            <p:custDataLst>
              <p:tags r:id="rId25"/>
            </p:custDataLst>
          </p:nvPr>
        </p:nvSpPr>
        <p:spPr>
          <a:xfrm>
            <a:off x="8773245" y="2219237"/>
            <a:ext cx="828000" cy="274418"/>
          </a:xfrm>
          <a:prstGeom prst="rect">
            <a:avLst/>
          </a:prstGeom>
          <a:solidFill>
            <a:schemeClr val="bg1"/>
          </a:solidFill>
        </p:spPr>
        <p:txBody>
          <a:bodyPr wrap="none" lIns="0" tIns="0" rIns="0" bIns="0" rtlCol="0" anchor="ctr" anchorCtr="0">
            <a:noAutofit/>
          </a:bodyPr>
          <a:lstStyle/>
          <a:p>
            <a:r>
              <a:rPr lang="de-DE" sz="4600" b="1" dirty="0">
                <a:blipFill dpi="0" rotWithShape="1">
                  <a:blip r:embed="rId32">
                    <a:extLst>
                      <a:ext uri="{28A0092B-C50C-407E-A947-70E740481C1C}">
                        <a14:useLocalDpi xmlns:a14="http://schemas.microsoft.com/office/drawing/2010/main" val="0"/>
                      </a:ext>
                    </a:extLst>
                  </a:blip>
                  <a:srcRect/>
                  <a:stretch>
                    <a:fillRect/>
                  </a:stretch>
                </a:blipFill>
                <a:latin typeface="Carnac ExtraBold" panose="02000503000000020004" pitchFamily="50" charset="0"/>
              </a:rPr>
              <a:t>6.500 </a:t>
            </a:r>
          </a:p>
        </p:txBody>
      </p:sp>
      <p:sp>
        <p:nvSpPr>
          <p:cNvPr id="18" name="Textfeld 17">
            <a:extLst>
              <a:ext uri="{FF2B5EF4-FFF2-40B4-BE49-F238E27FC236}">
                <a16:creationId xmlns:a16="http://schemas.microsoft.com/office/drawing/2014/main" id="{778FA80C-F6C1-FC3A-1F0A-BE1904CF355D}"/>
              </a:ext>
            </a:extLst>
          </p:cNvPr>
          <p:cNvSpPr txBox="1"/>
          <p:nvPr>
            <p:custDataLst>
              <p:tags r:id="rId26"/>
            </p:custDataLst>
          </p:nvPr>
        </p:nvSpPr>
        <p:spPr>
          <a:xfrm>
            <a:off x="8773245" y="3440599"/>
            <a:ext cx="828000" cy="274418"/>
          </a:xfrm>
          <a:prstGeom prst="rect">
            <a:avLst/>
          </a:prstGeom>
          <a:solidFill>
            <a:schemeClr val="bg1"/>
          </a:solidFill>
        </p:spPr>
        <p:txBody>
          <a:bodyPr wrap="none" lIns="0" tIns="0" rIns="0" bIns="0" rtlCol="0" anchor="ctr" anchorCtr="0">
            <a:noAutofit/>
          </a:bodyPr>
          <a:lstStyle/>
          <a:p>
            <a:r>
              <a:rPr lang="de-DE" sz="4600" b="1" dirty="0">
                <a:blipFill dpi="0" rotWithShape="1">
                  <a:blip r:embed="rId32">
                    <a:extLst>
                      <a:ext uri="{28A0092B-C50C-407E-A947-70E740481C1C}">
                        <a14:useLocalDpi xmlns:a14="http://schemas.microsoft.com/office/drawing/2010/main" val="0"/>
                      </a:ext>
                    </a:extLst>
                  </a:blip>
                  <a:srcRect/>
                  <a:stretch>
                    <a:fillRect/>
                  </a:stretch>
                </a:blipFill>
                <a:latin typeface="Carnac ExtraBold" panose="02000503000000020004" pitchFamily="50" charset="0"/>
              </a:rPr>
              <a:t>24</a:t>
            </a:r>
          </a:p>
        </p:txBody>
      </p:sp>
      <p:pic>
        <p:nvPicPr>
          <p:cNvPr id="3" name="Grafik 2" descr="Ein Bild, das rot, Herz enthält.&#10;&#10;Automatisch generierte Beschreibung">
            <a:extLst>
              <a:ext uri="{FF2B5EF4-FFF2-40B4-BE49-F238E27FC236}">
                <a16:creationId xmlns:a16="http://schemas.microsoft.com/office/drawing/2014/main" id="{F3CCFD0F-FA84-F5FF-6639-0156CE2A4E0A}"/>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6058501" y="3521554"/>
            <a:ext cx="178642" cy="233608"/>
          </a:xfrm>
          <a:prstGeom prst="rect">
            <a:avLst/>
          </a:prstGeom>
        </p:spPr>
      </p:pic>
      <p:sp>
        <p:nvSpPr>
          <p:cNvPr id="5" name="Textplatzhalter 14">
            <a:extLst>
              <a:ext uri="{FF2B5EF4-FFF2-40B4-BE49-F238E27FC236}">
                <a16:creationId xmlns:a16="http://schemas.microsoft.com/office/drawing/2014/main" id="{9A6E7B2E-4C95-CFAA-DEFC-F8FC1C96C1B8}"/>
              </a:ext>
            </a:extLst>
          </p:cNvPr>
          <p:cNvSpPr txBox="1">
            <a:spLocks/>
          </p:cNvSpPr>
          <p:nvPr>
            <p:custDataLst>
              <p:tags r:id="rId27"/>
            </p:custDataLst>
          </p:nvPr>
        </p:nvSpPr>
        <p:spPr>
          <a:xfrm>
            <a:off x="6183093" y="3642998"/>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buClr>
                <a:srgbClr val="A01441"/>
              </a:buClr>
            </a:pPr>
            <a:r>
              <a:rPr lang="de-DE" sz="1200" dirty="0">
                <a:solidFill>
                  <a:prstClr val="black"/>
                </a:solidFill>
                <a:cs typeface="Calibri"/>
              </a:rPr>
              <a:t>Görlitz</a:t>
            </a:r>
          </a:p>
        </p:txBody>
      </p:sp>
      <p:sp>
        <p:nvSpPr>
          <p:cNvPr id="6" name="Textplatzhalter 14">
            <a:extLst>
              <a:ext uri="{FF2B5EF4-FFF2-40B4-BE49-F238E27FC236}">
                <a16:creationId xmlns:a16="http://schemas.microsoft.com/office/drawing/2014/main" id="{C9EC645F-5DB5-A567-C27E-94B2093926A8}"/>
              </a:ext>
            </a:extLst>
          </p:cNvPr>
          <p:cNvSpPr txBox="1">
            <a:spLocks/>
          </p:cNvSpPr>
          <p:nvPr>
            <p:custDataLst>
              <p:tags r:id="rId28"/>
            </p:custDataLst>
          </p:nvPr>
        </p:nvSpPr>
        <p:spPr>
          <a:xfrm>
            <a:off x="5627374" y="3857064"/>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buClr>
                <a:srgbClr val="A01441"/>
              </a:buClr>
            </a:pPr>
            <a:r>
              <a:rPr lang="de-DE" sz="1200" dirty="0">
                <a:solidFill>
                  <a:prstClr val="black"/>
                </a:solidFill>
                <a:cs typeface="Calibri"/>
              </a:rPr>
              <a:t>Dresden</a:t>
            </a:r>
          </a:p>
        </p:txBody>
      </p:sp>
      <p:pic>
        <p:nvPicPr>
          <p:cNvPr id="15" name="Grafik 14" descr="Ein Bild, das rot, Herz enthält.&#10;&#10;Automatisch generierte Beschreibung">
            <a:extLst>
              <a:ext uri="{FF2B5EF4-FFF2-40B4-BE49-F238E27FC236}">
                <a16:creationId xmlns:a16="http://schemas.microsoft.com/office/drawing/2014/main" id="{2AAEBF18-35ED-CEA1-6CE3-98453FFF0C8F}"/>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5580027" y="3644775"/>
            <a:ext cx="178642" cy="233608"/>
          </a:xfrm>
          <a:prstGeom prst="rect">
            <a:avLst/>
          </a:prstGeom>
        </p:spPr>
      </p:pic>
      <p:sp>
        <p:nvSpPr>
          <p:cNvPr id="32" name="Textplatzhalter 14">
            <a:extLst>
              <a:ext uri="{FF2B5EF4-FFF2-40B4-BE49-F238E27FC236}">
                <a16:creationId xmlns:a16="http://schemas.microsoft.com/office/drawing/2014/main" id="{2139FF7F-C015-FA7D-56EE-D0E6AD4EC083}"/>
              </a:ext>
            </a:extLst>
          </p:cNvPr>
          <p:cNvSpPr txBox="1">
            <a:spLocks/>
          </p:cNvSpPr>
          <p:nvPr>
            <p:custDataLst>
              <p:tags r:id="rId29"/>
            </p:custDataLst>
          </p:nvPr>
        </p:nvSpPr>
        <p:spPr>
          <a:xfrm>
            <a:off x="3427713" y="3000523"/>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dirty="0">
                <a:latin typeface="+mj-lt"/>
                <a:cs typeface="Calibri"/>
              </a:rPr>
              <a:t>Versmold</a:t>
            </a:r>
          </a:p>
        </p:txBody>
      </p:sp>
      <p:sp>
        <p:nvSpPr>
          <p:cNvPr id="20" name="Textfeld 19">
            <a:extLst>
              <a:ext uri="{FF2B5EF4-FFF2-40B4-BE49-F238E27FC236}">
                <a16:creationId xmlns:a16="http://schemas.microsoft.com/office/drawing/2014/main" id="{AE82B999-B4F7-7EC1-5737-AAB29545742B}"/>
              </a:ext>
            </a:extLst>
          </p:cNvPr>
          <p:cNvSpPr txBox="1"/>
          <p:nvPr/>
        </p:nvSpPr>
        <p:spPr>
          <a:xfrm>
            <a:off x="7513983" y="6251713"/>
            <a:ext cx="0" cy="0"/>
          </a:xfrm>
          <a:prstGeom prst="rect">
            <a:avLst/>
          </a:prstGeom>
          <a:noFill/>
        </p:spPr>
        <p:txBody>
          <a:bodyPr wrap="none" lIns="0" tIns="0" rIns="0" bIns="0" rtlCol="0">
            <a:noAutofit/>
          </a:bodyPr>
          <a:lstStyle/>
          <a:p>
            <a:pPr algn="l"/>
            <a:endParaRPr lang="de-DE" sz="1600" dirty="0" err="1"/>
          </a:p>
        </p:txBody>
      </p:sp>
      <p:sp>
        <p:nvSpPr>
          <p:cNvPr id="42" name="Textplatzhalter 14">
            <a:extLst>
              <a:ext uri="{FF2B5EF4-FFF2-40B4-BE49-F238E27FC236}">
                <a16:creationId xmlns:a16="http://schemas.microsoft.com/office/drawing/2014/main" id="{D04B3BDA-2822-067F-24FB-FCE4E3B66DB3}"/>
              </a:ext>
            </a:extLst>
          </p:cNvPr>
          <p:cNvSpPr txBox="1">
            <a:spLocks/>
          </p:cNvSpPr>
          <p:nvPr/>
        </p:nvSpPr>
        <p:spPr>
          <a:xfrm>
            <a:off x="2772566" y="4732104"/>
            <a:ext cx="613174"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Walldorf</a:t>
            </a:r>
          </a:p>
        </p:txBody>
      </p:sp>
      <p:sp>
        <p:nvSpPr>
          <p:cNvPr id="44" name="Textplatzhalter 14">
            <a:extLst>
              <a:ext uri="{FF2B5EF4-FFF2-40B4-BE49-F238E27FC236}">
                <a16:creationId xmlns:a16="http://schemas.microsoft.com/office/drawing/2014/main" id="{283361AB-D44E-A264-DD45-702C975683DB}"/>
              </a:ext>
            </a:extLst>
          </p:cNvPr>
          <p:cNvSpPr txBox="1">
            <a:spLocks/>
          </p:cNvSpPr>
          <p:nvPr/>
        </p:nvSpPr>
        <p:spPr>
          <a:xfrm>
            <a:off x="2688428" y="4545416"/>
            <a:ext cx="722464"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Heidelberg</a:t>
            </a:r>
          </a:p>
        </p:txBody>
      </p:sp>
      <p:pic>
        <p:nvPicPr>
          <p:cNvPr id="47" name="Grafik 46" descr="Ein Bild, das rot, Herz enthält.&#10;&#10;Automatisch generierte Beschreibung">
            <a:extLst>
              <a:ext uri="{FF2B5EF4-FFF2-40B4-BE49-F238E27FC236}">
                <a16:creationId xmlns:a16="http://schemas.microsoft.com/office/drawing/2014/main" id="{43DE773E-97FA-A6F8-F40A-42F2BC1152C5}"/>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462578" y="4644911"/>
            <a:ext cx="178642" cy="233608"/>
          </a:xfrm>
          <a:prstGeom prst="rect">
            <a:avLst/>
          </a:prstGeom>
        </p:spPr>
      </p:pic>
      <p:pic>
        <p:nvPicPr>
          <p:cNvPr id="48" name="Grafik 47" descr="Ein Bild, das rot, Herz enthält.&#10;&#10;Automatisch generierte Beschreibung">
            <a:extLst>
              <a:ext uri="{FF2B5EF4-FFF2-40B4-BE49-F238E27FC236}">
                <a16:creationId xmlns:a16="http://schemas.microsoft.com/office/drawing/2014/main" id="{5501D756-2B9F-36AE-8CDE-E29FDB0CB660}"/>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414642" y="4683587"/>
            <a:ext cx="178642" cy="233608"/>
          </a:xfrm>
          <a:prstGeom prst="rect">
            <a:avLst/>
          </a:prstGeom>
        </p:spPr>
      </p:pic>
    </p:spTree>
    <p:extLst>
      <p:ext uri="{BB962C8B-B14F-4D97-AF65-F5344CB8AC3E}">
        <p14:creationId xmlns:p14="http://schemas.microsoft.com/office/powerpoint/2010/main" val="369979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AE6ED93F-4566-744D-7CAA-455ACFEBF2F4}"/>
              </a:ext>
            </a:extLst>
          </p:cNvPr>
          <p:cNvPicPr>
            <a:picLocks noChangeAspect="1"/>
          </p:cNvPicPr>
          <p:nvPr/>
        </p:nvPicPr>
        <p:blipFill>
          <a:blip r:embed="rId7"/>
          <a:srcRect/>
          <a:stretch/>
        </p:blipFill>
        <p:spPr>
          <a:xfrm>
            <a:off x="4889809" y="2117283"/>
            <a:ext cx="755329" cy="1093267"/>
          </a:xfrm>
          <a:prstGeom prst="rect">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306" imgH="306" progId="TCLayout.ActiveDocument.1">
                  <p:embed/>
                </p:oleObj>
              </mc:Choice>
              <mc:Fallback>
                <p:oleObj name="think-cell Folie" r:id="rId8"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7" name="Textplatzhalter 16">
            <a:extLst>
              <a:ext uri="{FF2B5EF4-FFF2-40B4-BE49-F238E27FC236}">
                <a16:creationId xmlns:a16="http://schemas.microsoft.com/office/drawing/2014/main" id="{F2B14BDE-C564-957A-5B85-09231DE2E9D2}"/>
              </a:ext>
            </a:extLst>
          </p:cNvPr>
          <p:cNvSpPr>
            <a:spLocks noGrp="1"/>
          </p:cNvSpPr>
          <p:nvPr>
            <p:ph type="body" sz="quarter" idx="12"/>
          </p:nvPr>
        </p:nvSpPr>
        <p:spPr/>
        <p:txBody>
          <a:bodyPr/>
          <a:lstStyle/>
          <a:p>
            <a:r>
              <a:rPr lang="de-DE"/>
              <a:t>Die msg-Gruppe im Überblick</a:t>
            </a:r>
          </a:p>
        </p:txBody>
      </p:sp>
      <p:sp>
        <p:nvSpPr>
          <p:cNvPr id="11" name="Titel 10">
            <a:extLst>
              <a:ext uri="{FF2B5EF4-FFF2-40B4-BE49-F238E27FC236}">
                <a16:creationId xmlns:a16="http://schemas.microsoft.com/office/drawing/2014/main" id="{0AEBF549-0BD2-EA22-A63C-778F0B485C9E}"/>
              </a:ext>
            </a:extLst>
          </p:cNvPr>
          <p:cNvSpPr>
            <a:spLocks noGrp="1"/>
          </p:cNvSpPr>
          <p:nvPr>
            <p:ph type="title"/>
          </p:nvPr>
        </p:nvSpPr>
        <p:spPr/>
        <p:txBody>
          <a:bodyPr/>
          <a:lstStyle/>
          <a:p>
            <a:r>
              <a:rPr lang="de-DE" dirty="0"/>
              <a:t>In externen Marktvergleichen und Partnerwettbewerben wird </a:t>
            </a:r>
            <a:r>
              <a:rPr lang="de-DE" dirty="0" err="1"/>
              <a:t>msg</a:t>
            </a:r>
            <a:r>
              <a:rPr lang="de-DE" dirty="0"/>
              <a:t> regelmäßig </a:t>
            </a:r>
            <a:r>
              <a:rPr lang="de-DE" b="1" dirty="0"/>
              <a:t>ausgezeichnet</a:t>
            </a:r>
          </a:p>
        </p:txBody>
      </p:sp>
      <p:sp>
        <p:nvSpPr>
          <p:cNvPr id="19" name="Fußzeilenplatzhalter 1">
            <a:extLst>
              <a:ext uri="{FF2B5EF4-FFF2-40B4-BE49-F238E27FC236}">
                <a16:creationId xmlns:a16="http://schemas.microsoft.com/office/drawing/2014/main" id="{217278DF-D223-089D-CAC1-393B1E31A23B}"/>
              </a:ext>
            </a:extLst>
          </p:cNvPr>
          <p:cNvSpPr>
            <a:spLocks noGrp="1"/>
          </p:cNvSpPr>
          <p:nvPr>
            <p:ph type="ftr" sz="quarter" idx="10"/>
          </p:nvPr>
        </p:nvSpPr>
        <p:spPr/>
        <p:txBody>
          <a:bodyPr/>
          <a:lstStyle/>
          <a:p>
            <a:r>
              <a:rPr lang="de-DE"/>
              <a:t>© msg systems ag | 2026 | msg-Unternehmensprä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16</a:t>
            </a:fld>
            <a:endParaRPr lang="de-DE"/>
          </a:p>
        </p:txBody>
      </p:sp>
      <p:sp>
        <p:nvSpPr>
          <p:cNvPr id="207" name="Textplatzhalter 14">
            <a:extLst>
              <a:ext uri="{FF2B5EF4-FFF2-40B4-BE49-F238E27FC236}">
                <a16:creationId xmlns:a16="http://schemas.microsoft.com/office/drawing/2014/main" id="{ABCB6E6F-F06F-9781-CACD-135058DC926C}"/>
              </a:ext>
            </a:extLst>
          </p:cNvPr>
          <p:cNvSpPr txBox="1">
            <a:spLocks/>
          </p:cNvSpPr>
          <p:nvPr>
            <p:custDataLst>
              <p:tags r:id="rId2"/>
            </p:custDataLst>
          </p:nvPr>
        </p:nvSpPr>
        <p:spPr>
          <a:xfrm>
            <a:off x="4883915" y="3300903"/>
            <a:ext cx="738756" cy="153888"/>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a:cs typeface="Calibri"/>
              </a:rPr>
              <a:t>Digital Core</a:t>
            </a:r>
          </a:p>
        </p:txBody>
      </p:sp>
      <p:grpSp>
        <p:nvGrpSpPr>
          <p:cNvPr id="7" name="Group 6">
            <a:extLst>
              <a:ext uri="{FF2B5EF4-FFF2-40B4-BE49-F238E27FC236}">
                <a16:creationId xmlns:a16="http://schemas.microsoft.com/office/drawing/2014/main" id="{5B2D4B68-03A3-00F0-E190-579F7C539FA6}"/>
              </a:ext>
            </a:extLst>
          </p:cNvPr>
          <p:cNvGrpSpPr/>
          <p:nvPr/>
        </p:nvGrpSpPr>
        <p:grpSpPr>
          <a:xfrm>
            <a:off x="6078027" y="2114917"/>
            <a:ext cx="757863" cy="1801539"/>
            <a:chOff x="7392678" y="2114917"/>
            <a:chExt cx="757863" cy="1801539"/>
          </a:xfrm>
        </p:grpSpPr>
        <p:pic>
          <p:nvPicPr>
            <p:cNvPr id="204" name="Grafik 13">
              <a:extLst>
                <a:ext uri="{FF2B5EF4-FFF2-40B4-BE49-F238E27FC236}">
                  <a16:creationId xmlns:a16="http://schemas.microsoft.com/office/drawing/2014/main" id="{4101BC52-05DB-6358-89EE-112175C724BE}"/>
                </a:ext>
              </a:extLst>
            </p:cNvPr>
            <p:cNvPicPr>
              <a:picLocks noChangeAspect="1"/>
            </p:cNvPicPr>
            <p:nvPr/>
          </p:nvPicPr>
          <p:blipFill>
            <a:blip r:embed="rId10"/>
            <a:stretch>
              <a:fillRect/>
            </a:stretch>
          </p:blipFill>
          <p:spPr>
            <a:xfrm>
              <a:off x="7401831" y="2114917"/>
              <a:ext cx="748710" cy="1094932"/>
            </a:xfrm>
            <a:prstGeom prst="rect">
              <a:avLst/>
            </a:prstGeom>
          </p:spPr>
        </p:pic>
        <p:sp>
          <p:nvSpPr>
            <p:cNvPr id="208" name="Textplatzhalter 14">
              <a:extLst>
                <a:ext uri="{FF2B5EF4-FFF2-40B4-BE49-F238E27FC236}">
                  <a16:creationId xmlns:a16="http://schemas.microsoft.com/office/drawing/2014/main" id="{92228F79-30AA-80E7-5F80-E0A7A4004FB2}"/>
                </a:ext>
              </a:extLst>
            </p:cNvPr>
            <p:cNvSpPr txBox="1">
              <a:spLocks/>
            </p:cNvSpPr>
            <p:nvPr/>
          </p:nvSpPr>
          <p:spPr>
            <a:xfrm>
              <a:off x="7392678" y="3300903"/>
              <a:ext cx="738756" cy="615553"/>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a:cs typeface="Calibri"/>
                </a:rPr>
                <a:t>Partner </a:t>
              </a:r>
              <a:r>
                <a:rPr lang="de-DE" sz="1000" err="1">
                  <a:cs typeface="Calibri"/>
                </a:rPr>
                <a:t>Application</a:t>
              </a:r>
              <a:r>
                <a:rPr lang="de-DE" sz="1000">
                  <a:cs typeface="Calibri"/>
                </a:rPr>
                <a:t> Industry Cloud</a:t>
              </a:r>
            </a:p>
          </p:txBody>
        </p:sp>
      </p:grpSp>
      <p:grpSp>
        <p:nvGrpSpPr>
          <p:cNvPr id="8" name="Group 7">
            <a:extLst>
              <a:ext uri="{FF2B5EF4-FFF2-40B4-BE49-F238E27FC236}">
                <a16:creationId xmlns:a16="http://schemas.microsoft.com/office/drawing/2014/main" id="{EF38DAD8-273A-3E64-0BC6-C18BDDB96293}"/>
              </a:ext>
            </a:extLst>
          </p:cNvPr>
          <p:cNvGrpSpPr/>
          <p:nvPr/>
        </p:nvGrpSpPr>
        <p:grpSpPr>
          <a:xfrm>
            <a:off x="8465082" y="2144225"/>
            <a:ext cx="747805" cy="1618343"/>
            <a:chOff x="8589108" y="2144225"/>
            <a:chExt cx="747805" cy="1618343"/>
          </a:xfrm>
        </p:grpSpPr>
        <p:pic>
          <p:nvPicPr>
            <p:cNvPr id="55" name="Grafik 54">
              <a:extLst>
                <a:ext uri="{FF2B5EF4-FFF2-40B4-BE49-F238E27FC236}">
                  <a16:creationId xmlns:a16="http://schemas.microsoft.com/office/drawing/2014/main" id="{9EC45D35-1316-CE4F-2F64-87D13003726D}"/>
                </a:ext>
              </a:extLst>
            </p:cNvPr>
            <p:cNvPicPr>
              <a:picLocks noChangeAspect="1"/>
            </p:cNvPicPr>
            <p:nvPr/>
          </p:nvPicPr>
          <p:blipFill>
            <a:blip r:embed="rId11" cstate="screen">
              <a:alphaModFix/>
              <a:extLst>
                <a:ext uri="{28A0092B-C50C-407E-A947-70E740481C1C}">
                  <a14:useLocalDpi xmlns:a14="http://schemas.microsoft.com/office/drawing/2010/main" val="0"/>
                </a:ext>
              </a:extLst>
            </a:blip>
            <a:srcRect/>
            <a:stretch>
              <a:fillRect/>
            </a:stretch>
          </p:blipFill>
          <p:spPr bwMode="auto">
            <a:xfrm>
              <a:off x="8598156" y="2144225"/>
              <a:ext cx="738757" cy="1067792"/>
            </a:xfrm>
            <a:prstGeom prst="rect">
              <a:avLst/>
            </a:prstGeom>
            <a:noFill/>
            <a:ln>
              <a:noFill/>
            </a:ln>
          </p:spPr>
        </p:pic>
        <p:sp>
          <p:nvSpPr>
            <p:cNvPr id="209" name="Textplatzhalter 14">
              <a:extLst>
                <a:ext uri="{FF2B5EF4-FFF2-40B4-BE49-F238E27FC236}">
                  <a16:creationId xmlns:a16="http://schemas.microsoft.com/office/drawing/2014/main" id="{0797A773-3911-C408-B558-6C3B74FE4D92}"/>
                </a:ext>
              </a:extLst>
            </p:cNvPr>
            <p:cNvSpPr txBox="1">
              <a:spLocks/>
            </p:cNvSpPr>
            <p:nvPr/>
          </p:nvSpPr>
          <p:spPr>
            <a:xfrm>
              <a:off x="8589108" y="3300903"/>
              <a:ext cx="738756"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err="1">
                  <a:cs typeface="Calibri"/>
                </a:rPr>
                <a:t>Platforms</a:t>
              </a:r>
              <a:r>
                <a:rPr lang="de-DE" sz="1000">
                  <a:cs typeface="Calibri"/>
                </a:rPr>
                <a:t> &amp; Technology</a:t>
              </a:r>
            </a:p>
            <a:p>
              <a:pPr>
                <a:lnSpc>
                  <a:spcPts val="1200"/>
                </a:lnSpc>
              </a:pPr>
              <a:r>
                <a:rPr lang="de-DE" sz="1000">
                  <a:cs typeface="Calibri"/>
                </a:rPr>
                <a:t>(Cloud)</a:t>
              </a:r>
            </a:p>
          </p:txBody>
        </p:sp>
      </p:grpSp>
      <p:grpSp>
        <p:nvGrpSpPr>
          <p:cNvPr id="10" name="Group 9">
            <a:extLst>
              <a:ext uri="{FF2B5EF4-FFF2-40B4-BE49-F238E27FC236}">
                <a16:creationId xmlns:a16="http://schemas.microsoft.com/office/drawing/2014/main" id="{B1FB4A73-EC3C-BBB7-A7BF-3D4DB32D90C9}"/>
              </a:ext>
            </a:extLst>
          </p:cNvPr>
          <p:cNvGrpSpPr/>
          <p:nvPr/>
        </p:nvGrpSpPr>
        <p:grpSpPr>
          <a:xfrm>
            <a:off x="9644144" y="2144225"/>
            <a:ext cx="747700" cy="1618343"/>
            <a:chOff x="9775768" y="2144225"/>
            <a:chExt cx="747700" cy="1618343"/>
          </a:xfrm>
        </p:grpSpPr>
        <p:pic>
          <p:nvPicPr>
            <p:cNvPr id="202" name="Grafik 201">
              <a:extLst>
                <a:ext uri="{FF2B5EF4-FFF2-40B4-BE49-F238E27FC236}">
                  <a16:creationId xmlns:a16="http://schemas.microsoft.com/office/drawing/2014/main" id="{ACFEB285-AB60-0AB6-2D63-34E65050E449}"/>
                </a:ext>
              </a:extLst>
            </p:cNvPr>
            <p:cNvPicPr>
              <a:picLocks noChangeAspect="1"/>
            </p:cNvPicPr>
            <p:nvPr/>
          </p:nvPicPr>
          <p:blipFill>
            <a:blip r:embed="rId11" cstate="screen">
              <a:alphaModFix/>
              <a:extLst>
                <a:ext uri="{28A0092B-C50C-407E-A947-70E740481C1C}">
                  <a14:useLocalDpi xmlns:a14="http://schemas.microsoft.com/office/drawing/2010/main" val="0"/>
                </a:ext>
              </a:extLst>
            </a:blip>
            <a:srcRect/>
            <a:stretch>
              <a:fillRect/>
            </a:stretch>
          </p:blipFill>
          <p:spPr bwMode="auto">
            <a:xfrm>
              <a:off x="9784711" y="2144225"/>
              <a:ext cx="738757" cy="1067792"/>
            </a:xfrm>
            <a:prstGeom prst="rect">
              <a:avLst/>
            </a:prstGeom>
            <a:noFill/>
            <a:ln>
              <a:noFill/>
            </a:ln>
          </p:spPr>
        </p:pic>
        <p:sp>
          <p:nvSpPr>
            <p:cNvPr id="210" name="Textplatzhalter 14">
              <a:extLst>
                <a:ext uri="{FF2B5EF4-FFF2-40B4-BE49-F238E27FC236}">
                  <a16:creationId xmlns:a16="http://schemas.microsoft.com/office/drawing/2014/main" id="{DF7F3355-0674-7F2A-10B7-47D9740EDC23}"/>
                </a:ext>
              </a:extLst>
            </p:cNvPr>
            <p:cNvSpPr txBox="1">
              <a:spLocks/>
            </p:cNvSpPr>
            <p:nvPr/>
          </p:nvSpPr>
          <p:spPr>
            <a:xfrm>
              <a:off x="9775768" y="3300903"/>
              <a:ext cx="738756"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err="1">
                  <a:cs typeface="Calibri"/>
                </a:rPr>
                <a:t>Platforms</a:t>
              </a:r>
              <a:r>
                <a:rPr lang="de-DE" sz="1000">
                  <a:cs typeface="Calibri"/>
                </a:rPr>
                <a:t> &amp; Technology</a:t>
              </a:r>
            </a:p>
            <a:p>
              <a:pPr>
                <a:lnSpc>
                  <a:spcPts val="1200"/>
                </a:lnSpc>
              </a:pPr>
              <a:r>
                <a:rPr lang="de-DE" sz="1000">
                  <a:cs typeface="Calibri"/>
                </a:rPr>
                <a:t>(On </a:t>
              </a:r>
              <a:r>
                <a:rPr lang="de-DE" sz="1000" err="1">
                  <a:cs typeface="Calibri"/>
                </a:rPr>
                <a:t>Premise</a:t>
              </a:r>
              <a:r>
                <a:rPr lang="de-DE" sz="1000">
                  <a:cs typeface="Calibri"/>
                </a:rPr>
                <a:t>)</a:t>
              </a:r>
            </a:p>
          </p:txBody>
        </p:sp>
      </p:grpSp>
      <p:grpSp>
        <p:nvGrpSpPr>
          <p:cNvPr id="12" name="Group 11">
            <a:extLst>
              <a:ext uri="{FF2B5EF4-FFF2-40B4-BE49-F238E27FC236}">
                <a16:creationId xmlns:a16="http://schemas.microsoft.com/office/drawing/2014/main" id="{8AAE7666-2456-BB8A-FD34-7D8A6B5CD3D1}"/>
              </a:ext>
            </a:extLst>
          </p:cNvPr>
          <p:cNvGrpSpPr/>
          <p:nvPr/>
        </p:nvGrpSpPr>
        <p:grpSpPr>
          <a:xfrm>
            <a:off x="10823099" y="2144225"/>
            <a:ext cx="739687" cy="1764611"/>
            <a:chOff x="10971266" y="2144225"/>
            <a:chExt cx="739687" cy="1764611"/>
          </a:xfrm>
        </p:grpSpPr>
        <p:pic>
          <p:nvPicPr>
            <p:cNvPr id="203" name="Grafik 202">
              <a:extLst>
                <a:ext uri="{FF2B5EF4-FFF2-40B4-BE49-F238E27FC236}">
                  <a16:creationId xmlns:a16="http://schemas.microsoft.com/office/drawing/2014/main" id="{AFE23080-19D6-46E9-49D5-CEC46005529A}"/>
                </a:ext>
              </a:extLst>
            </p:cNvPr>
            <p:cNvPicPr>
              <a:picLocks noChangeAspect="1"/>
            </p:cNvPicPr>
            <p:nvPr/>
          </p:nvPicPr>
          <p:blipFill>
            <a:blip r:embed="rId11" cstate="screen">
              <a:alphaModFix/>
              <a:extLst>
                <a:ext uri="{28A0092B-C50C-407E-A947-70E740481C1C}">
                  <a14:useLocalDpi xmlns:a14="http://schemas.microsoft.com/office/drawing/2010/main" val="0"/>
                </a:ext>
              </a:extLst>
            </a:blip>
            <a:srcRect/>
            <a:stretch>
              <a:fillRect/>
            </a:stretch>
          </p:blipFill>
          <p:spPr bwMode="auto">
            <a:xfrm>
              <a:off x="10971266" y="2144225"/>
              <a:ext cx="738757" cy="1067792"/>
            </a:xfrm>
            <a:prstGeom prst="rect">
              <a:avLst/>
            </a:prstGeom>
            <a:noFill/>
            <a:ln>
              <a:noFill/>
            </a:ln>
          </p:spPr>
        </p:pic>
        <p:sp>
          <p:nvSpPr>
            <p:cNvPr id="211" name="Textplatzhalter 14">
              <a:extLst>
                <a:ext uri="{FF2B5EF4-FFF2-40B4-BE49-F238E27FC236}">
                  <a16:creationId xmlns:a16="http://schemas.microsoft.com/office/drawing/2014/main" id="{93F6D54B-1FB6-9EA4-D4D6-2DD3D5C116E3}"/>
                </a:ext>
              </a:extLst>
            </p:cNvPr>
            <p:cNvSpPr txBox="1">
              <a:spLocks/>
            </p:cNvSpPr>
            <p:nvPr/>
          </p:nvSpPr>
          <p:spPr>
            <a:xfrm>
              <a:off x="10972197" y="3293283"/>
              <a:ext cx="738756" cy="615553"/>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a:cs typeface="Calibri"/>
                </a:rPr>
                <a:t>Partner </a:t>
              </a:r>
              <a:r>
                <a:rPr lang="de-DE" sz="1000" err="1">
                  <a:cs typeface="Calibri"/>
                </a:rPr>
                <a:t>Application</a:t>
              </a:r>
              <a:r>
                <a:rPr lang="de-DE" sz="1000">
                  <a:cs typeface="Calibri"/>
                </a:rPr>
                <a:t> Industry Cloud</a:t>
              </a:r>
            </a:p>
          </p:txBody>
        </p:sp>
      </p:grpSp>
      <p:sp>
        <p:nvSpPr>
          <p:cNvPr id="212" name="Textplatzhalter 14">
            <a:extLst>
              <a:ext uri="{FF2B5EF4-FFF2-40B4-BE49-F238E27FC236}">
                <a16:creationId xmlns:a16="http://schemas.microsoft.com/office/drawing/2014/main" id="{ED2F8396-D79F-5F62-8BE3-DD232906386B}"/>
              </a:ext>
            </a:extLst>
          </p:cNvPr>
          <p:cNvSpPr txBox="1">
            <a:spLocks/>
          </p:cNvSpPr>
          <p:nvPr>
            <p:custDataLst>
              <p:tags r:id="rId3"/>
            </p:custDataLst>
          </p:nvPr>
        </p:nvSpPr>
        <p:spPr>
          <a:xfrm>
            <a:off x="623888" y="4352727"/>
            <a:ext cx="5111749" cy="503023"/>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400">
                <a:solidFill>
                  <a:srgbClr val="A01441"/>
                </a:solidFill>
                <a:cs typeface="Calibri"/>
              </a:rPr>
              <a:t>Als einziges Unternehmen seit Beginn der Erhebung </a:t>
            </a:r>
          </a:p>
          <a:p>
            <a:pPr>
              <a:lnSpc>
                <a:spcPts val="1960"/>
              </a:lnSpc>
            </a:pPr>
            <a:r>
              <a:rPr lang="de-DE" sz="1400">
                <a:solidFill>
                  <a:srgbClr val="A01441"/>
                </a:solidFill>
                <a:cs typeface="Calibri"/>
              </a:rPr>
              <a:t>im Jahr 1998 dauerhaft in den Top 25 vertreten.</a:t>
            </a:r>
          </a:p>
        </p:txBody>
      </p:sp>
      <p:sp>
        <p:nvSpPr>
          <p:cNvPr id="217" name="Textfeld 216">
            <a:extLst>
              <a:ext uri="{FF2B5EF4-FFF2-40B4-BE49-F238E27FC236}">
                <a16:creationId xmlns:a16="http://schemas.microsoft.com/office/drawing/2014/main" id="{0E4B8388-5F72-0CBF-1155-16FBDF54CB56}"/>
              </a:ext>
            </a:extLst>
          </p:cNvPr>
          <p:cNvSpPr txBox="1"/>
          <p:nvPr>
            <p:custDataLst>
              <p:tags r:id="rId4"/>
            </p:custDataLst>
          </p:nvPr>
        </p:nvSpPr>
        <p:spPr>
          <a:xfrm>
            <a:off x="623888" y="5005256"/>
            <a:ext cx="1080000" cy="1080000"/>
          </a:xfrm>
          <a:prstGeom prst="ellipse">
            <a:avLst/>
          </a:prstGeom>
          <a:solidFill>
            <a:schemeClr val="bg2">
              <a:lumMod val="50000"/>
            </a:schemeClr>
          </a:solidFill>
          <a:ln w="50800">
            <a:noFill/>
          </a:ln>
        </p:spPr>
        <p:txBody>
          <a:bodyPr wrap="none" lIns="0" tIns="0" rIns="0" bIns="0" rtlCol="0" anchor="ctr">
            <a:noAutofit/>
          </a:bodyPr>
          <a:lstStyle/>
          <a:p>
            <a:pPr algn="ctr">
              <a:lnSpc>
                <a:spcPts val="2300"/>
              </a:lnSpc>
              <a:buClr>
                <a:srgbClr val="A01441"/>
              </a:buClr>
              <a:defRPr/>
            </a:pPr>
            <a:r>
              <a:rPr lang="de-DE" dirty="0">
                <a:solidFill>
                  <a:schemeClr val="bg1"/>
                </a:solidFill>
                <a:cs typeface="Calibri Light"/>
              </a:rPr>
              <a:t>2025</a:t>
            </a:r>
            <a:br>
              <a:rPr lang="de-DE" dirty="0">
                <a:solidFill>
                  <a:schemeClr val="bg1"/>
                </a:solidFill>
                <a:cs typeface="Calibri Light"/>
              </a:rPr>
            </a:br>
            <a:r>
              <a:rPr kumimoji="0" lang="de-DE" sz="2400" u="none" strike="noStrike" kern="1200" cap="none" spc="0" normalizeH="0" baseline="0" noProof="0" dirty="0">
                <a:ln>
                  <a:noFill/>
                </a:ln>
                <a:solidFill>
                  <a:schemeClr val="bg1"/>
                </a:solidFill>
                <a:effectLst/>
                <a:uLnTx/>
                <a:uFillTx/>
                <a:ea typeface="+mn-ea"/>
                <a:cs typeface="Calibri Light"/>
              </a:rPr>
              <a:t>Platz</a:t>
            </a:r>
            <a:endParaRPr lang="en-US" dirty="0">
              <a:solidFill>
                <a:schemeClr val="bg1"/>
              </a:solidFill>
            </a:endParaRPr>
          </a:p>
          <a:p>
            <a:pPr algn="ctr">
              <a:lnSpc>
                <a:spcPts val="2300"/>
              </a:lnSpc>
              <a:defRPr/>
            </a:pPr>
            <a:r>
              <a:rPr lang="de-DE" sz="2400" dirty="0">
                <a:solidFill>
                  <a:schemeClr val="bg1"/>
                </a:solidFill>
                <a:cs typeface="Calibri Light"/>
              </a:rPr>
              <a:t>5</a:t>
            </a:r>
            <a:endParaRPr lang="de-DE" dirty="0">
              <a:solidFill>
                <a:schemeClr val="bg1"/>
              </a:solidFill>
            </a:endParaRPr>
          </a:p>
        </p:txBody>
      </p:sp>
      <p:pic>
        <p:nvPicPr>
          <p:cNvPr id="219" name="Grafik 218">
            <a:extLst>
              <a:ext uri="{FF2B5EF4-FFF2-40B4-BE49-F238E27FC236}">
                <a16:creationId xmlns:a16="http://schemas.microsoft.com/office/drawing/2014/main" id="{671B9582-9406-FAA2-37BC-37A058B0A087}"/>
              </a:ext>
            </a:extLst>
          </p:cNvPr>
          <p:cNvPicPr>
            <a:picLocks noChangeAspect="1"/>
          </p:cNvPicPr>
          <p:nvPr/>
        </p:nvPicPr>
        <p:blipFill>
          <a:blip cstate="email">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942439" y="5445218"/>
            <a:ext cx="2300264" cy="264530"/>
          </a:xfrm>
          <a:prstGeom prst="rect">
            <a:avLst/>
          </a:prstGeom>
        </p:spPr>
      </p:pic>
      <p:pic>
        <p:nvPicPr>
          <p:cNvPr id="222" name="Grafik 23">
            <a:extLst>
              <a:ext uri="{FF2B5EF4-FFF2-40B4-BE49-F238E27FC236}">
                <a16:creationId xmlns:a16="http://schemas.microsoft.com/office/drawing/2014/main" id="{B81A9B0D-E8B7-4D31-5DD6-6BEBC8F4B96C}"/>
              </a:ext>
            </a:extLst>
          </p:cNvPr>
          <p:cNvPicPr>
            <a:picLocks noChangeAspect="1"/>
          </p:cNvPicPr>
          <p:nvPr/>
        </p:nvPicPr>
        <p:blipFill>
          <a:blip r:embed="rId13"/>
          <a:stretch>
            <a:fillRect/>
          </a:stretch>
        </p:blipFill>
        <p:spPr>
          <a:xfrm>
            <a:off x="8631996" y="4419601"/>
            <a:ext cx="1081502" cy="1692842"/>
          </a:xfrm>
          <a:prstGeom prst="rect">
            <a:avLst/>
          </a:prstGeom>
        </p:spPr>
      </p:pic>
      <p:cxnSp>
        <p:nvCxnSpPr>
          <p:cNvPr id="205" name="Gerade Verbindung 204">
            <a:extLst>
              <a:ext uri="{FF2B5EF4-FFF2-40B4-BE49-F238E27FC236}">
                <a16:creationId xmlns:a16="http://schemas.microsoft.com/office/drawing/2014/main" id="{1A108ED2-2646-31E0-FF85-E9E5921A2B17}"/>
              </a:ext>
            </a:extLst>
          </p:cNvPr>
          <p:cNvCxnSpPr>
            <a:cxnSpLocks/>
          </p:cNvCxnSpPr>
          <p:nvPr/>
        </p:nvCxnSpPr>
        <p:spPr>
          <a:xfrm>
            <a:off x="623888" y="4148552"/>
            <a:ext cx="11233150"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4" name="Grafik 3" descr="Ein Bild, das Text, Schrift, Screenshot, Grafiken enthält.&#10;&#10;Beschreibung automatisch generiert.">
            <a:extLst>
              <a:ext uri="{FF2B5EF4-FFF2-40B4-BE49-F238E27FC236}">
                <a16:creationId xmlns:a16="http://schemas.microsoft.com/office/drawing/2014/main" id="{9B7492C2-7FAB-078E-B169-718F4D9CA279}"/>
              </a:ext>
            </a:extLst>
          </p:cNvPr>
          <p:cNvPicPr>
            <a:picLocks noChangeAspect="1"/>
          </p:cNvPicPr>
          <p:nvPr/>
        </p:nvPicPr>
        <p:blipFill rotWithShape="1">
          <a:blip r:embed="rId14"/>
          <a:srcRect t="4020" r="-794" b="-503"/>
          <a:stretch/>
        </p:blipFill>
        <p:spPr>
          <a:xfrm>
            <a:off x="6703477" y="4419601"/>
            <a:ext cx="1199697" cy="1792014"/>
          </a:xfrm>
          <a:prstGeom prst="rect">
            <a:avLst/>
          </a:prstGeom>
        </p:spPr>
      </p:pic>
      <p:pic>
        <p:nvPicPr>
          <p:cNvPr id="14" name="Grafik 13" descr="Ein Bild, das Text, Schrift, Poster, Grafiken enthält.&#10;&#10;Beschreibung automatisch generiert.">
            <a:extLst>
              <a:ext uri="{FF2B5EF4-FFF2-40B4-BE49-F238E27FC236}">
                <a16:creationId xmlns:a16="http://schemas.microsoft.com/office/drawing/2014/main" id="{91A732CC-A0BE-0063-38B5-332404DBF59E}"/>
              </a:ext>
            </a:extLst>
          </p:cNvPr>
          <p:cNvPicPr>
            <a:picLocks noChangeAspect="1"/>
          </p:cNvPicPr>
          <p:nvPr/>
        </p:nvPicPr>
        <p:blipFill>
          <a:blip r:embed="rId15"/>
          <a:stretch>
            <a:fillRect/>
          </a:stretch>
        </p:blipFill>
        <p:spPr>
          <a:xfrm>
            <a:off x="4885248" y="4419601"/>
            <a:ext cx="1079308" cy="1696711"/>
          </a:xfrm>
          <a:prstGeom prst="rect">
            <a:avLst/>
          </a:prstGeom>
        </p:spPr>
      </p:pic>
      <p:pic>
        <p:nvPicPr>
          <p:cNvPr id="2" name="Grafik 1" descr="aws partner network logo">
            <a:extLst>
              <a:ext uri="{FF2B5EF4-FFF2-40B4-BE49-F238E27FC236}">
                <a16:creationId xmlns:a16="http://schemas.microsoft.com/office/drawing/2014/main" id="{8D2B16CC-C493-6B12-50DF-D9EA173185E1}"/>
              </a:ext>
            </a:extLst>
          </p:cNvPr>
          <p:cNvPicPr>
            <a:picLocks noChangeAspect="1"/>
          </p:cNvPicPr>
          <p:nvPr/>
        </p:nvPicPr>
        <p:blipFill>
          <a:blip r:embed="rId16"/>
          <a:stretch>
            <a:fillRect/>
          </a:stretch>
        </p:blipFill>
        <p:spPr>
          <a:xfrm>
            <a:off x="638493" y="2147643"/>
            <a:ext cx="2743196" cy="455818"/>
          </a:xfrm>
          <a:prstGeom prst="rect">
            <a:avLst/>
          </a:prstGeom>
        </p:spPr>
      </p:pic>
      <p:pic>
        <p:nvPicPr>
          <p:cNvPr id="5" name="Picture 4">
            <a:extLst>
              <a:ext uri="{FF2B5EF4-FFF2-40B4-BE49-F238E27FC236}">
                <a16:creationId xmlns:a16="http://schemas.microsoft.com/office/drawing/2014/main" id="{2F3688F9-C132-602A-B21C-9623A7F84F9C}"/>
              </a:ext>
            </a:extLst>
          </p:cNvPr>
          <p:cNvPicPr>
            <a:picLocks noChangeAspect="1"/>
          </p:cNvPicPr>
          <p:nvPr/>
        </p:nvPicPr>
        <p:blipFill>
          <a:blip r:embed="rId17"/>
          <a:stretch>
            <a:fillRect/>
          </a:stretch>
        </p:blipFill>
        <p:spPr>
          <a:xfrm>
            <a:off x="628968" y="2920402"/>
            <a:ext cx="3426773" cy="1046718"/>
          </a:xfrm>
          <a:prstGeom prst="rect">
            <a:avLst/>
          </a:prstGeom>
        </p:spPr>
      </p:pic>
      <p:pic>
        <p:nvPicPr>
          <p:cNvPr id="3" name="Picture 2">
            <a:extLst>
              <a:ext uri="{FF2B5EF4-FFF2-40B4-BE49-F238E27FC236}">
                <a16:creationId xmlns:a16="http://schemas.microsoft.com/office/drawing/2014/main" id="{0FF81B0F-6B8A-E93C-DA53-980484750E74}"/>
              </a:ext>
            </a:extLst>
          </p:cNvPr>
          <p:cNvPicPr>
            <a:picLocks noChangeAspect="1"/>
          </p:cNvPicPr>
          <p:nvPr/>
        </p:nvPicPr>
        <p:blipFill>
          <a:blip r:embed="rId18"/>
          <a:stretch>
            <a:fillRect/>
          </a:stretch>
        </p:blipFill>
        <p:spPr>
          <a:xfrm>
            <a:off x="10450225" y="4421605"/>
            <a:ext cx="1107313" cy="1694447"/>
          </a:xfrm>
          <a:prstGeom prst="rect">
            <a:avLst/>
          </a:prstGeom>
        </p:spPr>
      </p:pic>
      <p:grpSp>
        <p:nvGrpSpPr>
          <p:cNvPr id="18" name="Gruppieren 17">
            <a:extLst>
              <a:ext uri="{FF2B5EF4-FFF2-40B4-BE49-F238E27FC236}">
                <a16:creationId xmlns:a16="http://schemas.microsoft.com/office/drawing/2014/main" id="{6A23B141-C60D-B61E-680C-FE572E903A89}"/>
              </a:ext>
            </a:extLst>
          </p:cNvPr>
          <p:cNvGrpSpPr/>
          <p:nvPr/>
        </p:nvGrpSpPr>
        <p:grpSpPr>
          <a:xfrm>
            <a:off x="7267147" y="2131899"/>
            <a:ext cx="766678" cy="1466954"/>
            <a:chOff x="7272003" y="2131899"/>
            <a:chExt cx="766678" cy="1466954"/>
          </a:xfrm>
        </p:grpSpPr>
        <p:pic>
          <p:nvPicPr>
            <p:cNvPr id="6" name="Grafik 5" descr="Ein Bild, das Text, Schrift, Logo, Grafiken enthält.&#10;&#10;Automatisch generierte Beschreibung">
              <a:extLst>
                <a:ext uri="{FF2B5EF4-FFF2-40B4-BE49-F238E27FC236}">
                  <a16:creationId xmlns:a16="http://schemas.microsoft.com/office/drawing/2014/main" id="{686B4C37-7A53-2EFE-F447-579B7BB2F100}"/>
                </a:ext>
              </a:extLst>
            </p:cNvPr>
            <p:cNvPicPr>
              <a:picLocks noChangeAspect="1"/>
            </p:cNvPicPr>
            <p:nvPr/>
          </p:nvPicPr>
          <p:blipFill rotWithShape="1">
            <a:blip r:embed="rId19"/>
            <a:srcRect l="26134" t="15959" r="25622" b="15868"/>
            <a:stretch/>
          </p:blipFill>
          <p:spPr>
            <a:xfrm>
              <a:off x="7272772" y="2131899"/>
              <a:ext cx="765909" cy="1085118"/>
            </a:xfrm>
            <a:prstGeom prst="rect">
              <a:avLst/>
            </a:prstGeom>
          </p:spPr>
        </p:pic>
        <p:sp>
          <p:nvSpPr>
            <p:cNvPr id="13" name="Textplatzhalter 14">
              <a:extLst>
                <a:ext uri="{FF2B5EF4-FFF2-40B4-BE49-F238E27FC236}">
                  <a16:creationId xmlns:a16="http://schemas.microsoft.com/office/drawing/2014/main" id="{5F7C7FB2-24AB-5905-020F-CF2DD1078D8A}"/>
                </a:ext>
              </a:extLst>
            </p:cNvPr>
            <p:cNvSpPr txBox="1">
              <a:spLocks/>
            </p:cNvSpPr>
            <p:nvPr/>
          </p:nvSpPr>
          <p:spPr>
            <a:xfrm>
              <a:off x="7272003" y="3291076"/>
              <a:ext cx="738756" cy="30777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a:cs typeface="Calibri"/>
                </a:rPr>
                <a:t>AI Partner Innovation</a:t>
              </a:r>
              <a:endParaRPr lang="en-US"/>
            </a:p>
          </p:txBody>
        </p:sp>
      </p:grpSp>
    </p:spTree>
    <p:extLst>
      <p:ext uri="{BB962C8B-B14F-4D97-AF65-F5344CB8AC3E}">
        <p14:creationId xmlns:p14="http://schemas.microsoft.com/office/powerpoint/2010/main" val="299360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655AC25-CD4B-58AD-6986-5059D18873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3" imgW="306" imgH="306" progId="TCLayout.ActiveDocument.1">
                  <p:embed/>
                </p:oleObj>
              </mc:Choice>
              <mc:Fallback>
                <p:oleObj name="think-cell Folie" r:id="rId23" imgW="306" imgH="306" progId="TCLayout.ActiveDocument.1">
                  <p:embed/>
                  <p:pic>
                    <p:nvPicPr>
                      <p:cNvPr id="5" name="think-cell data - do not delete" hidden="1">
                        <a:extLst>
                          <a:ext uri="{FF2B5EF4-FFF2-40B4-BE49-F238E27FC236}">
                            <a16:creationId xmlns:a16="http://schemas.microsoft.com/office/drawing/2014/main" id="{C655AC25-CD4B-58AD-6986-5059D188734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8" name="Textplatzhalter 17">
            <a:extLst>
              <a:ext uri="{FF2B5EF4-FFF2-40B4-BE49-F238E27FC236}">
                <a16:creationId xmlns:a16="http://schemas.microsoft.com/office/drawing/2014/main" id="{FA166ECF-1838-5632-0438-D5E88871F3A1}"/>
              </a:ext>
            </a:extLst>
          </p:cNvPr>
          <p:cNvSpPr>
            <a:spLocks noGrp="1"/>
          </p:cNvSpPr>
          <p:nvPr>
            <p:ph type="body" sz="quarter" idx="12"/>
          </p:nvPr>
        </p:nvSpPr>
        <p:spPr>
          <a:xfrm>
            <a:off x="623888" y="296863"/>
            <a:ext cx="9488833" cy="169277"/>
          </a:xfrm>
        </p:spPr>
        <p:txBody>
          <a:bodyPr/>
          <a:lstStyle/>
          <a:p>
            <a:r>
              <a:rPr lang="de-DE"/>
              <a:t>Die msg-Gruppe im Überblick</a:t>
            </a:r>
          </a:p>
        </p:txBody>
      </p:sp>
      <p:sp>
        <p:nvSpPr>
          <p:cNvPr id="17" name="Titel 16">
            <a:extLst>
              <a:ext uri="{FF2B5EF4-FFF2-40B4-BE49-F238E27FC236}">
                <a16:creationId xmlns:a16="http://schemas.microsoft.com/office/drawing/2014/main" id="{070C543E-652F-AD9B-EACE-2290BAFC78F0}"/>
              </a:ext>
            </a:extLst>
          </p:cNvPr>
          <p:cNvSpPr>
            <a:spLocks noGrp="1"/>
          </p:cNvSpPr>
          <p:nvPr>
            <p:ph type="title"/>
          </p:nvPr>
        </p:nvSpPr>
        <p:spPr>
          <a:xfrm>
            <a:off x="623888" y="620713"/>
            <a:ext cx="9488833" cy="738664"/>
          </a:xfrm>
        </p:spPr>
        <p:txBody>
          <a:bodyPr/>
          <a:lstStyle/>
          <a:p>
            <a:r>
              <a:rPr lang="de-DE" dirty="0"/>
              <a:t>Unser Verständnis für das Geschäft unserer Kunden zeichnet uns </a:t>
            </a:r>
            <a:br>
              <a:rPr lang="de-DE" dirty="0"/>
            </a:br>
            <a:r>
              <a:rPr lang="de-DE" dirty="0"/>
              <a:t>auf allen Ebenen aus – auch im </a:t>
            </a:r>
            <a:r>
              <a:rPr lang="de-DE" b="1" dirty="0"/>
              <a:t>Vorstand der Unternehmensgruppe</a:t>
            </a:r>
          </a:p>
        </p:txBody>
      </p:sp>
      <p:sp>
        <p:nvSpPr>
          <p:cNvPr id="6" name="Fußzeilenplatzhalter 1">
            <a:extLst>
              <a:ext uri="{FF2B5EF4-FFF2-40B4-BE49-F238E27FC236}">
                <a16:creationId xmlns:a16="http://schemas.microsoft.com/office/drawing/2014/main" id="{A79D3A81-E14F-BBF0-206A-96233CE0C7F4}"/>
              </a:ext>
            </a:extLst>
          </p:cNvPr>
          <p:cNvSpPr>
            <a:spLocks noGrp="1"/>
          </p:cNvSpPr>
          <p:nvPr>
            <p:ph type="ftr" sz="quarter" idx="10"/>
          </p:nvPr>
        </p:nvSpPr>
        <p:spPr>
          <a:xfrm>
            <a:off x="655780" y="6443762"/>
            <a:ext cx="4968501" cy="153888"/>
          </a:xfrm>
        </p:spPr>
        <p:txBody>
          <a:bodyPr/>
          <a:lstStyle/>
          <a:p>
            <a:r>
              <a:rPr lang="de-DE"/>
              <a:t>© msg systems ag | 2026 | msg-Unternehmenspräsentation</a:t>
            </a:r>
            <a:endParaRPr lang="de-DE" dirty="0"/>
          </a:p>
        </p:txBody>
      </p:sp>
      <p:sp>
        <p:nvSpPr>
          <p:cNvPr id="61" name="Foliennummernplatzhalter 2">
            <a:extLst>
              <a:ext uri="{FF2B5EF4-FFF2-40B4-BE49-F238E27FC236}">
                <a16:creationId xmlns:a16="http://schemas.microsoft.com/office/drawing/2014/main" id="{0649460C-C56E-3FB8-1A17-F98FFE826BED}"/>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17</a:t>
            </a:fld>
            <a:endParaRPr lang="de-DE" dirty="0"/>
          </a:p>
        </p:txBody>
      </p:sp>
      <p:sp>
        <p:nvSpPr>
          <p:cNvPr id="7" name="Ellipse 10">
            <a:extLst>
              <a:ext uri="{FF2B5EF4-FFF2-40B4-BE49-F238E27FC236}">
                <a16:creationId xmlns:a16="http://schemas.microsoft.com/office/drawing/2014/main" id="{F2101DD0-5732-5238-34FF-8340D9561FFA}"/>
              </a:ext>
            </a:extLst>
          </p:cNvPr>
          <p:cNvSpPr/>
          <p:nvPr>
            <p:custDataLst>
              <p:tags r:id="rId2"/>
            </p:custDataLst>
          </p:nvPr>
        </p:nvSpPr>
        <p:spPr>
          <a:xfrm>
            <a:off x="623888" y="1783912"/>
            <a:ext cx="1832518" cy="1832518"/>
          </a:xfrm>
          <a:prstGeom prst="ellipse">
            <a:avLst/>
          </a:prstGeom>
          <a:blipFill dpi="0" rotWithShape="1">
            <a:blip r:embed="rId25"/>
            <a:srcRect/>
            <a:stretch>
              <a:fillRect b="-200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8" name="Oval 7">
            <a:extLst>
              <a:ext uri="{FF2B5EF4-FFF2-40B4-BE49-F238E27FC236}">
                <a16:creationId xmlns:a16="http://schemas.microsoft.com/office/drawing/2014/main" id="{58EF4BA8-3F34-A68F-330B-3A66F3B440E6}"/>
              </a:ext>
            </a:extLst>
          </p:cNvPr>
          <p:cNvSpPr/>
          <p:nvPr>
            <p:custDataLst>
              <p:tags r:id="rId3"/>
            </p:custDataLst>
          </p:nvPr>
        </p:nvSpPr>
        <p:spPr>
          <a:xfrm>
            <a:off x="721402" y="1881427"/>
            <a:ext cx="1638000" cy="1637489"/>
          </a:xfrm>
          <a:prstGeom prst="ellipse">
            <a:avLst/>
          </a:prstGeom>
          <a:blipFill>
            <a:blip r:embed="rId26"/>
            <a:stretch>
              <a:fillRect l="-50641" t="-57262" r="-62539" b="-167871"/>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dirty="0"/>
          </a:p>
        </p:txBody>
      </p:sp>
      <p:sp>
        <p:nvSpPr>
          <p:cNvPr id="10" name="Textplatzhalter 38">
            <a:extLst>
              <a:ext uri="{FF2B5EF4-FFF2-40B4-BE49-F238E27FC236}">
                <a16:creationId xmlns:a16="http://schemas.microsoft.com/office/drawing/2014/main" id="{35050FBB-716B-4635-7D15-A25AC9155892}"/>
              </a:ext>
            </a:extLst>
          </p:cNvPr>
          <p:cNvSpPr txBox="1">
            <a:spLocks/>
          </p:cNvSpPr>
          <p:nvPr>
            <p:custDataLst>
              <p:tags r:id="rId4"/>
            </p:custDataLst>
          </p:nvPr>
        </p:nvSpPr>
        <p:spPr>
          <a:xfrm>
            <a:off x="6608865" y="4020520"/>
            <a:ext cx="1372186"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dirty="0">
                <a:solidFill>
                  <a:schemeClr val="tx1"/>
                </a:solidFill>
                <a:latin typeface="Aptos Light" panose="020B0004020202020204" pitchFamily="34" charset="0"/>
              </a:rPr>
              <a:t>Karsten</a:t>
            </a:r>
          </a:p>
          <a:p>
            <a:pPr marL="7620">
              <a:lnSpc>
                <a:spcPts val="1000"/>
              </a:lnSpc>
            </a:pPr>
            <a:r>
              <a:rPr lang="de-DE" sz="1700" dirty="0" err="1">
                <a:solidFill>
                  <a:schemeClr val="tx1"/>
                </a:solidFill>
                <a:latin typeface="Aptos Light" panose="020B0004020202020204" pitchFamily="34" charset="0"/>
              </a:rPr>
              <a:t>Redenius</a:t>
            </a:r>
            <a:endParaRPr lang="de-DE" sz="1700" dirty="0">
              <a:solidFill>
                <a:schemeClr val="tx1"/>
              </a:solidFill>
              <a:latin typeface="Aptos Light" panose="020B0004020202020204" pitchFamily="34" charset="0"/>
              <a:cs typeface="Open Sans"/>
            </a:endParaRPr>
          </a:p>
        </p:txBody>
      </p:sp>
      <p:sp>
        <p:nvSpPr>
          <p:cNvPr id="11" name="Textplatzhalter 38">
            <a:extLst>
              <a:ext uri="{FF2B5EF4-FFF2-40B4-BE49-F238E27FC236}">
                <a16:creationId xmlns:a16="http://schemas.microsoft.com/office/drawing/2014/main" id="{BEBD3B80-EBDB-5835-9EF6-3C6F26C897F6}"/>
              </a:ext>
            </a:extLst>
          </p:cNvPr>
          <p:cNvSpPr txBox="1">
            <a:spLocks/>
          </p:cNvSpPr>
          <p:nvPr>
            <p:custDataLst>
              <p:tags r:id="rId5"/>
            </p:custDataLst>
          </p:nvPr>
        </p:nvSpPr>
        <p:spPr>
          <a:xfrm>
            <a:off x="3738559" y="4020520"/>
            <a:ext cx="1104757"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dirty="0">
                <a:solidFill>
                  <a:schemeClr val="tx1"/>
                </a:solidFill>
                <a:latin typeface="Aptos Light" panose="020B0004020202020204" pitchFamily="34" charset="0"/>
              </a:rPr>
              <a:t>Michael </a:t>
            </a:r>
            <a:br>
              <a:rPr lang="de-DE" sz="1700" dirty="0">
                <a:solidFill>
                  <a:schemeClr val="tx1"/>
                </a:solidFill>
                <a:latin typeface="Aptos Light" panose="020B0004020202020204" pitchFamily="34" charset="0"/>
              </a:rPr>
            </a:br>
            <a:r>
              <a:rPr lang="de-DE" sz="1700" dirty="0">
                <a:solidFill>
                  <a:schemeClr val="tx1"/>
                </a:solidFill>
                <a:latin typeface="Aptos Light" panose="020B0004020202020204" pitchFamily="34" charset="0"/>
                <a:cs typeface="Open Sans"/>
              </a:rPr>
              <a:t>Rasch</a:t>
            </a:r>
          </a:p>
        </p:txBody>
      </p:sp>
      <p:sp>
        <p:nvSpPr>
          <p:cNvPr id="12" name="Textplatzhalter 38">
            <a:extLst>
              <a:ext uri="{FF2B5EF4-FFF2-40B4-BE49-F238E27FC236}">
                <a16:creationId xmlns:a16="http://schemas.microsoft.com/office/drawing/2014/main" id="{D2E81C37-1A80-4283-0C4F-61426A108CBD}"/>
              </a:ext>
            </a:extLst>
          </p:cNvPr>
          <p:cNvSpPr txBox="1">
            <a:spLocks/>
          </p:cNvSpPr>
          <p:nvPr>
            <p:custDataLst>
              <p:tags r:id="rId6"/>
            </p:custDataLst>
          </p:nvPr>
        </p:nvSpPr>
        <p:spPr>
          <a:xfrm>
            <a:off x="891485" y="4020520"/>
            <a:ext cx="2026426"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dirty="0">
                <a:solidFill>
                  <a:schemeClr val="tx1"/>
                </a:solidFill>
                <a:latin typeface="Aptos Light" panose="020B0004020202020204" pitchFamily="34" charset="0"/>
              </a:rPr>
              <a:t>Dr. Jürgen</a:t>
            </a:r>
          </a:p>
          <a:p>
            <a:pPr marL="7620">
              <a:lnSpc>
                <a:spcPts val="1000"/>
              </a:lnSpc>
            </a:pPr>
            <a:r>
              <a:rPr lang="de-DE" sz="1700" dirty="0">
                <a:solidFill>
                  <a:schemeClr val="tx1"/>
                </a:solidFill>
                <a:latin typeface="Aptos Light" panose="020B0004020202020204" pitchFamily="34" charset="0"/>
              </a:rPr>
              <a:t>Zehetmaier</a:t>
            </a:r>
            <a:endParaRPr lang="de-DE" sz="1700" dirty="0">
              <a:solidFill>
                <a:schemeClr val="tx1"/>
              </a:solidFill>
              <a:latin typeface="Aptos Light" panose="020B0004020202020204" pitchFamily="34" charset="0"/>
              <a:cs typeface="Open Sans"/>
            </a:endParaRPr>
          </a:p>
        </p:txBody>
      </p:sp>
      <p:sp>
        <p:nvSpPr>
          <p:cNvPr id="14" name="Titel 1">
            <a:extLst>
              <a:ext uri="{FF2B5EF4-FFF2-40B4-BE49-F238E27FC236}">
                <a16:creationId xmlns:a16="http://schemas.microsoft.com/office/drawing/2014/main" id="{B4BDBF24-350F-A2B3-1F63-8AE8450F1205}"/>
              </a:ext>
            </a:extLst>
          </p:cNvPr>
          <p:cNvSpPr txBox="1">
            <a:spLocks/>
          </p:cNvSpPr>
          <p:nvPr>
            <p:custDataLst>
              <p:tags r:id="rId7"/>
            </p:custDataLst>
          </p:nvPr>
        </p:nvSpPr>
        <p:spPr>
          <a:xfrm>
            <a:off x="9255923" y="4547775"/>
            <a:ext cx="1592429" cy="17989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1000">
                <a:solidFill>
                  <a:schemeClr val="bg1"/>
                </a:solidFill>
                <a:latin typeface="Aptos Light" panose="020B0004020202020204" pitchFamily="34" charset="0"/>
              </a:rPr>
              <a:t>Vorstandsvorsitzender</a:t>
            </a:r>
          </a:p>
        </p:txBody>
      </p:sp>
      <p:sp>
        <p:nvSpPr>
          <p:cNvPr id="15" name="Textplatzhalter 38">
            <a:extLst>
              <a:ext uri="{FF2B5EF4-FFF2-40B4-BE49-F238E27FC236}">
                <a16:creationId xmlns:a16="http://schemas.microsoft.com/office/drawing/2014/main" id="{DA78ED38-0171-31B7-6ADC-58CE3EA60A9F}"/>
              </a:ext>
            </a:extLst>
          </p:cNvPr>
          <p:cNvSpPr txBox="1">
            <a:spLocks/>
          </p:cNvSpPr>
          <p:nvPr>
            <p:custDataLst>
              <p:tags r:id="rId8"/>
            </p:custDataLst>
          </p:nvPr>
        </p:nvSpPr>
        <p:spPr>
          <a:xfrm>
            <a:off x="9468586" y="4020520"/>
            <a:ext cx="1331339"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dirty="0">
                <a:solidFill>
                  <a:schemeClr val="tx1"/>
                </a:solidFill>
                <a:latin typeface="Aptos Light" panose="020B0004020202020204" pitchFamily="34" charset="0"/>
              </a:rPr>
              <a:t>Dr. Frank</a:t>
            </a:r>
          </a:p>
          <a:p>
            <a:pPr marL="7620">
              <a:lnSpc>
                <a:spcPts val="1000"/>
              </a:lnSpc>
            </a:pPr>
            <a:r>
              <a:rPr lang="de-DE" sz="1700" dirty="0">
                <a:solidFill>
                  <a:schemeClr val="tx1"/>
                </a:solidFill>
                <a:latin typeface="Aptos Light" panose="020B0004020202020204" pitchFamily="34" charset="0"/>
              </a:rPr>
              <a:t>Schlottmann</a:t>
            </a:r>
            <a:endParaRPr lang="de-DE" sz="1700" dirty="0">
              <a:solidFill>
                <a:schemeClr val="tx1"/>
              </a:solidFill>
              <a:latin typeface="Aptos Light" panose="020B0004020202020204" pitchFamily="34" charset="0"/>
              <a:cs typeface="Open Sans"/>
            </a:endParaRPr>
          </a:p>
        </p:txBody>
      </p:sp>
      <p:sp>
        <p:nvSpPr>
          <p:cNvPr id="19" name="Textplatzhalter 38">
            <a:extLst>
              <a:ext uri="{FF2B5EF4-FFF2-40B4-BE49-F238E27FC236}">
                <a16:creationId xmlns:a16="http://schemas.microsoft.com/office/drawing/2014/main" id="{6216F63B-4D03-A0E8-A8F7-24114887CE6B}"/>
              </a:ext>
            </a:extLst>
          </p:cNvPr>
          <p:cNvSpPr txBox="1">
            <a:spLocks/>
          </p:cNvSpPr>
          <p:nvPr>
            <p:custDataLst>
              <p:tags r:id="rId9"/>
            </p:custDataLst>
          </p:nvPr>
        </p:nvSpPr>
        <p:spPr>
          <a:xfrm>
            <a:off x="891485" y="4784542"/>
            <a:ext cx="2055001" cy="864133"/>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buClrTx/>
              <a:buFont typeface="Arial" panose="020B0604020202020204" pitchFamily="34" charset="0"/>
              <a:buChar char="•"/>
              <a:defRPr/>
            </a:pPr>
            <a:r>
              <a:rPr lang="de-DE" sz="1050">
                <a:solidFill>
                  <a:schemeClr val="tx1"/>
                </a:solidFill>
                <a:latin typeface="Aptos" panose="020B0004020202020204" pitchFamily="34" charset="0"/>
              </a:rPr>
              <a:t>Finanzressort</a:t>
            </a:r>
            <a:endParaRPr lang="de-DE" sz="1050" dirty="0">
              <a:solidFill>
                <a:schemeClr val="tx1"/>
              </a:solidFill>
              <a:latin typeface="Aptos" panose="020B0004020202020204" pitchFamily="34" charset="0"/>
            </a:endParaRP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Branche Insurance</a:t>
            </a:r>
            <a:endParaRPr lang="de-DE" sz="1050" dirty="0">
              <a:solidFill>
                <a:schemeClr val="tx1"/>
              </a:solidFill>
              <a:latin typeface="Aptos" panose="020B0004020202020204" pitchFamily="34" charset="0"/>
              <a:ea typeface="+mn-ea"/>
              <a:cs typeface="Calibri" panose="020F0502020204030204" pitchFamily="34" charset="0"/>
            </a:endParaRP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Branche Health</a:t>
            </a:r>
            <a:endParaRPr lang="de-DE" sz="1050" dirty="0">
              <a:solidFill>
                <a:schemeClr val="tx1"/>
              </a:solidFill>
              <a:latin typeface="Aptos" panose="020B0004020202020204" pitchFamily="34" charset="0"/>
              <a:ea typeface="+mn-ea"/>
              <a:cs typeface="+mn-cs"/>
            </a:endParaRP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Landesgesellschaften Österreich und Schweiz</a:t>
            </a:r>
            <a:endParaRPr lang="de-DE" sz="1050" dirty="0">
              <a:solidFill>
                <a:schemeClr val="tx1"/>
              </a:solidFill>
              <a:latin typeface="Aptos" panose="020B0004020202020204" pitchFamily="34" charset="0"/>
              <a:ea typeface="+mn-ea"/>
              <a:cs typeface="+mn-cs"/>
            </a:endParaRP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Stabsstelle Legal</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Risk &amp; Security Office</a:t>
            </a:r>
          </a:p>
        </p:txBody>
      </p:sp>
      <p:sp>
        <p:nvSpPr>
          <p:cNvPr id="20" name="Titel 1">
            <a:extLst>
              <a:ext uri="{FF2B5EF4-FFF2-40B4-BE49-F238E27FC236}">
                <a16:creationId xmlns:a16="http://schemas.microsoft.com/office/drawing/2014/main" id="{8C1493A2-9232-50CA-EAB8-ED999744FD80}"/>
              </a:ext>
            </a:extLst>
          </p:cNvPr>
          <p:cNvSpPr txBox="1">
            <a:spLocks/>
          </p:cNvSpPr>
          <p:nvPr>
            <p:custDataLst>
              <p:tags r:id="rId10"/>
            </p:custDataLst>
          </p:nvPr>
        </p:nvSpPr>
        <p:spPr>
          <a:xfrm>
            <a:off x="891485" y="4541118"/>
            <a:ext cx="1592429" cy="17989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1050" dirty="0">
                <a:solidFill>
                  <a:schemeClr val="tx1"/>
                </a:solidFill>
              </a:rPr>
              <a:t>Vorstandsvorsitzender</a:t>
            </a:r>
            <a:endParaRPr lang="de-DE" sz="1000" dirty="0">
              <a:solidFill>
                <a:schemeClr val="tx1"/>
              </a:solidFill>
            </a:endParaRPr>
          </a:p>
        </p:txBody>
      </p:sp>
      <p:sp>
        <p:nvSpPr>
          <p:cNvPr id="22" name="Textplatzhalter 38">
            <a:extLst>
              <a:ext uri="{FF2B5EF4-FFF2-40B4-BE49-F238E27FC236}">
                <a16:creationId xmlns:a16="http://schemas.microsoft.com/office/drawing/2014/main" id="{B7691074-0F6F-8A8F-9A86-10C34A99C8C6}"/>
              </a:ext>
            </a:extLst>
          </p:cNvPr>
          <p:cNvSpPr txBox="1">
            <a:spLocks/>
          </p:cNvSpPr>
          <p:nvPr>
            <p:custDataLst>
              <p:tags r:id="rId11"/>
            </p:custDataLst>
          </p:nvPr>
        </p:nvSpPr>
        <p:spPr>
          <a:xfrm>
            <a:off x="6589753" y="4784542"/>
            <a:ext cx="2319115" cy="1406566"/>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Branche Life Sciences &amp; Chemicals</a:t>
            </a:r>
          </a:p>
          <a:p>
            <a:pPr marL="171450" lvl="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Branche Travel &amp; </a:t>
            </a:r>
            <a:r>
              <a:rPr lang="de-DE" sz="1050" dirty="0" err="1">
                <a:solidFill>
                  <a:schemeClr val="tx1"/>
                </a:solidFill>
                <a:latin typeface="Aptos" panose="020B0004020202020204" pitchFamily="34" charset="0"/>
              </a:rPr>
              <a:t>Logistics</a:t>
            </a:r>
            <a:endParaRPr lang="de-DE" sz="1050" dirty="0">
              <a:solidFill>
                <a:schemeClr val="tx1"/>
              </a:solidFill>
              <a:latin typeface="Aptos" panose="020B0004020202020204" pitchFamily="34" charset="0"/>
            </a:endParaRPr>
          </a:p>
          <a:p>
            <a:pPr marL="171450" lvl="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Branche Consumer Products</a:t>
            </a:r>
          </a:p>
          <a:p>
            <a:pPr marL="171450" lvl="0" indent="-171450">
              <a:lnSpc>
                <a:spcPct val="100000"/>
              </a:lnSpc>
              <a:spcBef>
                <a:spcPts val="0"/>
              </a:spcBef>
              <a:buClrTx/>
              <a:buFont typeface="Arial" panose="020B0604020202020204" pitchFamily="34" charset="0"/>
              <a:buChar char="•"/>
              <a:defRPr/>
            </a:pPr>
            <a:r>
              <a:rPr kumimoji="0"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mn-cs"/>
              </a:rPr>
              <a:t>Branche</a:t>
            </a:r>
            <a:r>
              <a:rPr lang="de-DE" sz="1050" dirty="0">
                <a:solidFill>
                  <a:schemeClr val="tx1"/>
                </a:solidFill>
                <a:latin typeface="Aptos" panose="020B0004020202020204" pitchFamily="34" charset="0"/>
                <a:ea typeface="+mn-ea"/>
                <a:cs typeface="+mn-cs"/>
              </a:rPr>
              <a:t> </a:t>
            </a:r>
            <a:r>
              <a:rPr kumimoji="0"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mn-cs"/>
              </a:rPr>
              <a:t>Telecommunications</a:t>
            </a:r>
          </a:p>
          <a:p>
            <a:pPr marL="171450" lvl="0" indent="-171450">
              <a:lnSpc>
                <a:spcPct val="100000"/>
              </a:lnSpc>
              <a:spcBef>
                <a:spcPts val="0"/>
              </a:spcBef>
              <a:buClrTx/>
              <a:buFont typeface="Arial" panose="020B0604020202020204" pitchFamily="34" charset="0"/>
              <a:buChar char="•"/>
              <a:defRPr/>
            </a:pPr>
            <a:r>
              <a:rPr kumimoji="0"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mn-cs"/>
              </a:rPr>
              <a:t>Branche Utilities</a:t>
            </a:r>
            <a:endParaRPr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Calibri"/>
            </a:endParaRPr>
          </a:p>
          <a:p>
            <a:pPr marL="171450" indent="-171450">
              <a:lnSpc>
                <a:spcPct val="100000"/>
              </a:lnSpc>
              <a:spcBef>
                <a:spcPts val="0"/>
              </a:spcBef>
              <a:buClrTx/>
              <a:buFont typeface="Arial" panose="020B0604020202020204" pitchFamily="34" charset="0"/>
              <a:buChar char="•"/>
              <a:defRPr/>
            </a:pPr>
            <a:r>
              <a:rPr lang="de-DE" sz="1050" dirty="0" err="1">
                <a:solidFill>
                  <a:schemeClr val="tx1"/>
                </a:solidFill>
                <a:latin typeface="Aptos" panose="020B0004020202020204" pitchFamily="34" charset="0"/>
                <a:ea typeface="+mn-ea"/>
                <a:cs typeface="+mn-cs"/>
              </a:rPr>
              <a:t>msg</a:t>
            </a:r>
            <a:r>
              <a:rPr lang="de-DE" sz="1050" dirty="0">
                <a:solidFill>
                  <a:schemeClr val="tx1"/>
                </a:solidFill>
                <a:latin typeface="Aptos" panose="020B0004020202020204" pitchFamily="34" charset="0"/>
                <a:ea typeface="+mn-ea"/>
                <a:cs typeface="+mn-cs"/>
              </a:rPr>
              <a:t> digital</a:t>
            </a:r>
          </a:p>
          <a:p>
            <a:pPr marL="171450" indent="-171450">
              <a:lnSpc>
                <a:spcPct val="100000"/>
              </a:lnSpc>
              <a:spcBef>
                <a:spcPts val="0"/>
              </a:spcBef>
              <a:buClrTx/>
              <a:buFont typeface="Arial" panose="020B0604020202020204" pitchFamily="34" charset="0"/>
              <a:buChar char="•"/>
              <a:defRPr/>
            </a:pPr>
            <a:r>
              <a:rPr lang="de-DE" sz="1050" dirty="0" err="1">
                <a:solidFill>
                  <a:schemeClr val="tx1"/>
                </a:solidFill>
                <a:latin typeface="Aptos" panose="020B0004020202020204" pitchFamily="34" charset="0"/>
                <a:ea typeface="+mn-ea"/>
                <a:cs typeface="+mn-cs"/>
              </a:rPr>
              <a:t>msg</a:t>
            </a:r>
            <a:r>
              <a:rPr lang="de-DE" sz="1050" dirty="0">
                <a:solidFill>
                  <a:schemeClr val="tx1"/>
                </a:solidFill>
                <a:latin typeface="Aptos" panose="020B0004020202020204" pitchFamily="34" charset="0"/>
                <a:ea typeface="+mn-ea"/>
                <a:cs typeface="+mn-cs"/>
              </a:rPr>
              <a:t> Research</a:t>
            </a:r>
          </a:p>
          <a:p>
            <a:pPr marL="171450" indent="-171450">
              <a:lnSpc>
                <a:spcPct val="100000"/>
              </a:lnSpc>
              <a:spcBef>
                <a:spcPts val="0"/>
              </a:spcBef>
              <a:buClrTx/>
              <a:buFont typeface="Arial" panose="020B0604020202020204" pitchFamily="34" charset="0"/>
              <a:buChar char="•"/>
              <a:defRPr/>
            </a:pPr>
            <a:r>
              <a:rPr lang="de-DE" sz="1050" dirty="0" err="1">
                <a:solidFill>
                  <a:schemeClr val="tx1"/>
                </a:solidFill>
                <a:latin typeface="Aptos" panose="020B0004020202020204" pitchFamily="34" charset="0"/>
                <a:ea typeface="+mn-ea"/>
                <a:cs typeface="+mn-cs"/>
              </a:rPr>
              <a:t>msg</a:t>
            </a:r>
            <a:r>
              <a:rPr lang="de-DE" sz="1050" dirty="0">
                <a:solidFill>
                  <a:schemeClr val="tx1"/>
                </a:solidFill>
                <a:latin typeface="Aptos" panose="020B0004020202020204" pitchFamily="34" charset="0"/>
                <a:ea typeface="+mn-ea"/>
                <a:cs typeface="+mn-cs"/>
              </a:rPr>
              <a:t> </a:t>
            </a:r>
            <a:r>
              <a:rPr lang="de-DE" sz="1050" dirty="0" err="1">
                <a:solidFill>
                  <a:schemeClr val="tx1"/>
                </a:solidFill>
                <a:latin typeface="Aptos" panose="020B0004020202020204" pitchFamily="34" charset="0"/>
                <a:ea typeface="+mn-ea"/>
                <a:cs typeface="+mn-cs"/>
              </a:rPr>
              <a:t>advisors</a:t>
            </a:r>
            <a:endParaRPr lang="de-DE" sz="1050" dirty="0">
              <a:solidFill>
                <a:schemeClr val="tx1"/>
              </a:solidFill>
              <a:latin typeface="Aptos" panose="020B0004020202020204" pitchFamily="34" charset="0"/>
              <a:ea typeface="+mn-ea"/>
              <a:cs typeface="+mn-cs"/>
            </a:endParaRP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Operating Office</a:t>
            </a:r>
            <a:endParaRPr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Calibri"/>
            </a:endParaRPr>
          </a:p>
        </p:txBody>
      </p:sp>
      <p:sp>
        <p:nvSpPr>
          <p:cNvPr id="23" name="Textplatzhalter 38">
            <a:extLst>
              <a:ext uri="{FF2B5EF4-FFF2-40B4-BE49-F238E27FC236}">
                <a16:creationId xmlns:a16="http://schemas.microsoft.com/office/drawing/2014/main" id="{81FA3DD4-0235-6C66-962C-E066E5A936E9}"/>
              </a:ext>
            </a:extLst>
          </p:cNvPr>
          <p:cNvSpPr txBox="1">
            <a:spLocks/>
          </p:cNvSpPr>
          <p:nvPr>
            <p:custDataLst>
              <p:tags r:id="rId12"/>
            </p:custDataLst>
          </p:nvPr>
        </p:nvSpPr>
        <p:spPr>
          <a:xfrm>
            <a:off x="9460523" y="4784542"/>
            <a:ext cx="2520806" cy="864133"/>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buClrTx/>
              <a:buFont typeface="Arial" panose="020B0604020202020204" pitchFamily="34" charset="0"/>
              <a:buChar char="•"/>
              <a:defRPr/>
            </a:pPr>
            <a:r>
              <a:rPr kumimoji="0" lang="de-DE" sz="1050" u="none" strike="noStrike" kern="1200" cap="none" spc="0" normalizeH="0" baseline="0" noProof="0" dirty="0">
                <a:ln>
                  <a:noFill/>
                </a:ln>
                <a:solidFill>
                  <a:schemeClr val="tx1"/>
                </a:solidFill>
                <a:effectLst/>
                <a:uLnTx/>
                <a:uFillTx/>
                <a:latin typeface="+mj-lt"/>
                <a:ea typeface="+mn-ea"/>
                <a:cs typeface="+mn-cs"/>
              </a:rPr>
              <a:t>Branche Banking</a:t>
            </a:r>
            <a:r>
              <a:rPr lang="de-DE" sz="1050" dirty="0">
                <a:solidFill>
                  <a:schemeClr val="tx1"/>
                </a:solidFill>
                <a:latin typeface="+mj-lt"/>
                <a:ea typeface="+mn-ea"/>
                <a:cs typeface="+mn-cs"/>
              </a:rPr>
              <a:t> </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ea typeface="+mn-ea"/>
                <a:cs typeface="+mn-cs"/>
              </a:rPr>
              <a:t>Branche Public </a:t>
            </a:r>
            <a:r>
              <a:rPr lang="de-DE" sz="1050" dirty="0" err="1">
                <a:solidFill>
                  <a:schemeClr val="tx1"/>
                </a:solidFill>
                <a:latin typeface="+mj-lt"/>
                <a:ea typeface="+mn-ea"/>
                <a:cs typeface="+mn-cs"/>
              </a:rPr>
              <a:t>Sector</a:t>
            </a:r>
            <a:r>
              <a:rPr lang="de-DE" sz="1050" dirty="0">
                <a:solidFill>
                  <a:schemeClr val="tx1"/>
                </a:solidFill>
                <a:latin typeface="+mj-lt"/>
                <a:ea typeface="+mn-ea"/>
                <a:cs typeface="+mn-cs"/>
              </a:rPr>
              <a:t> </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rPr>
              <a:t>Branche Defense &amp; Aerospace</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rPr>
              <a:t>Künstliche Intelligenz</a:t>
            </a:r>
            <a:endParaRPr lang="de-DE" sz="1050" dirty="0">
              <a:solidFill>
                <a:schemeClr val="tx1"/>
              </a:solidFill>
              <a:latin typeface="+mj-lt"/>
              <a:ea typeface="+mn-ea"/>
              <a:cs typeface="+mn-cs"/>
            </a:endParaRP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ea typeface="+mn-ea"/>
                <a:cs typeface="+mn-cs"/>
              </a:rPr>
              <a:t>Sales Office</a:t>
            </a:r>
          </a:p>
          <a:p>
            <a:pPr marL="171450" indent="-171450">
              <a:lnSpc>
                <a:spcPct val="100000"/>
              </a:lnSpc>
              <a:spcBef>
                <a:spcPts val="0"/>
              </a:spcBef>
              <a:buClrTx/>
              <a:buFont typeface="Arial" panose="020B0604020202020204" pitchFamily="34" charset="0"/>
              <a:buChar char="•"/>
              <a:defRPr/>
            </a:pPr>
            <a:r>
              <a:rPr kumimoji="0" lang="de-DE" sz="1050" u="none" strike="noStrike" kern="1200" cap="none" spc="0" normalizeH="0" baseline="0" noProof="0" dirty="0">
                <a:ln>
                  <a:noFill/>
                </a:ln>
                <a:solidFill>
                  <a:schemeClr val="tx1"/>
                </a:solidFill>
                <a:effectLst/>
                <a:uLnTx/>
                <a:uFillTx/>
                <a:latin typeface="+mj-lt"/>
                <a:ea typeface="+mn-ea"/>
                <a:cs typeface="+mn-cs"/>
              </a:rPr>
              <a:t>Global Alliance Management</a:t>
            </a:r>
          </a:p>
          <a:p>
            <a:pPr marL="171450" indent="-171450">
              <a:lnSpc>
                <a:spcPct val="100000"/>
              </a:lnSpc>
              <a:spcBef>
                <a:spcPts val="0"/>
              </a:spcBef>
              <a:buClrTx/>
              <a:buFont typeface="Arial" panose="020B0604020202020204" pitchFamily="34" charset="0"/>
              <a:buChar char="•"/>
              <a:defRPr/>
            </a:pPr>
            <a:r>
              <a:rPr lang="de-DE" sz="1050" spc="20" dirty="0">
                <a:solidFill>
                  <a:schemeClr val="tx1"/>
                </a:solidFill>
                <a:latin typeface="+mj-lt"/>
              </a:rPr>
              <a:t>Group Marketing &amp; Communications </a:t>
            </a:r>
            <a:br>
              <a:rPr lang="de-DE" sz="1050" dirty="0">
                <a:solidFill>
                  <a:schemeClr val="tx1"/>
                </a:solidFill>
                <a:latin typeface="+mj-lt"/>
                <a:ea typeface="+mn-ea"/>
                <a:cs typeface="Calibri"/>
              </a:rPr>
            </a:br>
            <a:endParaRPr lang="de-DE" sz="1050" u="none" strike="noStrike" kern="1200" cap="none" spc="0" normalizeH="0" baseline="0" noProof="0" dirty="0">
              <a:ln>
                <a:noFill/>
              </a:ln>
              <a:solidFill>
                <a:schemeClr val="tx1"/>
              </a:solidFill>
              <a:effectLst/>
              <a:uLnTx/>
              <a:uFillTx/>
              <a:latin typeface="+mj-lt"/>
              <a:ea typeface="+mn-ea"/>
              <a:cs typeface="Calibri"/>
            </a:endParaRPr>
          </a:p>
        </p:txBody>
      </p:sp>
      <p:sp>
        <p:nvSpPr>
          <p:cNvPr id="27" name="Textplatzhalter 38">
            <a:extLst>
              <a:ext uri="{FF2B5EF4-FFF2-40B4-BE49-F238E27FC236}">
                <a16:creationId xmlns:a16="http://schemas.microsoft.com/office/drawing/2014/main" id="{B7BA29E8-5894-E88C-22A7-24510470E64D}"/>
              </a:ext>
            </a:extLst>
          </p:cNvPr>
          <p:cNvSpPr txBox="1">
            <a:spLocks/>
          </p:cNvSpPr>
          <p:nvPr>
            <p:custDataLst>
              <p:tags r:id="rId13"/>
            </p:custDataLst>
          </p:nvPr>
        </p:nvSpPr>
        <p:spPr>
          <a:xfrm>
            <a:off x="3738559" y="4784542"/>
            <a:ext cx="2026426" cy="1728003"/>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rPr>
              <a:t>Internationale Einheiten</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rPr>
              <a:t>SAP Competence  </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rPr>
              <a:t>Branche Automotive</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rPr>
              <a:t>Branche Food</a:t>
            </a:r>
            <a:endParaRPr lang="de-DE" sz="1050" dirty="0">
              <a:solidFill>
                <a:schemeClr val="tx1"/>
              </a:solidFill>
              <a:latin typeface="+mj-lt"/>
              <a:cs typeface="Calibri"/>
            </a:endParaRPr>
          </a:p>
          <a:p>
            <a:endParaRPr lang="de-DE" dirty="0"/>
          </a:p>
        </p:txBody>
      </p:sp>
      <p:sp>
        <p:nvSpPr>
          <p:cNvPr id="28" name="Pfeil: Chevron 33">
            <a:extLst>
              <a:ext uri="{FF2B5EF4-FFF2-40B4-BE49-F238E27FC236}">
                <a16:creationId xmlns:a16="http://schemas.microsoft.com/office/drawing/2014/main" id="{A18DD599-996E-7EF9-060A-B4FE021234D1}"/>
              </a:ext>
            </a:extLst>
          </p:cNvPr>
          <p:cNvSpPr>
            <a:spLocks/>
          </p:cNvSpPr>
          <p:nvPr>
            <p:custDataLst>
              <p:tags r:id="rId14"/>
            </p:custDataLst>
          </p:nvPr>
        </p:nvSpPr>
        <p:spPr>
          <a:xfrm flipV="1">
            <a:off x="3473626" y="4117131"/>
            <a:ext cx="178987" cy="297618"/>
          </a:xfrm>
          <a:prstGeom prst="chevron">
            <a:avLst>
              <a:gd name="adj" fmla="val 5789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sp>
        <p:nvSpPr>
          <p:cNvPr id="29" name="Pfeil: Chevron 33">
            <a:extLst>
              <a:ext uri="{FF2B5EF4-FFF2-40B4-BE49-F238E27FC236}">
                <a16:creationId xmlns:a16="http://schemas.microsoft.com/office/drawing/2014/main" id="{82027B01-7750-90C5-0470-7922731F6405}"/>
              </a:ext>
            </a:extLst>
          </p:cNvPr>
          <p:cNvSpPr>
            <a:spLocks/>
          </p:cNvSpPr>
          <p:nvPr>
            <p:custDataLst>
              <p:tags r:id="rId15"/>
            </p:custDataLst>
          </p:nvPr>
        </p:nvSpPr>
        <p:spPr>
          <a:xfrm flipV="1">
            <a:off x="6337260" y="4113398"/>
            <a:ext cx="178987" cy="297618"/>
          </a:xfrm>
          <a:prstGeom prst="chevron">
            <a:avLst>
              <a:gd name="adj" fmla="val 5789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0" name="Pfeil: Chevron 33">
            <a:extLst>
              <a:ext uri="{FF2B5EF4-FFF2-40B4-BE49-F238E27FC236}">
                <a16:creationId xmlns:a16="http://schemas.microsoft.com/office/drawing/2014/main" id="{DCB8B467-6303-38B3-1AC0-7E7C08B16C8C}"/>
              </a:ext>
            </a:extLst>
          </p:cNvPr>
          <p:cNvSpPr>
            <a:spLocks/>
          </p:cNvSpPr>
          <p:nvPr>
            <p:custDataLst>
              <p:tags r:id="rId16"/>
            </p:custDataLst>
          </p:nvPr>
        </p:nvSpPr>
        <p:spPr>
          <a:xfrm flipV="1">
            <a:off x="9195736" y="4081256"/>
            <a:ext cx="178987" cy="297618"/>
          </a:xfrm>
          <a:prstGeom prst="chevron">
            <a:avLst>
              <a:gd name="adj" fmla="val 5789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sp>
        <p:nvSpPr>
          <p:cNvPr id="31" name="Pfeil: Chevron 33">
            <a:extLst>
              <a:ext uri="{FF2B5EF4-FFF2-40B4-BE49-F238E27FC236}">
                <a16:creationId xmlns:a16="http://schemas.microsoft.com/office/drawing/2014/main" id="{9FA961C9-4236-EE01-3A20-090B3976FE72}"/>
              </a:ext>
            </a:extLst>
          </p:cNvPr>
          <p:cNvSpPr>
            <a:spLocks/>
          </p:cNvSpPr>
          <p:nvPr>
            <p:custDataLst>
              <p:tags r:id="rId17"/>
            </p:custDataLst>
          </p:nvPr>
        </p:nvSpPr>
        <p:spPr>
          <a:xfrm flipV="1">
            <a:off x="622800" y="4113398"/>
            <a:ext cx="178987" cy="297618"/>
          </a:xfrm>
          <a:prstGeom prst="chevron">
            <a:avLst>
              <a:gd name="adj" fmla="val 5789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sp>
        <p:nvSpPr>
          <p:cNvPr id="44" name="Ellipse 10">
            <a:extLst>
              <a:ext uri="{FF2B5EF4-FFF2-40B4-BE49-F238E27FC236}">
                <a16:creationId xmlns:a16="http://schemas.microsoft.com/office/drawing/2014/main" id="{24BE303C-2F66-4A93-CFF2-20DF16C048DB}"/>
              </a:ext>
            </a:extLst>
          </p:cNvPr>
          <p:cNvSpPr/>
          <p:nvPr>
            <p:custDataLst>
              <p:tags r:id="rId18"/>
            </p:custDataLst>
          </p:nvPr>
        </p:nvSpPr>
        <p:spPr>
          <a:xfrm>
            <a:off x="9201398" y="1783912"/>
            <a:ext cx="1832519" cy="1832519"/>
          </a:xfrm>
          <a:prstGeom prst="ellipse">
            <a:avLst/>
          </a:prstGeom>
          <a:blipFill dpi="0" rotWithShape="1">
            <a:blip r:embed="rId25"/>
            <a:srcRect/>
            <a:stretch>
              <a:fillRect b="-200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32" name="Grafik 31" descr="Ein Bild, das Person, Menschliches Gesicht, Gebäude, Blazer enthält.&#10;&#10;KI-generierte Inhalte können fehlerhaft sein.">
            <a:extLst>
              <a:ext uri="{FF2B5EF4-FFF2-40B4-BE49-F238E27FC236}">
                <a16:creationId xmlns:a16="http://schemas.microsoft.com/office/drawing/2014/main" id="{2A85DFA4-D7C7-DEB1-FE65-1ED4884FD678}"/>
              </a:ext>
            </a:extLst>
          </p:cNvPr>
          <p:cNvPicPr>
            <a:picLocks noChangeAspect="1"/>
          </p:cNvPicPr>
          <p:nvPr/>
        </p:nvPicPr>
        <p:blipFill>
          <a:blip r:embed="rId27"/>
          <a:srcRect l="31739" t="14993" r="22024" b="54182"/>
          <a:stretch>
            <a:fillRect/>
          </a:stretch>
        </p:blipFill>
        <p:spPr>
          <a:xfrm>
            <a:off x="9299083" y="1881427"/>
            <a:ext cx="1637489" cy="1637489"/>
          </a:xfrm>
          <a:prstGeom prst="ellipse">
            <a:avLst/>
          </a:prstGeom>
        </p:spPr>
      </p:pic>
      <p:sp>
        <p:nvSpPr>
          <p:cNvPr id="42" name="Ellipse 10">
            <a:extLst>
              <a:ext uri="{FF2B5EF4-FFF2-40B4-BE49-F238E27FC236}">
                <a16:creationId xmlns:a16="http://schemas.microsoft.com/office/drawing/2014/main" id="{357AE3CC-95AF-AE3D-877D-5974696E10AD}"/>
              </a:ext>
            </a:extLst>
          </p:cNvPr>
          <p:cNvSpPr/>
          <p:nvPr>
            <p:custDataLst>
              <p:tags r:id="rId19"/>
            </p:custDataLst>
          </p:nvPr>
        </p:nvSpPr>
        <p:spPr>
          <a:xfrm>
            <a:off x="6342228" y="1783912"/>
            <a:ext cx="1832519" cy="1832519"/>
          </a:xfrm>
          <a:prstGeom prst="ellipse">
            <a:avLst/>
          </a:prstGeom>
          <a:blipFill dpi="0" rotWithShape="1">
            <a:blip r:embed="rId25"/>
            <a:srcRect/>
            <a:stretch>
              <a:fillRect b="-200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33" name="Grafik 32">
            <a:extLst>
              <a:ext uri="{FF2B5EF4-FFF2-40B4-BE49-F238E27FC236}">
                <a16:creationId xmlns:a16="http://schemas.microsoft.com/office/drawing/2014/main" id="{713329B3-78F4-A2D3-9D65-6891120FBA0B}"/>
              </a:ext>
            </a:extLst>
          </p:cNvPr>
          <p:cNvPicPr>
            <a:picLocks noChangeAspect="1"/>
          </p:cNvPicPr>
          <p:nvPr/>
        </p:nvPicPr>
        <p:blipFill>
          <a:blip r:embed="rId28"/>
          <a:srcRect l="27940" t="18281" r="28778" b="52866"/>
          <a:stretch>
            <a:fillRect/>
          </a:stretch>
        </p:blipFill>
        <p:spPr>
          <a:xfrm>
            <a:off x="6439743" y="1881427"/>
            <a:ext cx="1637489" cy="1637489"/>
          </a:xfrm>
          <a:prstGeom prst="ellipse">
            <a:avLst/>
          </a:prstGeom>
        </p:spPr>
      </p:pic>
      <p:sp>
        <p:nvSpPr>
          <p:cNvPr id="40" name="Ellipse 10">
            <a:extLst>
              <a:ext uri="{FF2B5EF4-FFF2-40B4-BE49-F238E27FC236}">
                <a16:creationId xmlns:a16="http://schemas.microsoft.com/office/drawing/2014/main" id="{B5A94215-2C8C-472A-8117-5635B18D3996}"/>
              </a:ext>
            </a:extLst>
          </p:cNvPr>
          <p:cNvSpPr/>
          <p:nvPr>
            <p:custDataLst>
              <p:tags r:id="rId20"/>
            </p:custDataLst>
          </p:nvPr>
        </p:nvSpPr>
        <p:spPr>
          <a:xfrm>
            <a:off x="3483058" y="1783912"/>
            <a:ext cx="1832519" cy="1832519"/>
          </a:xfrm>
          <a:prstGeom prst="ellipse">
            <a:avLst/>
          </a:prstGeom>
          <a:blipFill dpi="0" rotWithShape="1">
            <a:blip r:embed="rId25"/>
            <a:srcRect/>
            <a:stretch>
              <a:fillRect b="-200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35" name="Grafik 34">
            <a:extLst>
              <a:ext uri="{FF2B5EF4-FFF2-40B4-BE49-F238E27FC236}">
                <a16:creationId xmlns:a16="http://schemas.microsoft.com/office/drawing/2014/main" id="{AEB94846-6DFB-DEA2-EAB2-E24092A8283B}"/>
              </a:ext>
            </a:extLst>
          </p:cNvPr>
          <p:cNvPicPr>
            <a:picLocks noChangeAspect="1"/>
          </p:cNvPicPr>
          <p:nvPr/>
        </p:nvPicPr>
        <p:blipFill>
          <a:blip r:embed="rId29"/>
          <a:srcRect l="23248" t="2856" r="52399" b="65636"/>
          <a:stretch>
            <a:fillRect/>
          </a:stretch>
        </p:blipFill>
        <p:spPr>
          <a:xfrm>
            <a:off x="3580573" y="1881427"/>
            <a:ext cx="1637489" cy="1637489"/>
          </a:xfrm>
          <a:prstGeom prst="ellipse">
            <a:avLst/>
          </a:prstGeom>
        </p:spPr>
      </p:pic>
      <p:sp>
        <p:nvSpPr>
          <p:cNvPr id="36" name="Textfeld 35">
            <a:extLst>
              <a:ext uri="{FF2B5EF4-FFF2-40B4-BE49-F238E27FC236}">
                <a16:creationId xmlns:a16="http://schemas.microsoft.com/office/drawing/2014/main" id="{18204E8E-4399-38F3-BB3B-3CA1961A004E}"/>
              </a:ext>
            </a:extLst>
          </p:cNvPr>
          <p:cNvSpPr txBox="1"/>
          <p:nvPr/>
        </p:nvSpPr>
        <p:spPr>
          <a:xfrm>
            <a:off x="2558845" y="1555955"/>
            <a:ext cx="0" cy="0"/>
          </a:xfrm>
          <a:prstGeom prst="rect">
            <a:avLst/>
          </a:prstGeom>
          <a:noFill/>
        </p:spPr>
        <p:txBody>
          <a:bodyPr wrap="none" lIns="0" tIns="0" rIns="0" bIns="0" rtlCol="0">
            <a:noAutofit/>
          </a:bodyPr>
          <a:lstStyle/>
          <a:p>
            <a:pPr algn="l"/>
            <a:endParaRPr lang="de-DE" sz="1600" dirty="0" err="1"/>
          </a:p>
        </p:txBody>
      </p:sp>
    </p:spTree>
    <p:extLst>
      <p:ext uri="{BB962C8B-B14F-4D97-AF65-F5344CB8AC3E}">
        <p14:creationId xmlns:p14="http://schemas.microsoft.com/office/powerpoint/2010/main" val="70710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58025BBC-E2C1-6B6A-D272-2C890F1B2C6D}"/>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p:blipFill>
        <p:spPr>
          <a:xfrm>
            <a:off x="2204" y="0"/>
            <a:ext cx="12189794" cy="6859241"/>
          </a:xfrm>
          <a:prstGeom prst="rect">
            <a:avLst/>
          </a:prstGeom>
        </p:spPr>
      </p:pic>
      <p:sp>
        <p:nvSpPr>
          <p:cNvPr id="4" name="Rechteck 3">
            <a:extLst>
              <a:ext uri="{FF2B5EF4-FFF2-40B4-BE49-F238E27FC236}">
                <a16:creationId xmlns:a16="http://schemas.microsoft.com/office/drawing/2014/main" id="{EBA5E3E1-D274-579F-1370-F8AECED2C68B}"/>
              </a:ext>
            </a:extLst>
          </p:cNvPr>
          <p:cNvSpPr/>
          <p:nvPr/>
        </p:nvSpPr>
        <p:spPr>
          <a:xfrm rot="10800000">
            <a:off x="-17419" y="0"/>
            <a:ext cx="12192000" cy="3374571"/>
          </a:xfrm>
          <a:prstGeom prst="rect">
            <a:avLst/>
          </a:prstGeom>
          <a:gradFill flip="none" rotWithShape="1">
            <a:gsLst>
              <a:gs pos="0">
                <a:schemeClr val="tx1">
                  <a:alpha val="39880"/>
                </a:schemeClr>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Fußzeilenplatzhalter 1">
            <a:extLst>
              <a:ext uri="{FF2B5EF4-FFF2-40B4-BE49-F238E27FC236}">
                <a16:creationId xmlns:a16="http://schemas.microsoft.com/office/drawing/2014/main" id="{672BDB32-776C-F9DB-F83B-60206965F712}"/>
              </a:ext>
            </a:extLst>
          </p:cNvPr>
          <p:cNvSpPr>
            <a:spLocks noGrp="1"/>
          </p:cNvSpPr>
          <p:nvPr>
            <p:ph type="ftr" sz="quarter" idx="10"/>
          </p:nvPr>
        </p:nvSpPr>
        <p:spPr/>
        <p:txBody>
          <a:bodyPr/>
          <a:lstStyle/>
          <a:p>
            <a:r>
              <a:rPr lang="de-DE">
                <a:solidFill>
                  <a:schemeClr val="bg1"/>
                </a:solidFill>
              </a:rPr>
              <a:t>© msg systems ag | 2026 | msg-Unternehmenspräsentation</a:t>
            </a: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p:txBody>
          <a:bodyPr/>
          <a:lstStyle/>
          <a:p>
            <a:fld id="{B27B0579-4238-4E44-9A9E-134B676F827C}" type="slidenum">
              <a:rPr lang="de-DE" dirty="0" smtClean="0">
                <a:solidFill>
                  <a:schemeClr val="bg1"/>
                </a:solidFill>
              </a:rPr>
              <a:pPr/>
              <a:t>18</a:t>
            </a:fld>
            <a:endParaRPr lang="de-DE">
              <a:solidFill>
                <a:schemeClr val="bg1"/>
              </a:solidFill>
            </a:endParaRPr>
          </a:p>
        </p:txBody>
      </p:sp>
      <p:sp>
        <p:nvSpPr>
          <p:cNvPr id="10" name="Diagonal liegende Ecken des Rechtecks abrunden 9">
            <a:extLst>
              <a:ext uri="{FF2B5EF4-FFF2-40B4-BE49-F238E27FC236}">
                <a16:creationId xmlns:a16="http://schemas.microsoft.com/office/drawing/2014/main" id="{18AB8F19-C0AD-708C-D110-DDCDE7889CEB}"/>
              </a:ext>
            </a:extLst>
          </p:cNvPr>
          <p:cNvSpPr/>
          <p:nvPr/>
        </p:nvSpPr>
        <p:spPr>
          <a:xfrm flipV="1">
            <a:off x="623888" y="4160515"/>
            <a:ext cx="10037207"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2" name="Titel 1">
            <a:extLst>
              <a:ext uri="{FF2B5EF4-FFF2-40B4-BE49-F238E27FC236}">
                <a16:creationId xmlns:a16="http://schemas.microsoft.com/office/drawing/2014/main" id="{665BFA57-7EEE-48CF-05BC-E47D1175E92C}"/>
              </a:ext>
            </a:extLst>
          </p:cNvPr>
          <p:cNvSpPr txBox="1">
            <a:spLocks/>
          </p:cNvSpPr>
          <p:nvPr/>
        </p:nvSpPr>
        <p:spPr>
          <a:xfrm>
            <a:off x="1239312" y="4895522"/>
            <a:ext cx="9421783"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a:solidFill>
                  <a:schemeClr val="tx1"/>
                </a:solidFill>
                <a:latin typeface="+mn-lt"/>
              </a:rPr>
              <a:t>Intelligente Lösungen und IT-Beratung</a:t>
            </a:r>
          </a:p>
        </p:txBody>
      </p:sp>
      <p:sp>
        <p:nvSpPr>
          <p:cNvPr id="13" name="Untertitel 2">
            <a:extLst>
              <a:ext uri="{FF2B5EF4-FFF2-40B4-BE49-F238E27FC236}">
                <a16:creationId xmlns:a16="http://schemas.microsoft.com/office/drawing/2014/main" id="{7BE58853-F1AC-0D9A-998F-4C51EBCCA0BF}"/>
              </a:ext>
            </a:extLst>
          </p:cNvPr>
          <p:cNvSpPr txBox="1">
            <a:spLocks/>
          </p:cNvSpPr>
          <p:nvPr/>
        </p:nvSpPr>
        <p:spPr>
          <a:xfrm>
            <a:off x="1266181" y="4496542"/>
            <a:ext cx="9394914"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err="1">
                <a:ln>
                  <a:noFill/>
                </a:ln>
                <a:effectLst/>
                <a:uLnTx/>
                <a:uFillTx/>
                <a:cs typeface="Calibri Light"/>
              </a:rPr>
              <a:t>We</a:t>
            </a:r>
            <a:r>
              <a:rPr kumimoji="0" lang="de-DE" sz="1600" u="none" strike="noStrike" kern="1200" cap="none" spc="0" normalizeH="0" baseline="0" noProof="0">
                <a:ln>
                  <a:noFill/>
                </a:ln>
                <a:effectLst/>
                <a:uLnTx/>
                <a:uFillTx/>
                <a:cs typeface="Calibri Light"/>
              </a:rPr>
              <a:t> </a:t>
            </a:r>
            <a:r>
              <a:rPr kumimoji="0" lang="de-DE" sz="1600" u="none" strike="noStrike" kern="1200" cap="none" spc="0" normalizeH="0" baseline="0" noProof="0" err="1">
                <a:ln>
                  <a:noFill/>
                </a:ln>
                <a:effectLst/>
                <a:uLnTx/>
                <a:uFillTx/>
                <a:cs typeface="Calibri Light"/>
              </a:rPr>
              <a:t>create</a:t>
            </a:r>
            <a:r>
              <a:rPr kumimoji="0" lang="de-DE" sz="1600" u="none" strike="noStrike" kern="1200" cap="none" spc="0" normalizeH="0" baseline="0" noProof="0">
                <a:ln>
                  <a:noFill/>
                </a:ln>
                <a:effectLst/>
                <a:uLnTx/>
                <a:uFillTx/>
                <a:cs typeface="Calibri Light"/>
              </a:rPr>
              <a:t> </a:t>
            </a:r>
            <a:r>
              <a:rPr kumimoji="0" lang="de-DE" sz="1600" u="none" strike="noStrike" kern="1200" cap="none" spc="0" normalizeH="0" baseline="0" noProof="0" err="1">
                <a:ln>
                  <a:noFill/>
                </a:ln>
                <a:effectLst/>
                <a:uLnTx/>
                <a:uFillTx/>
                <a:cs typeface="Calibri Light"/>
              </a:rPr>
              <a:t>ecosystems</a:t>
            </a:r>
            <a:r>
              <a:rPr kumimoji="0" lang="de-DE" sz="1600" u="none" strike="noStrike" kern="1200" cap="none" spc="0" normalizeH="0" baseline="0" noProof="0">
                <a:ln>
                  <a:noFill/>
                </a:ln>
                <a:effectLst/>
                <a:uLnTx/>
                <a:uFillTx/>
                <a:cs typeface="Calibri Light"/>
              </a:rPr>
              <a:t> for </a:t>
            </a:r>
            <a:r>
              <a:rPr kumimoji="0" lang="de-DE" sz="1600" u="none" strike="noStrike" kern="1200" cap="none" spc="0" normalizeH="0" baseline="0" noProof="0" err="1">
                <a:ln>
                  <a:noFill/>
                </a:ln>
                <a:effectLst/>
                <a:uLnTx/>
                <a:uFillTx/>
                <a:cs typeface="Calibri Light"/>
              </a:rPr>
              <a:t>enabling</a:t>
            </a:r>
            <a:r>
              <a:rPr kumimoji="0" lang="de-DE" sz="1600" u="none" strike="noStrike" kern="1200" cap="none" spc="0" normalizeH="0" baseline="0" noProof="0">
                <a:ln>
                  <a:noFill/>
                </a:ln>
                <a:effectLst/>
                <a:uLnTx/>
                <a:uFillTx/>
                <a:cs typeface="Calibri Light"/>
              </a:rPr>
              <a:t> a </a:t>
            </a:r>
            <a:r>
              <a:rPr kumimoji="0" lang="de-DE" sz="1600" u="none" strike="noStrike" kern="1200" cap="none" spc="0" normalizeH="0" baseline="0" noProof="0" err="1">
                <a:ln>
                  <a:noFill/>
                </a:ln>
                <a:effectLst/>
                <a:uLnTx/>
                <a:uFillTx/>
                <a:cs typeface="Calibri Light"/>
              </a:rPr>
              <a:t>better</a:t>
            </a:r>
            <a:r>
              <a:rPr kumimoji="0" lang="de-DE" sz="1600" u="none" strike="noStrike" kern="1200" cap="none" spc="0" normalizeH="0" baseline="0" noProof="0">
                <a:ln>
                  <a:noFill/>
                </a:ln>
                <a:effectLst/>
                <a:uLnTx/>
                <a:uFillTx/>
                <a:cs typeface="Calibri Light"/>
              </a:rPr>
              <a:t> </a:t>
            </a:r>
            <a:r>
              <a:rPr kumimoji="0" lang="de-DE" sz="1600" u="none" strike="noStrike" kern="1200" cap="none" spc="0" normalizeH="0" baseline="0" noProof="0" err="1">
                <a:ln>
                  <a:noFill/>
                </a:ln>
                <a:effectLst/>
                <a:uLnTx/>
                <a:uFillTx/>
                <a:cs typeface="Calibri Light"/>
              </a:rPr>
              <a:t>life</a:t>
            </a:r>
            <a:endParaRPr kumimoji="0" lang="de-DE" sz="1600" u="none" strike="noStrike" kern="1200" cap="none" spc="0" normalizeH="0" baseline="0" noProof="0">
              <a:ln>
                <a:noFill/>
              </a:ln>
              <a:effectLst/>
              <a:uLnTx/>
              <a:uFillTx/>
              <a:cs typeface="Calibri Light"/>
            </a:endParaRPr>
          </a:p>
        </p:txBody>
      </p:sp>
      <p:sp>
        <p:nvSpPr>
          <p:cNvPr id="15" name="Ellipse 13">
            <a:extLst>
              <a:ext uri="{FF2B5EF4-FFF2-40B4-BE49-F238E27FC236}">
                <a16:creationId xmlns:a16="http://schemas.microsoft.com/office/drawing/2014/main" id="{31B82BA8-B950-69D9-25A9-35DC9C5BA9D9}"/>
              </a:ext>
            </a:extLst>
          </p:cNvPr>
          <p:cNvSpPr/>
          <p:nvPr/>
        </p:nvSpPr>
        <p:spPr>
          <a:xfrm>
            <a:off x="790715" y="447496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2</a:t>
            </a:r>
          </a:p>
        </p:txBody>
      </p:sp>
      <p:pic>
        <p:nvPicPr>
          <p:cNvPr id="6" name="Grafik 5">
            <a:extLst>
              <a:ext uri="{FF2B5EF4-FFF2-40B4-BE49-F238E27FC236}">
                <a16:creationId xmlns:a16="http://schemas.microsoft.com/office/drawing/2014/main" id="{ED892D4D-3CC6-ACBE-F604-CE1C4EB3184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2957726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3263C9-4DA5-F6A5-73C7-D9CD9702C339}"/>
            </a:ext>
          </a:extLst>
        </p:cNvPr>
        <p:cNvGrpSpPr/>
        <p:nvPr/>
      </p:nvGrpSpPr>
      <p:grpSpPr>
        <a:xfrm>
          <a:off x="0" y="0"/>
          <a:ext cx="0" cy="0"/>
          <a:chOff x="0" y="0"/>
          <a:chExt cx="0" cy="0"/>
        </a:xfrm>
      </p:grpSpPr>
      <p:pic>
        <p:nvPicPr>
          <p:cNvPr id="38" name="Grafik 37" descr="Ein Bild, das Person, Kleidung, Mann, Screenshot enthält.&#10;&#10;Automatisch generierte Beschreibung">
            <a:extLst>
              <a:ext uri="{FF2B5EF4-FFF2-40B4-BE49-F238E27FC236}">
                <a16:creationId xmlns:a16="http://schemas.microsoft.com/office/drawing/2014/main" id="{83C732EE-A7D3-0491-A48D-4581DA08F8CA}"/>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flipH="1">
            <a:off x="5190304" y="2167012"/>
            <a:ext cx="3934549" cy="3855523"/>
          </a:xfrm>
          <a:prstGeom prst="rect">
            <a:avLst/>
          </a:prstGeom>
        </p:spPr>
      </p:pic>
      <p:pic>
        <p:nvPicPr>
          <p:cNvPr id="27" name="Grafik 26" descr="Ein Bild, das Person, Kleidung, Mann, Screenshot enthält.&#10;&#10;Automatisch generierte Beschreibung">
            <a:extLst>
              <a:ext uri="{FF2B5EF4-FFF2-40B4-BE49-F238E27FC236}">
                <a16:creationId xmlns:a16="http://schemas.microsoft.com/office/drawing/2014/main" id="{8A1F1C05-629D-D500-6BEC-CC666095F033}"/>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flipH="1">
            <a:off x="3462302" y="2167012"/>
            <a:ext cx="3934549" cy="3855523"/>
          </a:xfrm>
          <a:prstGeom prst="rect">
            <a:avLst/>
          </a:prstGeom>
        </p:spPr>
      </p:pic>
      <p:grpSp>
        <p:nvGrpSpPr>
          <p:cNvPr id="39" name="Gruppieren 38">
            <a:extLst>
              <a:ext uri="{FF2B5EF4-FFF2-40B4-BE49-F238E27FC236}">
                <a16:creationId xmlns:a16="http://schemas.microsoft.com/office/drawing/2014/main" id="{47E8EFEE-94AA-7EED-AB41-55E779713418}"/>
              </a:ext>
            </a:extLst>
          </p:cNvPr>
          <p:cNvGrpSpPr/>
          <p:nvPr/>
        </p:nvGrpSpPr>
        <p:grpSpPr>
          <a:xfrm flipH="1">
            <a:off x="3360609" y="2003772"/>
            <a:ext cx="5863969" cy="4112568"/>
            <a:chOff x="3216675" y="2003771"/>
            <a:chExt cx="5889291" cy="4130327"/>
          </a:xfrm>
        </p:grpSpPr>
        <p:pic>
          <p:nvPicPr>
            <p:cNvPr id="57" name="Grafik 56" descr="Ein Bild, das Kleidung, Menschliches Gesicht, Mann, Person enthält.&#10;&#10;Automatisch generierte Beschreibung">
              <a:extLst>
                <a:ext uri="{FF2B5EF4-FFF2-40B4-BE49-F238E27FC236}">
                  <a16:creationId xmlns:a16="http://schemas.microsoft.com/office/drawing/2014/main" id="{F53B5C1F-B249-5258-01A2-CCA4B9140E7C}"/>
                </a:ext>
              </a:extLst>
            </p:cNvPr>
            <p:cNvPicPr>
              <a:picLocks noChangeAspect="1"/>
            </p:cNvPicPr>
            <p:nvPr/>
          </p:nvPicPr>
          <p:blipFill rotWithShape="1">
            <a:blip r:embed="rId6" cstate="screen">
              <a:alphaModFix/>
              <a:extLst>
                <a:ext uri="{28A0092B-C50C-407E-A947-70E740481C1C}">
                  <a14:useLocalDpi xmlns:a14="http://schemas.microsoft.com/office/drawing/2010/main" val="0"/>
                </a:ext>
              </a:extLst>
            </a:blip>
            <a:srcRect l="21609" t="11847" r="18932" b="32018"/>
            <a:stretch/>
          </p:blipFill>
          <p:spPr>
            <a:xfrm>
              <a:off x="3216675" y="2003771"/>
              <a:ext cx="5889291" cy="4130327"/>
            </a:xfrm>
            <a:prstGeom prst="rect">
              <a:avLst/>
            </a:prstGeom>
          </p:spPr>
        </p:pic>
        <p:sp>
          <p:nvSpPr>
            <p:cNvPr id="58" name="Textfeld 57">
              <a:extLst>
                <a:ext uri="{FF2B5EF4-FFF2-40B4-BE49-F238E27FC236}">
                  <a16:creationId xmlns:a16="http://schemas.microsoft.com/office/drawing/2014/main" id="{EE44C719-CBEE-7112-ABD2-E20937623AFD}"/>
                </a:ext>
              </a:extLst>
            </p:cNvPr>
            <p:cNvSpPr txBox="1"/>
            <p:nvPr/>
          </p:nvSpPr>
          <p:spPr>
            <a:xfrm>
              <a:off x="3382667" y="4064233"/>
              <a:ext cx="5408634" cy="304058"/>
            </a:xfrm>
            <a:prstGeom prst="rect">
              <a:avLst/>
            </a:prstGeom>
            <a:noFill/>
          </p:spPr>
          <p:txBody>
            <a:bodyPr wrap="square" lIns="0" tIns="0" rIns="0" bIns="0">
              <a:spAutoFit/>
            </a:bodyPr>
            <a:lstStyle/>
            <a:p>
              <a:pPr algn="ctr">
                <a:lnSpc>
                  <a:spcPts val="2100"/>
                </a:lnSpc>
              </a:pPr>
              <a:r>
                <a:rPr lang="de-DE" sz="2800" b="1" err="1">
                  <a:solidFill>
                    <a:schemeClr val="bg1"/>
                  </a:solidFill>
                  <a:latin typeface="Carnac" panose="02000503000000020004" pitchFamily="2" charset="77"/>
                  <a:ea typeface="Calibri Light" panose="020F0302020204030204" pitchFamily="34" charset="0"/>
                  <a:cs typeface="Calibri Light" panose="020F0302020204030204" pitchFamily="34" charset="0"/>
                </a:rPr>
                <a:t>value</a:t>
              </a:r>
              <a:r>
                <a:rPr lang="de-DE" sz="2800" b="1">
                  <a:solidFill>
                    <a:schemeClr val="bg1"/>
                  </a:solidFill>
                  <a:latin typeface="Carnac" panose="02000503000000020004" pitchFamily="2" charset="77"/>
                  <a:ea typeface="Calibri Light" panose="020F0302020204030204" pitchFamily="34" charset="0"/>
                  <a:cs typeface="Calibri Light" panose="020F0302020204030204" pitchFamily="34" charset="0"/>
                </a:rPr>
                <a:t> – </a:t>
              </a:r>
              <a:r>
                <a:rPr lang="de-DE" sz="2800" b="1" err="1">
                  <a:solidFill>
                    <a:schemeClr val="bg1"/>
                  </a:solidFill>
                  <a:latin typeface="Carnac" panose="02000503000000020004" pitchFamily="2" charset="77"/>
                  <a:ea typeface="Calibri Light" panose="020F0302020204030204" pitchFamily="34" charset="0"/>
                  <a:cs typeface="Calibri Light" panose="020F0302020204030204" pitchFamily="34" charset="0"/>
                </a:rPr>
                <a:t>inspired</a:t>
              </a:r>
              <a:r>
                <a:rPr lang="de-DE" sz="2800" b="1">
                  <a:solidFill>
                    <a:schemeClr val="bg1"/>
                  </a:solidFill>
                  <a:latin typeface="Carnac" panose="02000503000000020004" pitchFamily="2" charset="77"/>
                  <a:ea typeface="Calibri Light" panose="020F0302020204030204" pitchFamily="34" charset="0"/>
                  <a:cs typeface="Calibri Light" panose="020F0302020204030204" pitchFamily="34" charset="0"/>
                </a:rPr>
                <a:t> by </a:t>
              </a:r>
              <a:r>
                <a:rPr lang="de-DE" sz="2800" b="1" err="1">
                  <a:solidFill>
                    <a:schemeClr val="bg1"/>
                  </a:solidFill>
                  <a:latin typeface="Carnac" panose="02000503000000020004" pitchFamily="2" charset="77"/>
                  <a:ea typeface="Calibri Light" panose="020F0302020204030204" pitchFamily="34" charset="0"/>
                  <a:cs typeface="Calibri Light" panose="020F0302020204030204" pitchFamily="34" charset="0"/>
                </a:rPr>
                <a:t>people</a:t>
              </a:r>
              <a:endParaRPr lang="de-DE" sz="2800" b="1">
                <a:solidFill>
                  <a:schemeClr val="bg1"/>
                </a:solidFill>
                <a:latin typeface="Carnac" panose="02000503000000020004" pitchFamily="2" charset="77"/>
                <a:ea typeface="Calibri Light" panose="020F0302020204030204" pitchFamily="34" charset="0"/>
                <a:cs typeface="Calibri Light" panose="020F0302020204030204" pitchFamily="34" charset="0"/>
              </a:endParaRPr>
            </a:p>
          </p:txBody>
        </p:sp>
      </p:grpSp>
      <p:graphicFrame>
        <p:nvGraphicFramePr>
          <p:cNvPr id="9" name="think-cell data - do not delete" hidden="1">
            <a:extLst>
              <a:ext uri="{FF2B5EF4-FFF2-40B4-BE49-F238E27FC236}">
                <a16:creationId xmlns:a16="http://schemas.microsoft.com/office/drawing/2014/main" id="{810842E9-DB16-24DC-AFA6-0372FAB356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306" imgH="306" progId="TCLayout.ActiveDocument.1">
                  <p:embed/>
                </p:oleObj>
              </mc:Choice>
              <mc:Fallback>
                <p:oleObj name="think-cell Folie" r:id="rId7" imgW="306" imgH="306" progId="TCLayout.ActiveDocument.1">
                  <p:embed/>
                  <p:pic>
                    <p:nvPicPr>
                      <p:cNvPr id="9" name="think-cell data - do not delete" hidden="1">
                        <a:extLst>
                          <a:ext uri="{FF2B5EF4-FFF2-40B4-BE49-F238E27FC236}">
                            <a16:creationId xmlns:a16="http://schemas.microsoft.com/office/drawing/2014/main" id="{810842E9-DB16-24DC-AFA6-0372FAB3562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4BE52D22-61A1-DDC9-5ECA-C00CFCDFFC3A}"/>
              </a:ext>
            </a:extLst>
          </p:cNvPr>
          <p:cNvSpPr>
            <a:spLocks noGrp="1"/>
          </p:cNvSpPr>
          <p:nvPr>
            <p:ph type="body" sz="quarter" idx="12"/>
          </p:nvPr>
        </p:nvSpPr>
        <p:spPr/>
        <p:txBody>
          <a:bodyPr/>
          <a:lstStyle/>
          <a:p>
            <a:r>
              <a:rPr lang="de-DE"/>
              <a:t>I IT-Beratung  und intelligente Lösungen</a:t>
            </a:r>
          </a:p>
        </p:txBody>
      </p:sp>
      <p:sp>
        <p:nvSpPr>
          <p:cNvPr id="2" name="Titel 1">
            <a:extLst>
              <a:ext uri="{FF2B5EF4-FFF2-40B4-BE49-F238E27FC236}">
                <a16:creationId xmlns:a16="http://schemas.microsoft.com/office/drawing/2014/main" id="{4151551F-5E36-6304-6E0F-7D3514442890}"/>
              </a:ext>
            </a:extLst>
          </p:cNvPr>
          <p:cNvSpPr>
            <a:spLocks noGrp="1"/>
          </p:cNvSpPr>
          <p:nvPr>
            <p:ph type="title"/>
          </p:nvPr>
        </p:nvSpPr>
        <p:spPr/>
        <p:txBody>
          <a:bodyPr/>
          <a:lstStyle/>
          <a:p>
            <a:r>
              <a:rPr lang="de-DE" dirty="0"/>
              <a:t>Wir begleiten unsere Kunden </a:t>
            </a:r>
            <a:r>
              <a:rPr lang="de-DE" b="1" dirty="0"/>
              <a:t>von der Strategiegestaltung</a:t>
            </a:r>
            <a:br>
              <a:rPr lang="de-DE" b="1" dirty="0"/>
            </a:br>
            <a:r>
              <a:rPr lang="de-DE" b="1" dirty="0"/>
              <a:t>über die technische Umsetzung bis zum Outsourcing von Prozessen</a:t>
            </a:r>
            <a:br>
              <a:rPr lang="de-DE" dirty="0"/>
            </a:br>
            <a:br>
              <a:rPr lang="de-DE" dirty="0"/>
            </a:br>
            <a:endParaRPr lang="de-DE" dirty="0"/>
          </a:p>
        </p:txBody>
      </p:sp>
      <p:sp>
        <p:nvSpPr>
          <p:cNvPr id="4" name="Fußzeilenplatzhalter 1">
            <a:extLst>
              <a:ext uri="{FF2B5EF4-FFF2-40B4-BE49-F238E27FC236}">
                <a16:creationId xmlns:a16="http://schemas.microsoft.com/office/drawing/2014/main" id="{1753E055-C432-0750-4CEC-1085ECB79A3E}"/>
              </a:ext>
            </a:extLst>
          </p:cNvPr>
          <p:cNvSpPr>
            <a:spLocks noGrp="1"/>
          </p:cNvSpPr>
          <p:nvPr>
            <p:ph type="ftr" sz="quarter" idx="10"/>
          </p:nvPr>
        </p:nvSpPr>
        <p:spPr/>
        <p:txBody>
          <a:bodyPr/>
          <a:lstStyle/>
          <a:p>
            <a:r>
              <a:rPr lang="de-DE"/>
              <a:t>© msg systems ag | 2026 | msg-Unternehmenspräsentation</a:t>
            </a:r>
          </a:p>
        </p:txBody>
      </p:sp>
      <p:sp>
        <p:nvSpPr>
          <p:cNvPr id="3" name="Foliennummernplatzhalter 2">
            <a:extLst>
              <a:ext uri="{FF2B5EF4-FFF2-40B4-BE49-F238E27FC236}">
                <a16:creationId xmlns:a16="http://schemas.microsoft.com/office/drawing/2014/main" id="{5A55A877-F742-D774-C93F-89EE9D04AF5C}"/>
              </a:ext>
            </a:extLst>
          </p:cNvPr>
          <p:cNvSpPr>
            <a:spLocks noGrp="1"/>
          </p:cNvSpPr>
          <p:nvPr>
            <p:ph type="sldNum" sz="quarter" idx="11"/>
          </p:nvPr>
        </p:nvSpPr>
        <p:spPr/>
        <p:txBody>
          <a:bodyPr/>
          <a:lstStyle/>
          <a:p>
            <a:fld id="{B27B0579-4238-4E44-9A9E-134B676F827C}" type="slidenum">
              <a:rPr lang="de-DE" dirty="0" smtClean="0"/>
              <a:pPr/>
              <a:t>19</a:t>
            </a:fld>
            <a:endParaRPr lang="de-DE"/>
          </a:p>
        </p:txBody>
      </p:sp>
      <p:grpSp>
        <p:nvGrpSpPr>
          <p:cNvPr id="28" name="Gruppieren 27">
            <a:extLst>
              <a:ext uri="{FF2B5EF4-FFF2-40B4-BE49-F238E27FC236}">
                <a16:creationId xmlns:a16="http://schemas.microsoft.com/office/drawing/2014/main" id="{6B8BB86D-BCF5-35E0-34D5-982261E83AD4}"/>
              </a:ext>
            </a:extLst>
          </p:cNvPr>
          <p:cNvGrpSpPr/>
          <p:nvPr/>
        </p:nvGrpSpPr>
        <p:grpSpPr>
          <a:xfrm>
            <a:off x="10144547" y="2610591"/>
            <a:ext cx="1720333" cy="537627"/>
            <a:chOff x="10468800" y="406800"/>
            <a:chExt cx="1386000" cy="435600"/>
          </a:xfrm>
          <a:solidFill>
            <a:schemeClr val="accent2"/>
          </a:solidFill>
        </p:grpSpPr>
        <p:sp>
          <p:nvSpPr>
            <p:cNvPr id="29" name="Oval 699">
              <a:extLst>
                <a:ext uri="{FF2B5EF4-FFF2-40B4-BE49-F238E27FC236}">
                  <a16:creationId xmlns:a16="http://schemas.microsoft.com/office/drawing/2014/main" id="{A5132D6D-FB44-4051-F34F-515BDD7314C9}"/>
                </a:ext>
              </a:extLst>
            </p:cNvPr>
            <p:cNvSpPr>
              <a:spLocks noChangeArrowheads="1"/>
            </p:cNvSpPr>
            <p:nvPr/>
          </p:nvSpPr>
          <p:spPr bwMode="white">
            <a:xfrm>
              <a:off x="10468800" y="597207"/>
              <a:ext cx="144400" cy="14490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700">
              <a:extLst>
                <a:ext uri="{FF2B5EF4-FFF2-40B4-BE49-F238E27FC236}">
                  <a16:creationId xmlns:a16="http://schemas.microsoft.com/office/drawing/2014/main" id="{8641EF3B-CE3B-3D80-CA56-87C4C3920DA9}"/>
                </a:ext>
              </a:extLst>
            </p:cNvPr>
            <p:cNvSpPr>
              <a:spLocks/>
            </p:cNvSpPr>
            <p:nvPr/>
          </p:nvSpPr>
          <p:spPr bwMode="white">
            <a:xfrm>
              <a:off x="10659838" y="406800"/>
              <a:ext cx="466086" cy="333212"/>
            </a:xfrm>
            <a:custGeom>
              <a:avLst/>
              <a:gdLst>
                <a:gd name="T0" fmla="*/ 0 w 659"/>
                <a:gd name="T1" fmla="*/ 0 h 469"/>
                <a:gd name="T2" fmla="*/ 0 w 659"/>
                <a:gd name="T3" fmla="*/ 469 h 469"/>
                <a:gd name="T4" fmla="*/ 85 w 659"/>
                <a:gd name="T5" fmla="*/ 469 h 469"/>
                <a:gd name="T6" fmla="*/ 85 w 659"/>
                <a:gd name="T7" fmla="*/ 72 h 469"/>
                <a:gd name="T8" fmla="*/ 282 w 659"/>
                <a:gd name="T9" fmla="*/ 72 h 469"/>
                <a:gd name="T10" fmla="*/ 282 w 659"/>
                <a:gd name="T11" fmla="*/ 469 h 469"/>
                <a:gd name="T12" fmla="*/ 367 w 659"/>
                <a:gd name="T13" fmla="*/ 469 h 469"/>
                <a:gd name="T14" fmla="*/ 367 w 659"/>
                <a:gd name="T15" fmla="*/ 72 h 469"/>
                <a:gd name="T16" fmla="*/ 498 w 659"/>
                <a:gd name="T17" fmla="*/ 72 h 469"/>
                <a:gd name="T18" fmla="*/ 573 w 659"/>
                <a:gd name="T19" fmla="*/ 155 h 469"/>
                <a:gd name="T20" fmla="*/ 573 w 659"/>
                <a:gd name="T21" fmla="*/ 469 h 469"/>
                <a:gd name="T22" fmla="*/ 659 w 659"/>
                <a:gd name="T23" fmla="*/ 469 h 469"/>
                <a:gd name="T24" fmla="*/ 659 w 659"/>
                <a:gd name="T25" fmla="*/ 132 h 469"/>
                <a:gd name="T26" fmla="*/ 541 w 659"/>
                <a:gd name="T27" fmla="*/ 0 h 469"/>
                <a:gd name="T28" fmla="*/ 0 w 659"/>
                <a:gd name="T29"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9" h="469">
                  <a:moveTo>
                    <a:pt x="0" y="0"/>
                  </a:moveTo>
                  <a:cubicBezTo>
                    <a:pt x="0" y="469"/>
                    <a:pt x="0" y="469"/>
                    <a:pt x="0" y="469"/>
                  </a:cubicBezTo>
                  <a:cubicBezTo>
                    <a:pt x="85" y="469"/>
                    <a:pt x="85" y="469"/>
                    <a:pt x="85" y="469"/>
                  </a:cubicBezTo>
                  <a:cubicBezTo>
                    <a:pt x="85" y="72"/>
                    <a:pt x="85" y="72"/>
                    <a:pt x="85" y="72"/>
                  </a:cubicBezTo>
                  <a:cubicBezTo>
                    <a:pt x="85" y="72"/>
                    <a:pt x="218" y="72"/>
                    <a:pt x="282" y="72"/>
                  </a:cubicBezTo>
                  <a:cubicBezTo>
                    <a:pt x="282" y="469"/>
                    <a:pt x="282" y="469"/>
                    <a:pt x="282" y="469"/>
                  </a:cubicBezTo>
                  <a:cubicBezTo>
                    <a:pt x="367" y="469"/>
                    <a:pt x="367" y="469"/>
                    <a:pt x="367" y="469"/>
                  </a:cubicBezTo>
                  <a:cubicBezTo>
                    <a:pt x="367" y="72"/>
                    <a:pt x="367" y="72"/>
                    <a:pt x="367" y="72"/>
                  </a:cubicBezTo>
                  <a:cubicBezTo>
                    <a:pt x="424" y="72"/>
                    <a:pt x="472" y="72"/>
                    <a:pt x="498" y="72"/>
                  </a:cubicBezTo>
                  <a:cubicBezTo>
                    <a:pt x="542" y="72"/>
                    <a:pt x="573" y="98"/>
                    <a:pt x="573" y="155"/>
                  </a:cubicBezTo>
                  <a:cubicBezTo>
                    <a:pt x="573" y="469"/>
                    <a:pt x="573" y="469"/>
                    <a:pt x="573" y="469"/>
                  </a:cubicBezTo>
                  <a:cubicBezTo>
                    <a:pt x="659" y="469"/>
                    <a:pt x="659" y="469"/>
                    <a:pt x="659" y="469"/>
                  </a:cubicBezTo>
                  <a:cubicBezTo>
                    <a:pt x="659" y="346"/>
                    <a:pt x="659" y="239"/>
                    <a:pt x="659" y="132"/>
                  </a:cubicBezTo>
                  <a:cubicBezTo>
                    <a:pt x="659" y="68"/>
                    <a:pt x="626" y="0"/>
                    <a:pt x="541" y="0"/>
                  </a:cubicBezTo>
                  <a:cubicBezTo>
                    <a:pt x="0" y="0"/>
                    <a:pt x="0" y="0"/>
                    <a:pt x="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701">
              <a:extLst>
                <a:ext uri="{FF2B5EF4-FFF2-40B4-BE49-F238E27FC236}">
                  <a16:creationId xmlns:a16="http://schemas.microsoft.com/office/drawing/2014/main" id="{AFAD8BEA-40C5-E558-CDFA-C7FB9AC5C35C}"/>
                </a:ext>
              </a:extLst>
            </p:cNvPr>
            <p:cNvSpPr>
              <a:spLocks/>
            </p:cNvSpPr>
            <p:nvPr/>
          </p:nvSpPr>
          <p:spPr bwMode="white">
            <a:xfrm>
              <a:off x="11161202" y="406800"/>
              <a:ext cx="330954" cy="333212"/>
            </a:xfrm>
            <a:custGeom>
              <a:avLst/>
              <a:gdLst>
                <a:gd name="T0" fmla="*/ 121 w 468"/>
                <a:gd name="T1" fmla="*/ 0 h 469"/>
                <a:gd name="T2" fmla="*/ 0 w 468"/>
                <a:gd name="T3" fmla="*/ 130 h 469"/>
                <a:gd name="T4" fmla="*/ 115 w 468"/>
                <a:gd name="T5" fmla="*/ 266 h 469"/>
                <a:gd name="T6" fmla="*/ 319 w 468"/>
                <a:gd name="T7" fmla="*/ 266 h 469"/>
                <a:gd name="T8" fmla="*/ 381 w 468"/>
                <a:gd name="T9" fmla="*/ 335 h 469"/>
                <a:gd name="T10" fmla="*/ 320 w 468"/>
                <a:gd name="T11" fmla="*/ 398 h 469"/>
                <a:gd name="T12" fmla="*/ 8 w 468"/>
                <a:gd name="T13" fmla="*/ 398 h 469"/>
                <a:gd name="T14" fmla="*/ 8 w 468"/>
                <a:gd name="T15" fmla="*/ 469 h 469"/>
                <a:gd name="T16" fmla="*/ 356 w 468"/>
                <a:gd name="T17" fmla="*/ 469 h 469"/>
                <a:gd name="T18" fmla="*/ 468 w 468"/>
                <a:gd name="T19" fmla="*/ 336 h 469"/>
                <a:gd name="T20" fmla="*/ 362 w 468"/>
                <a:gd name="T21" fmla="*/ 194 h 469"/>
                <a:gd name="T22" fmla="*/ 142 w 468"/>
                <a:gd name="T23" fmla="*/ 194 h 469"/>
                <a:gd name="T24" fmla="*/ 86 w 468"/>
                <a:gd name="T25" fmla="*/ 132 h 469"/>
                <a:gd name="T26" fmla="*/ 151 w 468"/>
                <a:gd name="T27" fmla="*/ 72 h 469"/>
                <a:gd name="T28" fmla="*/ 452 w 468"/>
                <a:gd name="T29" fmla="*/ 72 h 469"/>
                <a:gd name="T30" fmla="*/ 452 w 468"/>
                <a:gd name="T31" fmla="*/ 0 h 469"/>
                <a:gd name="T32" fmla="*/ 121 w 468"/>
                <a:gd name="T33"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8" h="469">
                  <a:moveTo>
                    <a:pt x="121" y="0"/>
                  </a:moveTo>
                  <a:cubicBezTo>
                    <a:pt x="28" y="0"/>
                    <a:pt x="0" y="62"/>
                    <a:pt x="0" y="130"/>
                  </a:cubicBezTo>
                  <a:cubicBezTo>
                    <a:pt x="0" y="204"/>
                    <a:pt x="31" y="266"/>
                    <a:pt x="115" y="266"/>
                  </a:cubicBezTo>
                  <a:cubicBezTo>
                    <a:pt x="191" y="266"/>
                    <a:pt x="262" y="266"/>
                    <a:pt x="319" y="266"/>
                  </a:cubicBezTo>
                  <a:cubicBezTo>
                    <a:pt x="381" y="266"/>
                    <a:pt x="381" y="314"/>
                    <a:pt x="381" y="335"/>
                  </a:cubicBezTo>
                  <a:cubicBezTo>
                    <a:pt x="381" y="356"/>
                    <a:pt x="381" y="398"/>
                    <a:pt x="320" y="398"/>
                  </a:cubicBezTo>
                  <a:cubicBezTo>
                    <a:pt x="272" y="398"/>
                    <a:pt x="8" y="398"/>
                    <a:pt x="8" y="398"/>
                  </a:cubicBezTo>
                  <a:cubicBezTo>
                    <a:pt x="8" y="398"/>
                    <a:pt x="8" y="449"/>
                    <a:pt x="8" y="469"/>
                  </a:cubicBezTo>
                  <a:cubicBezTo>
                    <a:pt x="356" y="469"/>
                    <a:pt x="356" y="469"/>
                    <a:pt x="356" y="469"/>
                  </a:cubicBezTo>
                  <a:cubicBezTo>
                    <a:pt x="443" y="469"/>
                    <a:pt x="468" y="418"/>
                    <a:pt x="468" y="336"/>
                  </a:cubicBezTo>
                  <a:cubicBezTo>
                    <a:pt x="468" y="238"/>
                    <a:pt x="436" y="194"/>
                    <a:pt x="362" y="194"/>
                  </a:cubicBezTo>
                  <a:cubicBezTo>
                    <a:pt x="274" y="194"/>
                    <a:pt x="213" y="194"/>
                    <a:pt x="142" y="194"/>
                  </a:cubicBezTo>
                  <a:cubicBezTo>
                    <a:pt x="86" y="194"/>
                    <a:pt x="86" y="157"/>
                    <a:pt x="86" y="132"/>
                  </a:cubicBezTo>
                  <a:cubicBezTo>
                    <a:pt x="86" y="112"/>
                    <a:pt x="92" y="72"/>
                    <a:pt x="151" y="72"/>
                  </a:cubicBezTo>
                  <a:cubicBezTo>
                    <a:pt x="214" y="72"/>
                    <a:pt x="452" y="72"/>
                    <a:pt x="452" y="72"/>
                  </a:cubicBezTo>
                  <a:cubicBezTo>
                    <a:pt x="452" y="43"/>
                    <a:pt x="452" y="27"/>
                    <a:pt x="452" y="0"/>
                  </a:cubicBezTo>
                  <a:cubicBezTo>
                    <a:pt x="121" y="0"/>
                    <a:pt x="121" y="0"/>
                    <a:pt x="121"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702">
              <a:extLst>
                <a:ext uri="{FF2B5EF4-FFF2-40B4-BE49-F238E27FC236}">
                  <a16:creationId xmlns:a16="http://schemas.microsoft.com/office/drawing/2014/main" id="{01DD93D8-C5CF-C53E-EEA9-BF2EDA56C5F1}"/>
                </a:ext>
              </a:extLst>
            </p:cNvPr>
            <p:cNvSpPr>
              <a:spLocks noEditPoints="1"/>
            </p:cNvSpPr>
            <p:nvPr/>
          </p:nvSpPr>
          <p:spPr bwMode="white">
            <a:xfrm>
              <a:off x="11528929" y="406800"/>
              <a:ext cx="325871" cy="435600"/>
            </a:xfrm>
            <a:custGeom>
              <a:avLst/>
              <a:gdLst>
                <a:gd name="T0" fmla="*/ 170 w 461"/>
                <a:gd name="T1" fmla="*/ 0 h 613"/>
                <a:gd name="T2" fmla="*/ 44 w 461"/>
                <a:gd name="T3" fmla="*/ 29 h 613"/>
                <a:gd name="T4" fmla="*/ 0 w 461"/>
                <a:gd name="T5" fmla="*/ 149 h 613"/>
                <a:gd name="T6" fmla="*/ 0 w 461"/>
                <a:gd name="T7" fmla="*/ 233 h 613"/>
                <a:gd name="T8" fmla="*/ 0 w 461"/>
                <a:gd name="T9" fmla="*/ 318 h 613"/>
                <a:gd name="T10" fmla="*/ 47 w 461"/>
                <a:gd name="T11" fmla="*/ 445 h 613"/>
                <a:gd name="T12" fmla="*/ 170 w 461"/>
                <a:gd name="T13" fmla="*/ 469 h 613"/>
                <a:gd name="T14" fmla="*/ 376 w 461"/>
                <a:gd name="T15" fmla="*/ 469 h 613"/>
                <a:gd name="T16" fmla="*/ 376 w 461"/>
                <a:gd name="T17" fmla="*/ 487 h 613"/>
                <a:gd name="T18" fmla="*/ 328 w 461"/>
                <a:gd name="T19" fmla="*/ 538 h 613"/>
                <a:gd name="T20" fmla="*/ 61 w 461"/>
                <a:gd name="T21" fmla="*/ 538 h 613"/>
                <a:gd name="T22" fmla="*/ 61 w 461"/>
                <a:gd name="T23" fmla="*/ 613 h 613"/>
                <a:gd name="T24" fmla="*/ 356 w 461"/>
                <a:gd name="T25" fmla="*/ 613 h 613"/>
                <a:gd name="T26" fmla="*/ 461 w 461"/>
                <a:gd name="T27" fmla="*/ 511 h 613"/>
                <a:gd name="T28" fmla="*/ 461 w 461"/>
                <a:gd name="T29" fmla="*/ 0 h 613"/>
                <a:gd name="T30" fmla="*/ 170 w 461"/>
                <a:gd name="T31" fmla="*/ 0 h 613"/>
                <a:gd name="T32" fmla="*/ 376 w 461"/>
                <a:gd name="T33" fmla="*/ 398 h 613"/>
                <a:gd name="T34" fmla="*/ 196 w 461"/>
                <a:gd name="T35" fmla="*/ 398 h 613"/>
                <a:gd name="T36" fmla="*/ 88 w 461"/>
                <a:gd name="T37" fmla="*/ 333 h 613"/>
                <a:gd name="T38" fmla="*/ 88 w 461"/>
                <a:gd name="T39" fmla="*/ 231 h 613"/>
                <a:gd name="T40" fmla="*/ 88 w 461"/>
                <a:gd name="T41" fmla="*/ 148 h 613"/>
                <a:gd name="T42" fmla="*/ 200 w 461"/>
                <a:gd name="T43" fmla="*/ 72 h 613"/>
                <a:gd name="T44" fmla="*/ 376 w 461"/>
                <a:gd name="T45" fmla="*/ 72 h 613"/>
                <a:gd name="T46" fmla="*/ 376 w 461"/>
                <a:gd name="T47" fmla="*/ 39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1" h="613">
                  <a:moveTo>
                    <a:pt x="170" y="0"/>
                  </a:moveTo>
                  <a:cubicBezTo>
                    <a:pt x="94" y="0"/>
                    <a:pt x="65" y="12"/>
                    <a:pt x="44" y="29"/>
                  </a:cubicBezTo>
                  <a:cubicBezTo>
                    <a:pt x="22" y="47"/>
                    <a:pt x="1" y="70"/>
                    <a:pt x="0" y="149"/>
                  </a:cubicBezTo>
                  <a:cubicBezTo>
                    <a:pt x="0" y="233"/>
                    <a:pt x="0" y="233"/>
                    <a:pt x="0" y="233"/>
                  </a:cubicBezTo>
                  <a:cubicBezTo>
                    <a:pt x="0" y="318"/>
                    <a:pt x="0" y="318"/>
                    <a:pt x="0" y="318"/>
                  </a:cubicBezTo>
                  <a:cubicBezTo>
                    <a:pt x="0" y="402"/>
                    <a:pt x="23" y="425"/>
                    <a:pt x="47" y="445"/>
                  </a:cubicBezTo>
                  <a:cubicBezTo>
                    <a:pt x="63" y="456"/>
                    <a:pt x="89" y="469"/>
                    <a:pt x="170" y="469"/>
                  </a:cubicBezTo>
                  <a:cubicBezTo>
                    <a:pt x="376" y="469"/>
                    <a:pt x="376" y="469"/>
                    <a:pt x="376" y="469"/>
                  </a:cubicBezTo>
                  <a:cubicBezTo>
                    <a:pt x="376" y="469"/>
                    <a:pt x="376" y="484"/>
                    <a:pt x="376" y="487"/>
                  </a:cubicBezTo>
                  <a:cubicBezTo>
                    <a:pt x="376" y="523"/>
                    <a:pt x="369" y="538"/>
                    <a:pt x="328" y="538"/>
                  </a:cubicBezTo>
                  <a:cubicBezTo>
                    <a:pt x="61" y="538"/>
                    <a:pt x="61" y="538"/>
                    <a:pt x="61" y="538"/>
                  </a:cubicBezTo>
                  <a:cubicBezTo>
                    <a:pt x="61" y="613"/>
                    <a:pt x="61" y="613"/>
                    <a:pt x="61" y="613"/>
                  </a:cubicBezTo>
                  <a:cubicBezTo>
                    <a:pt x="356" y="613"/>
                    <a:pt x="356" y="613"/>
                    <a:pt x="356" y="613"/>
                  </a:cubicBezTo>
                  <a:cubicBezTo>
                    <a:pt x="435" y="613"/>
                    <a:pt x="461" y="578"/>
                    <a:pt x="461" y="511"/>
                  </a:cubicBezTo>
                  <a:cubicBezTo>
                    <a:pt x="461" y="0"/>
                    <a:pt x="461" y="0"/>
                    <a:pt x="461" y="0"/>
                  </a:cubicBezTo>
                  <a:lnTo>
                    <a:pt x="170" y="0"/>
                  </a:lnTo>
                  <a:close/>
                  <a:moveTo>
                    <a:pt x="376" y="398"/>
                  </a:moveTo>
                  <a:cubicBezTo>
                    <a:pt x="196" y="398"/>
                    <a:pt x="196" y="398"/>
                    <a:pt x="196" y="398"/>
                  </a:cubicBezTo>
                  <a:cubicBezTo>
                    <a:pt x="143" y="398"/>
                    <a:pt x="89" y="402"/>
                    <a:pt x="88" y="333"/>
                  </a:cubicBezTo>
                  <a:cubicBezTo>
                    <a:pt x="88" y="330"/>
                    <a:pt x="88" y="305"/>
                    <a:pt x="88" y="231"/>
                  </a:cubicBezTo>
                  <a:cubicBezTo>
                    <a:pt x="88" y="169"/>
                    <a:pt x="87" y="154"/>
                    <a:pt x="88" y="148"/>
                  </a:cubicBezTo>
                  <a:cubicBezTo>
                    <a:pt x="91" y="90"/>
                    <a:pt x="112" y="70"/>
                    <a:pt x="200" y="72"/>
                  </a:cubicBezTo>
                  <a:cubicBezTo>
                    <a:pt x="205" y="72"/>
                    <a:pt x="376" y="72"/>
                    <a:pt x="376" y="72"/>
                  </a:cubicBezTo>
                  <a:lnTo>
                    <a:pt x="376" y="39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pic>
        <p:nvPicPr>
          <p:cNvPr id="33" name="Picture 2" descr="msg industry advisors ag - Homepage">
            <a:extLst>
              <a:ext uri="{FF2B5EF4-FFF2-40B4-BE49-F238E27FC236}">
                <a16:creationId xmlns:a16="http://schemas.microsoft.com/office/drawing/2014/main" id="{EBB6CC1E-98A2-0B46-D3A2-D3F8C069A094}"/>
              </a:ext>
            </a:extLst>
          </p:cNvPr>
          <p:cNvPicPr>
            <a:picLocks noChangeAspect="1" noChangeArrowheads="1"/>
          </p:cNvPicPr>
          <p:nvPr/>
        </p:nvPicPr>
        <p:blipFill rotWithShape="1">
          <a:blip r:embed="rId9" cstate="screen">
            <a:extLst>
              <a:ext uri="{28A0092B-C50C-407E-A947-70E740481C1C}">
                <a14:useLocalDpi xmlns:a14="http://schemas.microsoft.com/office/drawing/2010/main" val="0"/>
              </a:ext>
            </a:extLst>
          </a:blip>
          <a:srcRect t="1" b="-4084"/>
          <a:stretch/>
        </p:blipFill>
        <p:spPr bwMode="auto">
          <a:xfrm>
            <a:off x="614160" y="2630888"/>
            <a:ext cx="1609827" cy="517330"/>
          </a:xfrm>
          <a:prstGeom prst="rect">
            <a:avLst/>
          </a:prstGeom>
          <a:noFill/>
          <a:extLst>
            <a:ext uri="{909E8E84-426E-40DD-AFC4-6F175D3DCCD1}">
              <a14:hiddenFill xmlns:a14="http://schemas.microsoft.com/office/drawing/2010/main">
                <a:solidFill>
                  <a:srgbClr val="FFFFFF"/>
                </a:solidFill>
              </a14:hiddenFill>
            </a:ext>
          </a:extLst>
        </p:spPr>
      </p:pic>
      <p:sp>
        <p:nvSpPr>
          <p:cNvPr id="34" name="Textfeld 33">
            <a:extLst>
              <a:ext uri="{FF2B5EF4-FFF2-40B4-BE49-F238E27FC236}">
                <a16:creationId xmlns:a16="http://schemas.microsoft.com/office/drawing/2014/main" id="{827626FF-C4D1-05F6-7AFE-2C6275F8C8BA}"/>
              </a:ext>
            </a:extLst>
          </p:cNvPr>
          <p:cNvSpPr txBox="1"/>
          <p:nvPr/>
        </p:nvSpPr>
        <p:spPr>
          <a:xfrm>
            <a:off x="9315483" y="2170294"/>
            <a:ext cx="2549398" cy="273023"/>
          </a:xfrm>
          <a:prstGeom prst="rect">
            <a:avLst/>
          </a:prstGeom>
          <a:noFill/>
        </p:spPr>
        <p:txBody>
          <a:bodyPr wrap="square" lIns="0" tIns="0" rIns="0" bIns="0">
            <a:spAutoFit/>
          </a:bodyPr>
          <a:lstStyle/>
          <a:p>
            <a:pPr algn="r">
              <a:lnSpc>
                <a:spcPts val="2100"/>
              </a:lnSpc>
            </a:pPr>
            <a:r>
              <a:rPr lang="de-DE" sz="2000"/>
              <a:t>Intelligente Lösungen</a:t>
            </a:r>
          </a:p>
        </p:txBody>
      </p:sp>
      <p:sp>
        <p:nvSpPr>
          <p:cNvPr id="35" name="Textfeld 34">
            <a:extLst>
              <a:ext uri="{FF2B5EF4-FFF2-40B4-BE49-F238E27FC236}">
                <a16:creationId xmlns:a16="http://schemas.microsoft.com/office/drawing/2014/main" id="{93B8335D-F799-A944-3C5E-7C268B4D9D0F}"/>
              </a:ext>
            </a:extLst>
          </p:cNvPr>
          <p:cNvSpPr txBox="1"/>
          <p:nvPr/>
        </p:nvSpPr>
        <p:spPr>
          <a:xfrm>
            <a:off x="614160" y="2167012"/>
            <a:ext cx="2268249" cy="273023"/>
          </a:xfrm>
          <a:prstGeom prst="rect">
            <a:avLst/>
          </a:prstGeom>
          <a:noFill/>
        </p:spPr>
        <p:txBody>
          <a:bodyPr wrap="none" lIns="0" tIns="0" rIns="0" bIns="0">
            <a:spAutoFit/>
          </a:bodyPr>
          <a:lstStyle/>
          <a:p>
            <a:pPr algn="r">
              <a:lnSpc>
                <a:spcPts val="2100"/>
              </a:lnSpc>
            </a:pPr>
            <a:r>
              <a:rPr lang="de-DE" sz="2000"/>
              <a:t>Business Consulting</a:t>
            </a:r>
          </a:p>
        </p:txBody>
      </p:sp>
      <p:cxnSp>
        <p:nvCxnSpPr>
          <p:cNvPr id="36" name="Gerade Verbindung 18">
            <a:extLst>
              <a:ext uri="{FF2B5EF4-FFF2-40B4-BE49-F238E27FC236}">
                <a16:creationId xmlns:a16="http://schemas.microsoft.com/office/drawing/2014/main" id="{6C03F3AA-EF61-15DE-9701-FC850F9F0CA5}"/>
              </a:ext>
            </a:extLst>
          </p:cNvPr>
          <p:cNvCxnSpPr>
            <a:cxnSpLocks/>
          </p:cNvCxnSpPr>
          <p:nvPr/>
        </p:nvCxnSpPr>
        <p:spPr>
          <a:xfrm flipH="1">
            <a:off x="623360" y="2512291"/>
            <a:ext cx="3584575"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37" name="Gerade Verbindung 19">
            <a:extLst>
              <a:ext uri="{FF2B5EF4-FFF2-40B4-BE49-F238E27FC236}">
                <a16:creationId xmlns:a16="http://schemas.microsoft.com/office/drawing/2014/main" id="{39761372-7903-455F-35AC-D0B96C9D3DF7}"/>
              </a:ext>
            </a:extLst>
          </p:cNvPr>
          <p:cNvCxnSpPr/>
          <p:nvPr/>
        </p:nvCxnSpPr>
        <p:spPr>
          <a:xfrm flipH="1">
            <a:off x="8280305" y="2512291"/>
            <a:ext cx="3584575"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sp>
        <p:nvSpPr>
          <p:cNvPr id="59" name="Textplatzhalter 14">
            <a:extLst>
              <a:ext uri="{FF2B5EF4-FFF2-40B4-BE49-F238E27FC236}">
                <a16:creationId xmlns:a16="http://schemas.microsoft.com/office/drawing/2014/main" id="{3B91C4CC-E5A9-7DBA-ACFE-17F80E9BFB6B}"/>
              </a:ext>
            </a:extLst>
          </p:cNvPr>
          <p:cNvSpPr txBox="1">
            <a:spLocks/>
          </p:cNvSpPr>
          <p:nvPr/>
        </p:nvSpPr>
        <p:spPr>
          <a:xfrm>
            <a:off x="627275" y="3425310"/>
            <a:ext cx="2857777" cy="2600712"/>
          </a:xfrm>
          <a:prstGeom prst="rect">
            <a:avLst/>
          </a:prstGeom>
        </p:spPr>
        <p:txBody>
          <a:bodyPr wrap="square" lIns="0" tIns="0" rIns="0" bIns="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latinLnBrk="1">
              <a:lnSpc>
                <a:spcPct val="100000"/>
              </a:lnSpc>
              <a:spcBef>
                <a:spcPts val="600"/>
              </a:spcBef>
            </a:pPr>
            <a:r>
              <a:rPr lang="de-DE" sz="1300" noProof="0">
                <a:ea typeface="Calibri"/>
                <a:cs typeface="Calibri"/>
              </a:rPr>
              <a:t>Wir unterstützen Sie bei der </a:t>
            </a:r>
            <a:br>
              <a:rPr lang="de-DE" sz="1300" noProof="0">
                <a:ea typeface="Calibri"/>
                <a:cs typeface="Calibri"/>
              </a:rPr>
            </a:br>
            <a:r>
              <a:rPr lang="de-DE" sz="1300" noProof="0">
                <a:ea typeface="Calibri"/>
                <a:cs typeface="Calibri"/>
              </a:rPr>
              <a:t>Konzeption und dem Aufbau </a:t>
            </a:r>
            <a:br>
              <a:rPr lang="de-DE" sz="1300" noProof="0">
                <a:ea typeface="Calibri"/>
                <a:cs typeface="Calibri"/>
              </a:rPr>
            </a:br>
            <a:r>
              <a:rPr lang="de-DE" sz="1300" noProof="0">
                <a:ea typeface="Calibri"/>
                <a:cs typeface="Calibri"/>
              </a:rPr>
              <a:t>branchenübergreifender Ökosysteme. </a:t>
            </a:r>
          </a:p>
          <a:p>
            <a:pPr latinLnBrk="1">
              <a:lnSpc>
                <a:spcPct val="100000"/>
              </a:lnSpc>
              <a:spcBef>
                <a:spcPts val="600"/>
              </a:spcBef>
            </a:pPr>
            <a:r>
              <a:rPr lang="de-DE" sz="1300" noProof="0">
                <a:ea typeface="Calibri"/>
                <a:cs typeface="Calibri"/>
              </a:rPr>
              <a:t>Von der Entwicklung branchen-</a:t>
            </a:r>
            <a:br>
              <a:rPr lang="de-DE" sz="1300" noProof="0">
                <a:ea typeface="Calibri"/>
                <a:cs typeface="Calibri"/>
              </a:rPr>
            </a:br>
            <a:r>
              <a:rPr lang="de-DE" sz="1300" noProof="0">
                <a:ea typeface="Calibri"/>
                <a:cs typeface="Calibri"/>
              </a:rPr>
              <a:t>spezifischer Zukunftsszenarien bis zur </a:t>
            </a:r>
            <a:br>
              <a:rPr lang="de-DE" sz="1300" noProof="0">
                <a:ea typeface="Calibri"/>
                <a:cs typeface="Calibri"/>
              </a:rPr>
            </a:br>
            <a:r>
              <a:rPr lang="de-DE" sz="1300" noProof="0">
                <a:ea typeface="Calibri"/>
                <a:cs typeface="Calibri"/>
              </a:rPr>
              <a:t>Transformation von Geschäftsmodellen inklusive der Umsetzung regulatorischer Anforderungen sind wir Ihr Partner.</a:t>
            </a:r>
          </a:p>
          <a:p>
            <a:pPr>
              <a:lnSpc>
                <a:spcPct val="100000"/>
              </a:lnSpc>
              <a:spcBef>
                <a:spcPts val="600"/>
              </a:spcBef>
              <a:spcAft>
                <a:spcPts val="600"/>
              </a:spcAft>
            </a:pPr>
            <a:endParaRPr lang="de-DE" sz="1400" noProof="0">
              <a:solidFill>
                <a:schemeClr val="accent1"/>
              </a:solidFill>
              <a:cs typeface="Calibri Light" panose="020F0302020204030204" pitchFamily="34" charset="0"/>
            </a:endParaRPr>
          </a:p>
        </p:txBody>
      </p:sp>
      <p:sp>
        <p:nvSpPr>
          <p:cNvPr id="60" name="Textplatzhalter 14">
            <a:extLst>
              <a:ext uri="{FF2B5EF4-FFF2-40B4-BE49-F238E27FC236}">
                <a16:creationId xmlns:a16="http://schemas.microsoft.com/office/drawing/2014/main" id="{61304D8A-F9B8-3206-3545-E1AB008111AF}"/>
              </a:ext>
            </a:extLst>
          </p:cNvPr>
          <p:cNvSpPr txBox="1">
            <a:spLocks/>
          </p:cNvSpPr>
          <p:nvPr/>
        </p:nvSpPr>
        <p:spPr>
          <a:xfrm>
            <a:off x="8976785" y="3367719"/>
            <a:ext cx="2877173" cy="2440117"/>
          </a:xfrm>
          <a:prstGeom prst="rect">
            <a:avLst/>
          </a:prstGeom>
        </p:spPr>
        <p:txBody>
          <a:bodyPr wrap="square" lIns="0" tIns="0" rIns="0" bIns="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lnSpc>
                <a:spcPct val="100000"/>
              </a:lnSpc>
              <a:spcBef>
                <a:spcPts val="600"/>
              </a:spcBef>
            </a:pPr>
            <a:r>
              <a:rPr lang="de-DE" sz="1300">
                <a:ea typeface="Calibri"/>
                <a:cs typeface="Calibri"/>
              </a:rPr>
              <a:t>Sie profitieren von unserem </a:t>
            </a:r>
            <a:br>
              <a:rPr lang="de-DE" sz="1300">
                <a:ea typeface="Calibri"/>
                <a:cs typeface="Calibri"/>
              </a:rPr>
            </a:br>
            <a:r>
              <a:rPr lang="de-DE" sz="1300">
                <a:ea typeface="Calibri"/>
                <a:cs typeface="Calibri"/>
              </a:rPr>
              <a:t>fundierten  Branchen-, Technologie- </a:t>
            </a:r>
            <a:br>
              <a:rPr lang="de-DE" sz="1300">
                <a:ea typeface="Calibri"/>
                <a:cs typeface="Calibri"/>
              </a:rPr>
            </a:br>
            <a:r>
              <a:rPr lang="de-DE" sz="1300">
                <a:ea typeface="Calibri"/>
                <a:cs typeface="Calibri"/>
              </a:rPr>
              <a:t>und Implementierungs-Know-how. </a:t>
            </a:r>
          </a:p>
          <a:p>
            <a:pPr algn="r">
              <a:lnSpc>
                <a:spcPct val="100000"/>
              </a:lnSpc>
              <a:spcBef>
                <a:spcPts val="600"/>
              </a:spcBef>
            </a:pPr>
            <a:r>
              <a:rPr lang="de-DE" sz="1300">
                <a:ea typeface="Calibri"/>
                <a:cs typeface="Calibri"/>
              </a:rPr>
              <a:t>Wir realisieren digitale Lösungen</a:t>
            </a:r>
            <a:br>
              <a:rPr lang="de-DE" sz="1300">
                <a:ea typeface="Calibri"/>
                <a:cs typeface="Calibri"/>
              </a:rPr>
            </a:br>
            <a:r>
              <a:rPr lang="de-DE" sz="1300">
                <a:ea typeface="Calibri"/>
                <a:cs typeface="Calibri"/>
              </a:rPr>
              <a:t>für zukunftsweisende branchen-spezifische Geschäftsmodelle und sorgen dafür, dass die Performance, Effizienz und Nachhaltigkeit der </a:t>
            </a:r>
            <a:br>
              <a:rPr lang="de-DE" sz="1300">
                <a:ea typeface="Calibri"/>
                <a:cs typeface="Calibri"/>
              </a:rPr>
            </a:br>
            <a:r>
              <a:rPr lang="de-DE" sz="1300">
                <a:ea typeface="Calibri"/>
                <a:cs typeface="Calibri"/>
              </a:rPr>
              <a:t>Gesamtorganisation gesteigert wird.</a:t>
            </a:r>
          </a:p>
          <a:p>
            <a:pPr algn="r">
              <a:lnSpc>
                <a:spcPct val="100000"/>
              </a:lnSpc>
              <a:spcBef>
                <a:spcPts val="600"/>
              </a:spcBef>
            </a:pPr>
            <a:endParaRPr lang="de-DE" sz="1400">
              <a:ea typeface="Calibri"/>
              <a:cs typeface="Calibri Light"/>
            </a:endParaRPr>
          </a:p>
        </p:txBody>
      </p:sp>
    </p:spTree>
    <p:extLst>
      <p:ext uri="{BB962C8B-B14F-4D97-AF65-F5344CB8AC3E}">
        <p14:creationId xmlns:p14="http://schemas.microsoft.com/office/powerpoint/2010/main" val="125089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750" fill="hold"/>
                                        <p:tgtEl>
                                          <p:spTgt spid="35"/>
                                        </p:tgtEl>
                                        <p:attrNameLst>
                                          <p:attrName>ppt_x</p:attrName>
                                        </p:attrNameLst>
                                      </p:cBhvr>
                                      <p:tavLst>
                                        <p:tav tm="0">
                                          <p:val>
                                            <p:strVal val="0-#ppt_w/2"/>
                                          </p:val>
                                        </p:tav>
                                        <p:tav tm="100000">
                                          <p:val>
                                            <p:strVal val="#ppt_x"/>
                                          </p:val>
                                        </p:tav>
                                      </p:tavLst>
                                    </p:anim>
                                    <p:anim calcmode="lin" valueType="num">
                                      <p:cBhvr additive="base">
                                        <p:cTn id="8" dur="75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750" fill="hold"/>
                                        <p:tgtEl>
                                          <p:spTgt spid="36"/>
                                        </p:tgtEl>
                                        <p:attrNameLst>
                                          <p:attrName>ppt_x</p:attrName>
                                        </p:attrNameLst>
                                      </p:cBhvr>
                                      <p:tavLst>
                                        <p:tav tm="0">
                                          <p:val>
                                            <p:strVal val="0-#ppt_w/2"/>
                                          </p:val>
                                        </p:tav>
                                        <p:tav tm="100000">
                                          <p:val>
                                            <p:strVal val="#ppt_x"/>
                                          </p:val>
                                        </p:tav>
                                      </p:tavLst>
                                    </p:anim>
                                    <p:anim calcmode="lin" valueType="num">
                                      <p:cBhvr additive="base">
                                        <p:cTn id="12" dur="750" fill="hold"/>
                                        <p:tgtEl>
                                          <p:spTgt spid="36"/>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2" presetClass="entr" presetSubtype="8" fill="hold" nodeType="afterEffect">
                                  <p:stCondLst>
                                    <p:cond delay="0"/>
                                  </p:stCondLst>
                                  <p:childTnLst>
                                    <p:set>
                                      <p:cBhvr>
                                        <p:cTn id="15" dur="1" fill="hold">
                                          <p:stCondLst>
                                            <p:cond delay="0"/>
                                          </p:stCondLst>
                                        </p:cTn>
                                        <p:tgtEl>
                                          <p:spTgt spid="27"/>
                                        </p:tgtEl>
                                        <p:attrNameLst>
                                          <p:attrName>style.visibility</p:attrName>
                                        </p:attrNameLst>
                                      </p:cBhvr>
                                      <p:to>
                                        <p:strVal val="visible"/>
                                      </p:to>
                                    </p:set>
                                    <p:anim calcmode="lin" valueType="num">
                                      <p:cBhvr additive="base">
                                        <p:cTn id="16" dur="750" fill="hold"/>
                                        <p:tgtEl>
                                          <p:spTgt spid="27"/>
                                        </p:tgtEl>
                                        <p:attrNameLst>
                                          <p:attrName>ppt_x</p:attrName>
                                        </p:attrNameLst>
                                      </p:cBhvr>
                                      <p:tavLst>
                                        <p:tav tm="0">
                                          <p:val>
                                            <p:strVal val="0-#ppt_w/2"/>
                                          </p:val>
                                        </p:tav>
                                        <p:tav tm="100000">
                                          <p:val>
                                            <p:strVal val="#ppt_x"/>
                                          </p:val>
                                        </p:tav>
                                      </p:tavLst>
                                    </p:anim>
                                    <p:anim calcmode="lin" valueType="num">
                                      <p:cBhvr additive="base">
                                        <p:cTn id="17" dur="750" fill="hold"/>
                                        <p:tgtEl>
                                          <p:spTgt spid="27"/>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par>
                          <p:cTn id="22" fill="hold">
                            <p:stCondLst>
                              <p:cond delay="2000"/>
                            </p:stCondLst>
                            <p:childTnLst>
                              <p:par>
                                <p:cTn id="23" presetID="2" presetClass="entr" presetSubtype="2" fill="hold" grpId="0" nodeType="afterEffect">
                                  <p:stCondLst>
                                    <p:cond delay="0"/>
                                  </p:stCondLst>
                                  <p:childTnLst>
                                    <p:set>
                                      <p:cBhvr>
                                        <p:cTn id="24" dur="1" fill="hold">
                                          <p:stCondLst>
                                            <p:cond delay="0"/>
                                          </p:stCondLst>
                                        </p:cTn>
                                        <p:tgtEl>
                                          <p:spTgt spid="34"/>
                                        </p:tgtEl>
                                        <p:attrNameLst>
                                          <p:attrName>style.visibility</p:attrName>
                                        </p:attrNameLst>
                                      </p:cBhvr>
                                      <p:to>
                                        <p:strVal val="visible"/>
                                      </p:to>
                                    </p:set>
                                    <p:anim calcmode="lin" valueType="num">
                                      <p:cBhvr additive="base">
                                        <p:cTn id="25" dur="750" fill="hold"/>
                                        <p:tgtEl>
                                          <p:spTgt spid="34"/>
                                        </p:tgtEl>
                                        <p:attrNameLst>
                                          <p:attrName>ppt_x</p:attrName>
                                        </p:attrNameLst>
                                      </p:cBhvr>
                                      <p:tavLst>
                                        <p:tav tm="0">
                                          <p:val>
                                            <p:strVal val="1+#ppt_w/2"/>
                                          </p:val>
                                        </p:tav>
                                        <p:tav tm="100000">
                                          <p:val>
                                            <p:strVal val="#ppt_x"/>
                                          </p:val>
                                        </p:tav>
                                      </p:tavLst>
                                    </p:anim>
                                    <p:anim calcmode="lin" valueType="num">
                                      <p:cBhvr additive="base">
                                        <p:cTn id="26" dur="750" fill="hold"/>
                                        <p:tgtEl>
                                          <p:spTgt spid="34"/>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0"/>
                                  </p:stCondLst>
                                  <p:childTnLst>
                                    <p:set>
                                      <p:cBhvr>
                                        <p:cTn id="28" dur="1" fill="hold">
                                          <p:stCondLst>
                                            <p:cond delay="0"/>
                                          </p:stCondLst>
                                        </p:cTn>
                                        <p:tgtEl>
                                          <p:spTgt spid="37"/>
                                        </p:tgtEl>
                                        <p:attrNameLst>
                                          <p:attrName>style.visibility</p:attrName>
                                        </p:attrNameLst>
                                      </p:cBhvr>
                                      <p:to>
                                        <p:strVal val="visible"/>
                                      </p:to>
                                    </p:set>
                                    <p:anim calcmode="lin" valueType="num">
                                      <p:cBhvr additive="base">
                                        <p:cTn id="29" dur="750" fill="hold"/>
                                        <p:tgtEl>
                                          <p:spTgt spid="37"/>
                                        </p:tgtEl>
                                        <p:attrNameLst>
                                          <p:attrName>ppt_x</p:attrName>
                                        </p:attrNameLst>
                                      </p:cBhvr>
                                      <p:tavLst>
                                        <p:tav tm="0">
                                          <p:val>
                                            <p:strVal val="1+#ppt_w/2"/>
                                          </p:val>
                                        </p:tav>
                                        <p:tav tm="100000">
                                          <p:val>
                                            <p:strVal val="#ppt_x"/>
                                          </p:val>
                                        </p:tav>
                                      </p:tavLst>
                                    </p:anim>
                                    <p:anim calcmode="lin" valueType="num">
                                      <p:cBhvr additive="base">
                                        <p:cTn id="30" dur="750" fill="hold"/>
                                        <p:tgtEl>
                                          <p:spTgt spid="37"/>
                                        </p:tgtEl>
                                        <p:attrNameLst>
                                          <p:attrName>ppt_y</p:attrName>
                                        </p:attrNameLst>
                                      </p:cBhvr>
                                      <p:tavLst>
                                        <p:tav tm="0">
                                          <p:val>
                                            <p:strVal val="#ppt_y"/>
                                          </p:val>
                                        </p:tav>
                                        <p:tav tm="100000">
                                          <p:val>
                                            <p:strVal val="#ppt_y"/>
                                          </p:val>
                                        </p:tav>
                                      </p:tavLst>
                                    </p:anim>
                                  </p:childTnLst>
                                </p:cTn>
                              </p:par>
                            </p:childTnLst>
                          </p:cTn>
                        </p:par>
                        <p:par>
                          <p:cTn id="31" fill="hold">
                            <p:stCondLst>
                              <p:cond delay="2750"/>
                            </p:stCondLst>
                            <p:childTnLst>
                              <p:par>
                                <p:cTn id="32" presetID="2" presetClass="entr" presetSubtype="2" fill="hold" nodeType="afterEffect">
                                  <p:stCondLst>
                                    <p:cond delay="0"/>
                                  </p:stCondLst>
                                  <p:childTnLst>
                                    <p:set>
                                      <p:cBhvr>
                                        <p:cTn id="33" dur="1" fill="hold">
                                          <p:stCondLst>
                                            <p:cond delay="0"/>
                                          </p:stCondLst>
                                        </p:cTn>
                                        <p:tgtEl>
                                          <p:spTgt spid="38"/>
                                        </p:tgtEl>
                                        <p:attrNameLst>
                                          <p:attrName>style.visibility</p:attrName>
                                        </p:attrNameLst>
                                      </p:cBhvr>
                                      <p:to>
                                        <p:strVal val="visible"/>
                                      </p:to>
                                    </p:set>
                                    <p:anim calcmode="lin" valueType="num">
                                      <p:cBhvr additive="base">
                                        <p:cTn id="34" dur="750" fill="hold"/>
                                        <p:tgtEl>
                                          <p:spTgt spid="38"/>
                                        </p:tgtEl>
                                        <p:attrNameLst>
                                          <p:attrName>ppt_x</p:attrName>
                                        </p:attrNameLst>
                                      </p:cBhvr>
                                      <p:tavLst>
                                        <p:tav tm="0">
                                          <p:val>
                                            <p:strVal val="1+#ppt_w/2"/>
                                          </p:val>
                                        </p:tav>
                                        <p:tav tm="100000">
                                          <p:val>
                                            <p:strVal val="#ppt_x"/>
                                          </p:val>
                                        </p:tav>
                                      </p:tavLst>
                                    </p:anim>
                                    <p:anim calcmode="lin" valueType="num">
                                      <p:cBhvr additive="base">
                                        <p:cTn id="35" dur="750" fill="hold"/>
                                        <p:tgtEl>
                                          <p:spTgt spid="38"/>
                                        </p:tgtEl>
                                        <p:attrNameLst>
                                          <p:attrName>ppt_y</p:attrName>
                                        </p:attrNameLst>
                                      </p:cBhvr>
                                      <p:tavLst>
                                        <p:tav tm="0">
                                          <p:val>
                                            <p:strVal val="#ppt_y"/>
                                          </p:val>
                                        </p:tav>
                                        <p:tav tm="100000">
                                          <p:val>
                                            <p:strVal val="#ppt_y"/>
                                          </p:val>
                                        </p:tav>
                                      </p:tavLst>
                                    </p:anim>
                                  </p:childTnLst>
                                </p:cTn>
                              </p:par>
                            </p:childTnLst>
                          </p:cTn>
                        </p:par>
                        <p:par>
                          <p:cTn id="36" fill="hold">
                            <p:stCondLst>
                              <p:cond delay="3500"/>
                            </p:stCondLst>
                            <p:childTnLst>
                              <p:par>
                                <p:cTn id="37" presetID="10" presetClass="entr" presetSubtype="0" fill="hold" nodeType="after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fade">
                                      <p:cBhvr>
                                        <p:cTn id="39" dur="500"/>
                                        <p:tgtEl>
                                          <p:spTgt spid="28"/>
                                        </p:tgtEl>
                                      </p:cBhvr>
                                    </p:animEffect>
                                  </p:childTnLst>
                                </p:cTn>
                              </p:par>
                            </p:childTnLst>
                          </p:cTn>
                        </p:par>
                        <p:par>
                          <p:cTn id="40" fill="hold">
                            <p:stCondLst>
                              <p:cond delay="4000"/>
                            </p:stCondLst>
                            <p:childTnLst>
                              <p:par>
                                <p:cTn id="41" presetID="10" presetClass="entr" presetSubtype="0" fill="hold" grpId="0" nodeType="afterEffect">
                                  <p:stCondLst>
                                    <p:cond delay="0"/>
                                  </p:stCondLst>
                                  <p:childTnLst>
                                    <p:set>
                                      <p:cBhvr>
                                        <p:cTn id="42" dur="1" fill="hold">
                                          <p:stCondLst>
                                            <p:cond delay="0"/>
                                          </p:stCondLst>
                                        </p:cTn>
                                        <p:tgtEl>
                                          <p:spTgt spid="59"/>
                                        </p:tgtEl>
                                        <p:attrNameLst>
                                          <p:attrName>style.visibility</p:attrName>
                                        </p:attrNameLst>
                                      </p:cBhvr>
                                      <p:to>
                                        <p:strVal val="visible"/>
                                      </p:to>
                                    </p:set>
                                    <p:animEffect transition="in" filter="fade">
                                      <p:cBhvr>
                                        <p:cTn id="43" dur="500"/>
                                        <p:tgtEl>
                                          <p:spTgt spid="59"/>
                                        </p:tgtEl>
                                      </p:cBhvr>
                                    </p:animEffect>
                                  </p:childTnLst>
                                </p:cTn>
                              </p:par>
                            </p:childTnLst>
                          </p:cTn>
                        </p:par>
                        <p:par>
                          <p:cTn id="44" fill="hold">
                            <p:stCondLst>
                              <p:cond delay="4500"/>
                            </p:stCondLst>
                            <p:childTnLst>
                              <p:par>
                                <p:cTn id="45" presetID="10" presetClass="entr" presetSubtype="0" fill="hold" grpId="0" nodeType="afterEffect">
                                  <p:stCondLst>
                                    <p:cond delay="0"/>
                                  </p:stCondLst>
                                  <p:childTnLst>
                                    <p:set>
                                      <p:cBhvr>
                                        <p:cTn id="46" dur="1" fill="hold">
                                          <p:stCondLst>
                                            <p:cond delay="0"/>
                                          </p:stCondLst>
                                        </p:cTn>
                                        <p:tgtEl>
                                          <p:spTgt spid="60"/>
                                        </p:tgtEl>
                                        <p:attrNameLst>
                                          <p:attrName>style.visibility</p:attrName>
                                        </p:attrNameLst>
                                      </p:cBhvr>
                                      <p:to>
                                        <p:strVal val="visible"/>
                                      </p:to>
                                    </p:set>
                                    <p:animEffect transition="in" filter="fade">
                                      <p:cBhvr>
                                        <p:cTn id="47" dur="500"/>
                                        <p:tgtEl>
                                          <p:spTgt spid="60"/>
                                        </p:tgtEl>
                                      </p:cBhvr>
                                    </p:animEffect>
                                  </p:childTnLst>
                                </p:cTn>
                              </p:par>
                            </p:childTnLst>
                          </p:cTn>
                        </p:par>
                        <p:par>
                          <p:cTn id="48" fill="hold">
                            <p:stCondLst>
                              <p:cond delay="5000"/>
                            </p:stCondLst>
                            <p:childTnLst>
                              <p:par>
                                <p:cTn id="49" presetID="10" presetClass="entr" presetSubtype="0" fill="hold" nodeType="afterEffect">
                                  <p:stCondLst>
                                    <p:cond delay="0"/>
                                  </p:stCondLst>
                                  <p:childTnLst>
                                    <p:set>
                                      <p:cBhvr>
                                        <p:cTn id="50" dur="1" fill="hold">
                                          <p:stCondLst>
                                            <p:cond delay="0"/>
                                          </p:stCondLst>
                                        </p:cTn>
                                        <p:tgtEl>
                                          <p:spTgt spid="39"/>
                                        </p:tgtEl>
                                        <p:attrNameLst>
                                          <p:attrName>style.visibility</p:attrName>
                                        </p:attrNameLst>
                                      </p:cBhvr>
                                      <p:to>
                                        <p:strVal val="visible"/>
                                      </p:to>
                                    </p:set>
                                    <p:animEffect transition="in" filter="fade">
                                      <p:cBhvr>
                                        <p:cTn id="51"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p:bldP spid="59" grpId="0"/>
      <p:bldP spid="6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Bildplatzhalter 28">
            <a:extLst>
              <a:ext uri="{FF2B5EF4-FFF2-40B4-BE49-F238E27FC236}">
                <a16:creationId xmlns:a16="http://schemas.microsoft.com/office/drawing/2014/main" id="{44E3A62E-058B-21E7-D579-0B44ABDA4935}"/>
              </a:ext>
            </a:extLst>
          </p:cNvPr>
          <p:cNvPicPr>
            <a:picLocks noGrp="1" noChangeAspect="1"/>
          </p:cNvPicPr>
          <p:nvPr>
            <p:ph type="pic" sz="quarter" idx="11"/>
          </p:nvPr>
        </p:nvPicPr>
        <p:blipFill>
          <a:blip r:embed="rId4"/>
          <a:srcRect/>
          <a:stretch/>
        </p:blipFill>
        <p:spPr bwMode="gray"/>
      </p:pic>
      <p:sp>
        <p:nvSpPr>
          <p:cNvPr id="5" name="Titel 4">
            <a:extLst>
              <a:ext uri="{FF2B5EF4-FFF2-40B4-BE49-F238E27FC236}">
                <a16:creationId xmlns:a16="http://schemas.microsoft.com/office/drawing/2014/main" id="{009FACD8-4C64-3FF7-D33B-96630C5B0616}"/>
              </a:ext>
            </a:extLst>
          </p:cNvPr>
          <p:cNvSpPr>
            <a:spLocks noGrp="1"/>
          </p:cNvSpPr>
          <p:nvPr>
            <p:ph type="ctrTitle"/>
          </p:nvPr>
        </p:nvSpPr>
        <p:spPr bwMode="gray"/>
        <p:txBody>
          <a:bodyPr vert="horz"/>
          <a:lstStyle/>
          <a:p>
            <a:r>
              <a:rPr lang="de-DE" dirty="0" err="1"/>
              <a:t>Accelerating</a:t>
            </a:r>
            <a:r>
              <a:rPr lang="de-DE" dirty="0"/>
              <a:t> Transformation</a:t>
            </a:r>
          </a:p>
        </p:txBody>
      </p:sp>
      <p:sp>
        <p:nvSpPr>
          <p:cNvPr id="19" name="Textplatzhalter 18">
            <a:extLst>
              <a:ext uri="{FF2B5EF4-FFF2-40B4-BE49-F238E27FC236}">
                <a16:creationId xmlns:a16="http://schemas.microsoft.com/office/drawing/2014/main" id="{E72BC890-CE43-CDBD-F271-1868C140BC5F}"/>
              </a:ext>
            </a:extLst>
          </p:cNvPr>
          <p:cNvSpPr>
            <a:spLocks noGrp="1"/>
          </p:cNvSpPr>
          <p:nvPr>
            <p:ph type="body" sz="quarter" idx="10"/>
          </p:nvPr>
        </p:nvSpPr>
        <p:spPr bwMode="gray">
          <a:xfrm>
            <a:off x="2082801" y="4645214"/>
            <a:ext cx="6426200" cy="369332"/>
          </a:xfrm>
        </p:spPr>
        <p:txBody>
          <a:bodyPr/>
          <a:lstStyle/>
          <a:p>
            <a:r>
              <a:rPr lang="de-DE"/>
              <a:t>Consulting, Software und Services </a:t>
            </a:r>
          </a:p>
          <a:p>
            <a:r>
              <a:rPr lang="de-DE"/>
              <a:t>für Ihre Wettbewerbsfähigkeit</a:t>
            </a:r>
          </a:p>
        </p:txBody>
      </p:sp>
      <p:sp>
        <p:nvSpPr>
          <p:cNvPr id="2" name="Textplatzhalter 1">
            <a:extLst>
              <a:ext uri="{FF2B5EF4-FFF2-40B4-BE49-F238E27FC236}">
                <a16:creationId xmlns:a16="http://schemas.microsoft.com/office/drawing/2014/main" id="{0881F21A-B35C-36ED-384E-E4515546A3E7}"/>
              </a:ext>
            </a:extLst>
          </p:cNvPr>
          <p:cNvSpPr>
            <a:spLocks noGrp="1"/>
          </p:cNvSpPr>
          <p:nvPr>
            <p:ph type="body" sz="quarter" idx="12"/>
          </p:nvPr>
        </p:nvSpPr>
        <p:spPr/>
        <p:txBody>
          <a:bodyPr/>
          <a:lstStyle/>
          <a:p>
            <a:endParaRPr lang="de-DE"/>
          </a:p>
        </p:txBody>
      </p:sp>
      <p:graphicFrame>
        <p:nvGraphicFramePr>
          <p:cNvPr id="4" name="think-cell data - do not delete" hidden="1">
            <a:extLst>
              <a:ext uri="{FF2B5EF4-FFF2-40B4-BE49-F238E27FC236}">
                <a16:creationId xmlns:a16="http://schemas.microsoft.com/office/drawing/2014/main" id="{6C839AAB-A8E4-0464-2FB3-DAC78F7C43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4" name="think-cell data - do not delete" hidden="1">
                        <a:extLst>
                          <a:ext uri="{FF2B5EF4-FFF2-40B4-BE49-F238E27FC236}">
                            <a16:creationId xmlns:a16="http://schemas.microsoft.com/office/drawing/2014/main" id="{6C839AAB-A8E4-0464-2FB3-DAC78F7C43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749A676-411F-F957-76EA-0C4FDF0CF92C}"/>
              </a:ext>
            </a:extLst>
          </p:cNvPr>
          <p:cNvSpPr txBox="1"/>
          <p:nvPr/>
        </p:nvSpPr>
        <p:spPr>
          <a:xfrm>
            <a:off x="2082800" y="5779723"/>
            <a:ext cx="3517899" cy="215444"/>
          </a:xfrm>
          <a:prstGeom prst="rect">
            <a:avLst/>
          </a:prstGeom>
        </p:spPr>
        <p:txBody>
          <a:bodyPr vert="horz" wrap="square" lIns="0" tIns="0" rIns="0" bIns="0" rtlCol="0" anchor="t">
            <a:spAutoFit/>
          </a:bodyPr>
          <a:lstStyle/>
          <a:p>
            <a:pPr algn="l"/>
            <a:r>
              <a:rPr lang="de-DE" sz="1400" dirty="0" err="1">
                <a:latin typeface="+mj-lt"/>
              </a:rPr>
              <a:t>msg</a:t>
            </a:r>
            <a:r>
              <a:rPr lang="de-DE" sz="1400" dirty="0">
                <a:latin typeface="+mj-lt"/>
              </a:rPr>
              <a:t>-Unternehmenspräsentation 2026</a:t>
            </a:r>
          </a:p>
        </p:txBody>
      </p:sp>
    </p:spTree>
    <p:extLst>
      <p:ext uri="{BB962C8B-B14F-4D97-AF65-F5344CB8AC3E}">
        <p14:creationId xmlns:p14="http://schemas.microsoft.com/office/powerpoint/2010/main" val="19211358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0">
            <a:extLst>
              <a:ext uri="{FF2B5EF4-FFF2-40B4-BE49-F238E27FC236}">
                <a16:creationId xmlns:a16="http://schemas.microsoft.com/office/drawing/2014/main" id="{FE9A0B23-9332-5962-EEE3-1B6741ED3F13}"/>
              </a:ext>
            </a:extLst>
          </p:cNvPr>
          <p:cNvSpPr/>
          <p:nvPr/>
        </p:nvSpPr>
        <p:spPr>
          <a:xfrm>
            <a:off x="0" y="1773238"/>
            <a:ext cx="12192000" cy="44098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mj-lt"/>
            </a:endParaRPr>
          </a:p>
        </p:txBody>
      </p:sp>
      <p:pic>
        <p:nvPicPr>
          <p:cNvPr id="22" name="Grafik 21">
            <a:extLst>
              <a:ext uri="{FF2B5EF4-FFF2-40B4-BE49-F238E27FC236}">
                <a16:creationId xmlns:a16="http://schemas.microsoft.com/office/drawing/2014/main" id="{E0F0D384-6719-CB19-54B5-FC68140AD5B0}"/>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t="-25792"/>
          <a:stretch/>
        </p:blipFill>
        <p:spPr bwMode="invGray">
          <a:xfrm>
            <a:off x="7921079" y="2344056"/>
            <a:ext cx="4270921" cy="3839030"/>
          </a:xfrm>
          <a:prstGeom prst="rect">
            <a:avLst/>
          </a:prstGeom>
          <a:solidFill>
            <a:srgbClr val="000000"/>
          </a:solidFill>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extplatzhalter 24">
            <a:extLst>
              <a:ext uri="{FF2B5EF4-FFF2-40B4-BE49-F238E27FC236}">
                <a16:creationId xmlns:a16="http://schemas.microsoft.com/office/drawing/2014/main" id="{6E452D9B-9DE0-BF26-8D15-814051E744C0}"/>
              </a:ext>
            </a:extLst>
          </p:cNvPr>
          <p:cNvSpPr>
            <a:spLocks noGrp="1"/>
          </p:cNvSpPr>
          <p:nvPr>
            <p:ph type="body" sz="quarter" idx="12"/>
          </p:nvPr>
        </p:nvSpPr>
        <p:spPr/>
        <p:txBody>
          <a:bodyPr/>
          <a:lstStyle/>
          <a:p>
            <a:r>
              <a:rPr lang="de-DE"/>
              <a:t>Intelligente Lösungen und IT-Beratung</a:t>
            </a:r>
          </a:p>
        </p:txBody>
      </p:sp>
      <p:sp>
        <p:nvSpPr>
          <p:cNvPr id="11" name="Titel 10">
            <a:extLst>
              <a:ext uri="{FF2B5EF4-FFF2-40B4-BE49-F238E27FC236}">
                <a16:creationId xmlns:a16="http://schemas.microsoft.com/office/drawing/2014/main" id="{331CFD83-6FCE-E700-B99F-30C5FAC2C28B}"/>
              </a:ext>
            </a:extLst>
          </p:cNvPr>
          <p:cNvSpPr>
            <a:spLocks noGrp="1"/>
          </p:cNvSpPr>
          <p:nvPr>
            <p:ph type="title"/>
          </p:nvPr>
        </p:nvSpPr>
        <p:spPr/>
        <p:txBody>
          <a:bodyPr/>
          <a:lstStyle/>
          <a:p>
            <a:r>
              <a:rPr lang="de-DE" b="1" dirty="0"/>
              <a:t>Kernkompetenz Digitalisierung</a:t>
            </a:r>
            <a:br>
              <a:rPr lang="de-DE" dirty="0"/>
            </a:br>
            <a:r>
              <a:rPr lang="de-DE" dirty="0"/>
              <a:t>Digitale Produkte und Services für Ihr Geschäft</a:t>
            </a:r>
            <a:br>
              <a:rPr lang="de-DE" dirty="0"/>
            </a:br>
            <a:endParaRPr lang="de-DE" dirty="0"/>
          </a:p>
        </p:txBody>
      </p:sp>
      <p:sp>
        <p:nvSpPr>
          <p:cNvPr id="14" name="Fußzeilenplatzhalter 1">
            <a:extLst>
              <a:ext uri="{FF2B5EF4-FFF2-40B4-BE49-F238E27FC236}">
                <a16:creationId xmlns:a16="http://schemas.microsoft.com/office/drawing/2014/main" id="{1CED1ED8-A51C-E7CA-2D9A-C249B4DBB5F4}"/>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0</a:t>
            </a:fld>
            <a:endParaRPr lang="de-DE"/>
          </a:p>
        </p:txBody>
      </p:sp>
      <p:grpSp>
        <p:nvGrpSpPr>
          <p:cNvPr id="16" name="Gruppieren 15">
            <a:extLst>
              <a:ext uri="{FF2B5EF4-FFF2-40B4-BE49-F238E27FC236}">
                <a16:creationId xmlns:a16="http://schemas.microsoft.com/office/drawing/2014/main" id="{2DFB05D7-38BE-CB4D-0194-81FA86F630F3}"/>
              </a:ext>
            </a:extLst>
          </p:cNvPr>
          <p:cNvGrpSpPr/>
          <p:nvPr/>
        </p:nvGrpSpPr>
        <p:grpSpPr>
          <a:xfrm>
            <a:off x="658813" y="2778098"/>
            <a:ext cx="1980000" cy="2722510"/>
            <a:chOff x="479425" y="2306391"/>
            <a:chExt cx="1980000" cy="2522637"/>
          </a:xfrm>
        </p:grpSpPr>
        <p:sp>
          <p:nvSpPr>
            <p:cNvPr id="7" name="Rectangle 6">
              <a:extLst>
                <a:ext uri="{FF2B5EF4-FFF2-40B4-BE49-F238E27FC236}">
                  <a16:creationId xmlns:a16="http://schemas.microsoft.com/office/drawing/2014/main" id="{5DB08D9C-B627-05A1-624B-A7758087992D}"/>
                </a:ext>
              </a:extLst>
            </p:cNvPr>
            <p:cNvSpPr/>
            <p:nvPr/>
          </p:nvSpPr>
          <p:spPr>
            <a:xfrm>
              <a:off x="479425" y="2306391"/>
              <a:ext cx="1980000" cy="2522637"/>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latin typeface="+mj-lt"/>
              </a:endParaRPr>
            </a:p>
          </p:txBody>
        </p:sp>
        <p:sp>
          <p:nvSpPr>
            <p:cNvPr id="2" name="TextBox 1">
              <a:extLst>
                <a:ext uri="{FF2B5EF4-FFF2-40B4-BE49-F238E27FC236}">
                  <a16:creationId xmlns:a16="http://schemas.microsoft.com/office/drawing/2014/main" id="{16D96664-47E5-285A-5045-FBF33F1201F8}"/>
                </a:ext>
              </a:extLst>
            </p:cNvPr>
            <p:cNvSpPr txBox="1"/>
            <p:nvPr/>
          </p:nvSpPr>
          <p:spPr>
            <a:xfrm>
              <a:off x="606970" y="2404650"/>
              <a:ext cx="1814456" cy="2124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latin typeface="+mj-lt"/>
                </a:rPr>
                <a:t>digital</a:t>
              </a:r>
              <a:br>
                <a:rPr lang="de-DE" sz="1600">
                  <a:solidFill>
                    <a:schemeClr val="bg1"/>
                  </a:solidFill>
                  <a:latin typeface="+mj-lt"/>
                </a:rPr>
              </a:br>
              <a:r>
                <a:rPr lang="de-DE" sz="1600">
                  <a:solidFill>
                    <a:schemeClr val="bg1"/>
                  </a:solidFill>
                  <a:latin typeface="+mj-lt"/>
                </a:rPr>
                <a:t>Advisory</a:t>
              </a:r>
            </a:p>
            <a:p>
              <a:endParaRPr lang="de-DE">
                <a:solidFill>
                  <a:schemeClr val="bg1"/>
                </a:solidFill>
                <a:latin typeface="+mj-lt"/>
              </a:endParaRPr>
            </a:p>
            <a:p>
              <a:r>
                <a:rPr lang="de-DE" sz="1100">
                  <a:solidFill>
                    <a:schemeClr val="bg1"/>
                  </a:solidFill>
                  <a:latin typeface="+mj-lt"/>
                </a:rPr>
                <a:t>Verbesserte Kundenbeziehung, </a:t>
              </a:r>
            </a:p>
            <a:p>
              <a:r>
                <a:rPr lang="de-DE" sz="1100">
                  <a:solidFill>
                    <a:schemeClr val="bg1"/>
                  </a:solidFill>
                  <a:latin typeface="+mj-lt"/>
                </a:rPr>
                <a:t>effizientere und wachstums-orientierte Vertriebsmodelle bis hin zu innovativen Geschäftsmodellen durch </a:t>
              </a:r>
              <a:br>
                <a:rPr lang="de-DE" sz="1100">
                  <a:solidFill>
                    <a:schemeClr val="bg1"/>
                  </a:solidFill>
                  <a:latin typeface="+mj-lt"/>
                </a:rPr>
              </a:br>
              <a:r>
                <a:rPr lang="de-DE" sz="1100">
                  <a:solidFill>
                    <a:schemeClr val="bg1"/>
                  </a:solidFill>
                  <a:latin typeface="+mj-lt"/>
                </a:rPr>
                <a:t>tiefe Branchenexpertise und kundenzentrierte Transformationsstrategien</a:t>
              </a:r>
            </a:p>
          </p:txBody>
        </p:sp>
      </p:grpSp>
      <p:grpSp>
        <p:nvGrpSpPr>
          <p:cNvPr id="17" name="Gruppieren 16">
            <a:extLst>
              <a:ext uri="{FF2B5EF4-FFF2-40B4-BE49-F238E27FC236}">
                <a16:creationId xmlns:a16="http://schemas.microsoft.com/office/drawing/2014/main" id="{991C2715-1F1E-D6F6-68F4-B3D2DE1963B6}"/>
              </a:ext>
            </a:extLst>
          </p:cNvPr>
          <p:cNvGrpSpPr/>
          <p:nvPr/>
        </p:nvGrpSpPr>
        <p:grpSpPr>
          <a:xfrm>
            <a:off x="2826960" y="2778099"/>
            <a:ext cx="1980000" cy="2722509"/>
            <a:chOff x="2815556" y="2306392"/>
            <a:chExt cx="1980000" cy="2522636"/>
          </a:xfrm>
        </p:grpSpPr>
        <p:sp>
          <p:nvSpPr>
            <p:cNvPr id="8" name="Rectangle 7">
              <a:extLst>
                <a:ext uri="{FF2B5EF4-FFF2-40B4-BE49-F238E27FC236}">
                  <a16:creationId xmlns:a16="http://schemas.microsoft.com/office/drawing/2014/main" id="{6ECD03D0-90BD-C698-85F4-FD2516AC4502}"/>
                </a:ext>
              </a:extLst>
            </p:cNvPr>
            <p:cNvSpPr/>
            <p:nvPr/>
          </p:nvSpPr>
          <p:spPr>
            <a:xfrm>
              <a:off x="2815556" y="2306392"/>
              <a:ext cx="1980000" cy="2522636"/>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latin typeface="+mj-lt"/>
              </a:endParaRPr>
            </a:p>
          </p:txBody>
        </p:sp>
        <p:sp>
          <p:nvSpPr>
            <p:cNvPr id="3" name="TextBox 2">
              <a:extLst>
                <a:ext uri="{FF2B5EF4-FFF2-40B4-BE49-F238E27FC236}">
                  <a16:creationId xmlns:a16="http://schemas.microsoft.com/office/drawing/2014/main" id="{7B6C3DA5-E2B9-506D-6490-C8936DC9349E}"/>
                </a:ext>
              </a:extLst>
            </p:cNvPr>
            <p:cNvSpPr txBox="1"/>
            <p:nvPr/>
          </p:nvSpPr>
          <p:spPr>
            <a:xfrm>
              <a:off x="2935388" y="2404650"/>
              <a:ext cx="1790081" cy="181090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latin typeface="+mj-lt"/>
                </a:rPr>
                <a:t>digital</a:t>
              </a:r>
              <a:br>
                <a:rPr lang="de-DE" sz="1600">
                  <a:latin typeface="+mj-lt"/>
                </a:rPr>
              </a:br>
              <a:r>
                <a:rPr lang="de-DE" sz="1600">
                  <a:solidFill>
                    <a:schemeClr val="bg1"/>
                  </a:solidFill>
                  <a:latin typeface="+mj-lt"/>
                </a:rPr>
                <a:t>Experience</a:t>
              </a:r>
            </a:p>
            <a:p>
              <a:endParaRPr lang="de-DE">
                <a:solidFill>
                  <a:schemeClr val="bg1"/>
                </a:solidFill>
                <a:latin typeface="+mj-lt"/>
              </a:endParaRPr>
            </a:p>
            <a:p>
              <a:r>
                <a:rPr lang="de-DE" sz="1100">
                  <a:solidFill>
                    <a:schemeClr val="bg1"/>
                  </a:solidFill>
                  <a:latin typeface="+mj-lt"/>
                </a:rPr>
                <a:t>Differenzierung durch Data- </a:t>
              </a:r>
              <a:r>
                <a:rPr lang="de-DE" sz="1100" err="1">
                  <a:solidFill>
                    <a:schemeClr val="bg1"/>
                  </a:solidFill>
                  <a:latin typeface="+mj-lt"/>
                </a:rPr>
                <a:t>driven</a:t>
              </a:r>
              <a:r>
                <a:rPr lang="de-DE" sz="1100">
                  <a:solidFill>
                    <a:schemeClr val="bg1"/>
                  </a:solidFill>
                  <a:latin typeface="+mj-lt"/>
                </a:rPr>
                <a:t> Customer Experience, passend zum Kundenbedarf über alle Touchpoints entlang der Customer Journey mit Erlebnissen, die im Kopf bleiben</a:t>
              </a:r>
            </a:p>
          </p:txBody>
        </p:sp>
      </p:grpSp>
      <p:grpSp>
        <p:nvGrpSpPr>
          <p:cNvPr id="18" name="Gruppieren 17">
            <a:extLst>
              <a:ext uri="{FF2B5EF4-FFF2-40B4-BE49-F238E27FC236}">
                <a16:creationId xmlns:a16="http://schemas.microsoft.com/office/drawing/2014/main" id="{276C3705-F762-A225-F83A-F4C0AE3E188F}"/>
              </a:ext>
            </a:extLst>
          </p:cNvPr>
          <p:cNvGrpSpPr/>
          <p:nvPr/>
        </p:nvGrpSpPr>
        <p:grpSpPr>
          <a:xfrm>
            <a:off x="4995107" y="2778099"/>
            <a:ext cx="1980000" cy="2722508"/>
            <a:chOff x="5151687" y="2306391"/>
            <a:chExt cx="1980000" cy="2522635"/>
          </a:xfrm>
        </p:grpSpPr>
        <p:sp>
          <p:nvSpPr>
            <p:cNvPr id="10" name="Rectangle 9">
              <a:extLst>
                <a:ext uri="{FF2B5EF4-FFF2-40B4-BE49-F238E27FC236}">
                  <a16:creationId xmlns:a16="http://schemas.microsoft.com/office/drawing/2014/main" id="{F5FB664C-0455-78EE-0D1B-F43B6D8E1D72}"/>
                </a:ext>
              </a:extLst>
            </p:cNvPr>
            <p:cNvSpPr/>
            <p:nvPr/>
          </p:nvSpPr>
          <p:spPr>
            <a:xfrm>
              <a:off x="5151687" y="2306391"/>
              <a:ext cx="1980000" cy="2522635"/>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latin typeface="+mj-lt"/>
              </a:endParaRPr>
            </a:p>
          </p:txBody>
        </p:sp>
        <p:sp>
          <p:nvSpPr>
            <p:cNvPr id="4" name="TextBox 3">
              <a:extLst>
                <a:ext uri="{FF2B5EF4-FFF2-40B4-BE49-F238E27FC236}">
                  <a16:creationId xmlns:a16="http://schemas.microsoft.com/office/drawing/2014/main" id="{822DF22D-8168-ADB4-7678-421931552206}"/>
                </a:ext>
              </a:extLst>
            </p:cNvPr>
            <p:cNvSpPr txBox="1"/>
            <p:nvPr/>
          </p:nvSpPr>
          <p:spPr>
            <a:xfrm>
              <a:off x="5276533" y="2404650"/>
              <a:ext cx="1810774" cy="149720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latin typeface="+mj-lt"/>
                </a:rPr>
                <a:t>digital</a:t>
              </a:r>
              <a:br>
                <a:rPr lang="de-DE" sz="1600">
                  <a:latin typeface="+mj-lt"/>
                </a:rPr>
              </a:br>
              <a:r>
                <a:rPr lang="de-DE" sz="1600">
                  <a:solidFill>
                    <a:schemeClr val="bg1"/>
                  </a:solidFill>
                  <a:latin typeface="+mj-lt"/>
                </a:rPr>
                <a:t>Services</a:t>
              </a:r>
            </a:p>
            <a:p>
              <a:endParaRPr lang="de-DE">
                <a:solidFill>
                  <a:schemeClr val="bg1"/>
                </a:solidFill>
                <a:latin typeface="+mj-lt"/>
              </a:endParaRPr>
            </a:p>
            <a:p>
              <a:r>
                <a:rPr lang="de-DE" sz="1100">
                  <a:solidFill>
                    <a:schemeClr val="bg1"/>
                  </a:solidFill>
                  <a:latin typeface="+mj-lt"/>
                </a:rPr>
                <a:t>Effizienz, Wachstum und </a:t>
              </a:r>
              <a:br>
                <a:rPr lang="de-DE" sz="1100">
                  <a:solidFill>
                    <a:schemeClr val="bg1"/>
                  </a:solidFill>
                  <a:latin typeface="+mj-lt"/>
                </a:rPr>
              </a:br>
              <a:r>
                <a:rPr lang="de-DE" sz="1100">
                  <a:solidFill>
                    <a:schemeClr val="bg1"/>
                  </a:solidFill>
                  <a:latin typeface="+mj-lt"/>
                </a:rPr>
                <a:t>Erfolg in der digitalen Welt durch branchenspezifische, innovative Solutions bis hin </a:t>
              </a:r>
              <a:br>
                <a:rPr lang="de-DE" sz="1100">
                  <a:solidFill>
                    <a:schemeClr val="bg1"/>
                  </a:solidFill>
                  <a:latin typeface="+mj-lt"/>
                </a:rPr>
              </a:br>
              <a:r>
                <a:rPr lang="de-DE" sz="1100">
                  <a:solidFill>
                    <a:schemeClr val="bg1"/>
                  </a:solidFill>
                  <a:latin typeface="+mj-lt"/>
                </a:rPr>
                <a:t>zu kompletten Ökosystemen</a:t>
              </a:r>
            </a:p>
          </p:txBody>
        </p:sp>
      </p:grpSp>
      <p:grpSp>
        <p:nvGrpSpPr>
          <p:cNvPr id="19" name="Gruppieren 18">
            <a:extLst>
              <a:ext uri="{FF2B5EF4-FFF2-40B4-BE49-F238E27FC236}">
                <a16:creationId xmlns:a16="http://schemas.microsoft.com/office/drawing/2014/main" id="{B0AD79CB-90F5-2E7C-A5CF-310659C7BE9A}"/>
              </a:ext>
            </a:extLst>
          </p:cNvPr>
          <p:cNvGrpSpPr/>
          <p:nvPr/>
        </p:nvGrpSpPr>
        <p:grpSpPr>
          <a:xfrm>
            <a:off x="7163254" y="2778098"/>
            <a:ext cx="1980000" cy="2722507"/>
            <a:chOff x="7442131" y="2306391"/>
            <a:chExt cx="1980000" cy="2522634"/>
          </a:xfrm>
        </p:grpSpPr>
        <p:sp>
          <p:nvSpPr>
            <p:cNvPr id="12" name="Rectangle 11">
              <a:extLst>
                <a:ext uri="{FF2B5EF4-FFF2-40B4-BE49-F238E27FC236}">
                  <a16:creationId xmlns:a16="http://schemas.microsoft.com/office/drawing/2014/main" id="{CE604A98-F970-B399-06B3-BF42D97EC68D}"/>
                </a:ext>
              </a:extLst>
            </p:cNvPr>
            <p:cNvSpPr/>
            <p:nvPr/>
          </p:nvSpPr>
          <p:spPr>
            <a:xfrm>
              <a:off x="7442131" y="2306391"/>
              <a:ext cx="1980000" cy="2522634"/>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latin typeface="+mj-lt"/>
              </a:endParaRPr>
            </a:p>
          </p:txBody>
        </p:sp>
        <p:sp>
          <p:nvSpPr>
            <p:cNvPr id="5" name="TextBox 4">
              <a:extLst>
                <a:ext uri="{FF2B5EF4-FFF2-40B4-BE49-F238E27FC236}">
                  <a16:creationId xmlns:a16="http://schemas.microsoft.com/office/drawing/2014/main" id="{9ED035DD-6F1F-42DE-DA5C-8D0A2D72D50B}"/>
                </a:ext>
              </a:extLst>
            </p:cNvPr>
            <p:cNvSpPr txBox="1"/>
            <p:nvPr/>
          </p:nvSpPr>
          <p:spPr>
            <a:xfrm>
              <a:off x="7595705" y="2404650"/>
              <a:ext cx="1767074" cy="165405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latin typeface="+mj-lt"/>
                </a:rPr>
                <a:t>digital</a:t>
              </a:r>
              <a:br>
                <a:rPr lang="de-DE" sz="1600">
                  <a:latin typeface="+mj-lt"/>
                </a:rPr>
              </a:br>
              <a:r>
                <a:rPr lang="de-DE" sz="1600">
                  <a:solidFill>
                    <a:schemeClr val="bg1"/>
                  </a:solidFill>
                  <a:latin typeface="+mj-lt"/>
                </a:rPr>
                <a:t>Security</a:t>
              </a:r>
            </a:p>
            <a:p>
              <a:endParaRPr lang="de-DE">
                <a:solidFill>
                  <a:schemeClr val="bg1"/>
                </a:solidFill>
                <a:latin typeface="+mj-lt"/>
              </a:endParaRPr>
            </a:p>
            <a:p>
              <a:r>
                <a:rPr lang="de-DE" sz="1100">
                  <a:solidFill>
                    <a:schemeClr val="bg1"/>
                  </a:solidFill>
                  <a:latin typeface="+mj-lt"/>
                </a:rPr>
                <a:t>Absicherung des Kerngeschäfts durch Prophylaxe, aktive Gefahrenabwehr, Forensik und Wiederherstellungs-verfahren </a:t>
              </a:r>
              <a:endParaRPr lang="de-DE" sz="1100">
                <a:solidFill>
                  <a:schemeClr val="bg1"/>
                </a:solidFill>
                <a:latin typeface="+mj-lt"/>
                <a:ea typeface="Calibri"/>
                <a:cs typeface="Calibri"/>
              </a:endParaRPr>
            </a:p>
          </p:txBody>
        </p:sp>
      </p:grpSp>
      <p:grpSp>
        <p:nvGrpSpPr>
          <p:cNvPr id="20" name="Gruppieren 19">
            <a:extLst>
              <a:ext uri="{FF2B5EF4-FFF2-40B4-BE49-F238E27FC236}">
                <a16:creationId xmlns:a16="http://schemas.microsoft.com/office/drawing/2014/main" id="{856B115A-C93C-1D01-8E49-95956BF8AE3B}"/>
              </a:ext>
            </a:extLst>
          </p:cNvPr>
          <p:cNvGrpSpPr/>
          <p:nvPr/>
        </p:nvGrpSpPr>
        <p:grpSpPr>
          <a:xfrm>
            <a:off x="9331403" y="2778098"/>
            <a:ext cx="1980000" cy="2722507"/>
            <a:chOff x="9732575" y="2306391"/>
            <a:chExt cx="1980000" cy="2522634"/>
          </a:xfrm>
        </p:grpSpPr>
        <p:sp>
          <p:nvSpPr>
            <p:cNvPr id="13" name="Rectangle 12">
              <a:extLst>
                <a:ext uri="{FF2B5EF4-FFF2-40B4-BE49-F238E27FC236}">
                  <a16:creationId xmlns:a16="http://schemas.microsoft.com/office/drawing/2014/main" id="{E8D519F0-DBD4-06FF-B911-8E1B41472E48}"/>
                </a:ext>
              </a:extLst>
            </p:cNvPr>
            <p:cNvSpPr/>
            <p:nvPr/>
          </p:nvSpPr>
          <p:spPr>
            <a:xfrm>
              <a:off x="9732575" y="2306391"/>
              <a:ext cx="1980000" cy="2522634"/>
            </a:xfrm>
            <a:prstGeom prst="rect">
              <a:avLst/>
            </a:prstGeom>
            <a:noFill/>
            <a:ln>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latin typeface="+mj-lt"/>
              </a:endParaRPr>
            </a:p>
          </p:txBody>
        </p:sp>
        <p:sp>
          <p:nvSpPr>
            <p:cNvPr id="6" name="TextBox 5">
              <a:extLst>
                <a:ext uri="{FF2B5EF4-FFF2-40B4-BE49-F238E27FC236}">
                  <a16:creationId xmlns:a16="http://schemas.microsoft.com/office/drawing/2014/main" id="{AC29C023-2AA8-CAC6-FC96-2E9D1DC9075D}"/>
                </a:ext>
              </a:extLst>
            </p:cNvPr>
            <p:cNvSpPr txBox="1"/>
            <p:nvPr/>
          </p:nvSpPr>
          <p:spPr>
            <a:xfrm>
              <a:off x="9854723" y="2404650"/>
              <a:ext cx="1728000" cy="1497201"/>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latin typeface="+mj-lt"/>
                </a:rPr>
                <a:t>digital</a:t>
              </a:r>
              <a:br>
                <a:rPr lang="de-DE" sz="1600">
                  <a:latin typeface="+mj-lt"/>
                </a:rPr>
              </a:br>
              <a:r>
                <a:rPr lang="de-DE" sz="1600">
                  <a:solidFill>
                    <a:schemeClr val="bg1"/>
                  </a:solidFill>
                  <a:latin typeface="+mj-lt"/>
                </a:rPr>
                <a:t>Operations</a:t>
              </a:r>
            </a:p>
            <a:p>
              <a:endParaRPr lang="de-DE">
                <a:solidFill>
                  <a:schemeClr val="bg1"/>
                </a:solidFill>
                <a:latin typeface="+mj-lt"/>
              </a:endParaRPr>
            </a:p>
            <a:p>
              <a:r>
                <a:rPr lang="de-DE" sz="1100">
                  <a:solidFill>
                    <a:schemeClr val="bg1"/>
                  </a:solidFill>
                  <a:latin typeface="+mj-lt"/>
                </a:rPr>
                <a:t>Sicherstellung des reibungs-losen und sicheren Betriebs </a:t>
              </a:r>
              <a:br>
                <a:rPr lang="de-DE" sz="1100">
                  <a:latin typeface="+mj-lt"/>
                </a:rPr>
              </a:br>
              <a:r>
                <a:rPr lang="de-DE" sz="1100">
                  <a:solidFill>
                    <a:schemeClr val="bg1"/>
                  </a:solidFill>
                  <a:latin typeface="+mj-lt"/>
                </a:rPr>
                <a:t>von Cloud Services in einem regulierten Umfeld</a:t>
              </a:r>
            </a:p>
          </p:txBody>
        </p:sp>
      </p:grpSp>
      <p:pic>
        <p:nvPicPr>
          <p:cNvPr id="23" name="Grafik 22">
            <a:extLst>
              <a:ext uri="{FF2B5EF4-FFF2-40B4-BE49-F238E27FC236}">
                <a16:creationId xmlns:a16="http://schemas.microsoft.com/office/drawing/2014/main" id="{755618CA-1828-D7C5-0BF2-9DAAD91F7ED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invGray">
          <a:xfrm>
            <a:off x="11224531" y="5721443"/>
            <a:ext cx="668905" cy="240806"/>
          </a:xfrm>
          <a:prstGeom prst="rect">
            <a:avLst/>
          </a:prstGeom>
        </p:spPr>
      </p:pic>
      <p:pic>
        <p:nvPicPr>
          <p:cNvPr id="24" name="Grafik 23">
            <a:extLst>
              <a:ext uri="{FF2B5EF4-FFF2-40B4-BE49-F238E27FC236}">
                <a16:creationId xmlns:a16="http://schemas.microsoft.com/office/drawing/2014/main" id="{2555DAAB-3708-FDCD-33F7-D5DED0D83AA8}"/>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bwMode="invGray">
          <a:xfrm>
            <a:off x="11026060" y="1966154"/>
            <a:ext cx="856899" cy="267562"/>
          </a:xfrm>
          <a:prstGeom prst="rect">
            <a:avLst/>
          </a:prstGeom>
        </p:spPr>
      </p:pic>
      <p:sp>
        <p:nvSpPr>
          <p:cNvPr id="26" name="Textfeld 25">
            <a:extLst>
              <a:ext uri="{FF2B5EF4-FFF2-40B4-BE49-F238E27FC236}">
                <a16:creationId xmlns:a16="http://schemas.microsoft.com/office/drawing/2014/main" id="{384F7355-65D8-AB73-4D5D-0FD52215F764}"/>
              </a:ext>
            </a:extLst>
          </p:cNvPr>
          <p:cNvSpPr txBox="1"/>
          <p:nvPr/>
        </p:nvSpPr>
        <p:spPr>
          <a:xfrm>
            <a:off x="653681" y="1885603"/>
            <a:ext cx="2549747" cy="374314"/>
          </a:xfrm>
          <a:prstGeom prst="rect">
            <a:avLst/>
          </a:prstGeom>
          <a:noFill/>
        </p:spPr>
        <p:txBody>
          <a:bodyPr wrap="none" lIns="0" tIns="0" rIns="0" bIns="0" rtlCol="0">
            <a:noAutofit/>
          </a:bodyPr>
          <a:lstStyle/>
          <a:p>
            <a:pPr algn="l"/>
            <a:r>
              <a:rPr lang="de-DE" sz="2500" err="1">
                <a:solidFill>
                  <a:schemeClr val="bg1"/>
                </a:solidFill>
                <a:latin typeface="+mj-lt"/>
              </a:rPr>
              <a:t>let’s</a:t>
            </a:r>
            <a:r>
              <a:rPr lang="de-DE" sz="2500">
                <a:solidFill>
                  <a:schemeClr val="bg1"/>
                </a:solidFill>
                <a:latin typeface="+mj-lt"/>
              </a:rPr>
              <a:t> </a:t>
            </a:r>
            <a:r>
              <a:rPr lang="de-DE" sz="2500" err="1">
                <a:solidFill>
                  <a:schemeClr val="bg1"/>
                </a:solidFill>
                <a:latin typeface="+mj-lt"/>
              </a:rPr>
              <a:t>digitize</a:t>
            </a:r>
            <a:r>
              <a:rPr lang="de-DE" sz="2500">
                <a:solidFill>
                  <a:schemeClr val="bg1"/>
                </a:solidFill>
                <a:latin typeface="+mj-lt"/>
              </a:rPr>
              <a:t>. </a:t>
            </a:r>
            <a:r>
              <a:rPr lang="de-DE" sz="2500" err="1">
                <a:solidFill>
                  <a:schemeClr val="bg1"/>
                </a:solidFill>
                <a:latin typeface="+mj-lt"/>
              </a:rPr>
              <a:t>now</a:t>
            </a:r>
            <a:r>
              <a:rPr lang="de-DE" sz="2500">
                <a:solidFill>
                  <a:schemeClr val="bg1"/>
                </a:solidFill>
                <a:latin typeface="+mj-lt"/>
              </a:rPr>
              <a:t>. </a:t>
            </a:r>
            <a:r>
              <a:rPr lang="de-DE" sz="2500" err="1">
                <a:solidFill>
                  <a:schemeClr val="bg1"/>
                </a:solidFill>
                <a:latin typeface="+mj-lt"/>
              </a:rPr>
              <a:t>together</a:t>
            </a:r>
            <a:r>
              <a:rPr lang="de-DE" sz="2500">
                <a:solidFill>
                  <a:schemeClr val="bg1"/>
                </a:solidFill>
                <a:latin typeface="+mj-lt"/>
              </a:rPr>
              <a:t>.</a:t>
            </a:r>
          </a:p>
        </p:txBody>
      </p:sp>
    </p:spTree>
    <p:extLst>
      <p:ext uri="{BB962C8B-B14F-4D97-AF65-F5344CB8AC3E}">
        <p14:creationId xmlns:p14="http://schemas.microsoft.com/office/powerpoint/2010/main" val="125803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D1AA6B28-F5C9-6647-42A1-36AEA20E8C79}"/>
              </a:ext>
            </a:extLst>
          </p:cNvPr>
          <p:cNvSpPr>
            <a:spLocks noGrp="1"/>
          </p:cNvSpPr>
          <p:nvPr>
            <p:ph type="body" sz="quarter" idx="12"/>
          </p:nvPr>
        </p:nvSpPr>
        <p:spPr/>
        <p:txBody>
          <a:bodyPr/>
          <a:lstStyle/>
          <a:p>
            <a:r>
              <a:rPr lang="de-DE"/>
              <a:t>Intelligente Lösungen und IT-Beratung</a:t>
            </a:r>
          </a:p>
        </p:txBody>
      </p:sp>
      <p:sp>
        <p:nvSpPr>
          <p:cNvPr id="3" name="Titel 2">
            <a:extLst>
              <a:ext uri="{FF2B5EF4-FFF2-40B4-BE49-F238E27FC236}">
                <a16:creationId xmlns:a16="http://schemas.microsoft.com/office/drawing/2014/main" id="{41BD5E48-0F1E-97DA-7C7E-39653A461929}"/>
              </a:ext>
            </a:extLst>
          </p:cNvPr>
          <p:cNvSpPr>
            <a:spLocks noGrp="1"/>
          </p:cNvSpPr>
          <p:nvPr>
            <p:ph type="title"/>
          </p:nvPr>
        </p:nvSpPr>
        <p:spPr/>
        <p:txBody>
          <a:bodyPr/>
          <a:lstStyle/>
          <a:p>
            <a:r>
              <a:rPr lang="de-DE" b="1" dirty="0"/>
              <a:t>Kernkompetenz Cloud</a:t>
            </a:r>
            <a:br>
              <a:rPr lang="de-DE" dirty="0"/>
            </a:br>
            <a:r>
              <a:rPr lang="de-DE" dirty="0"/>
              <a:t>Skalierung und Geschwindigkeit sichern Ihre Zukunft</a:t>
            </a:r>
          </a:p>
        </p:txBody>
      </p:sp>
      <p:sp>
        <p:nvSpPr>
          <p:cNvPr id="2" name="Fußzeilenplatzhalter 1">
            <a:extLst>
              <a:ext uri="{FF2B5EF4-FFF2-40B4-BE49-F238E27FC236}">
                <a16:creationId xmlns:a16="http://schemas.microsoft.com/office/drawing/2014/main" id="{AC1A3190-1851-489A-FDA3-9F0ADDA22D88}"/>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1</a:t>
            </a:fld>
            <a:endParaRPr lang="de-DE"/>
          </a:p>
        </p:txBody>
      </p:sp>
      <p:pic>
        <p:nvPicPr>
          <p:cNvPr id="12" name="Grafik 11">
            <a:extLst>
              <a:ext uri="{FF2B5EF4-FFF2-40B4-BE49-F238E27FC236}">
                <a16:creationId xmlns:a16="http://schemas.microsoft.com/office/drawing/2014/main" id="{365BFAC8-43D7-6AC9-5784-C77353450F6E}"/>
              </a:ext>
            </a:extLst>
          </p:cNvPr>
          <p:cNvPicPr>
            <a:picLocks noChangeAspect="1"/>
          </p:cNvPicPr>
          <p:nvPr/>
        </p:nvPicPr>
        <p:blipFill>
          <a:blip r:embed="rId5"/>
          <a:srcRect/>
          <a:stretch/>
        </p:blipFill>
        <p:spPr>
          <a:xfrm>
            <a:off x="2460259" y="5347907"/>
            <a:ext cx="522582" cy="312937"/>
          </a:xfrm>
          <a:prstGeom prst="rect">
            <a:avLst/>
          </a:prstGeom>
        </p:spPr>
      </p:pic>
      <p:pic>
        <p:nvPicPr>
          <p:cNvPr id="13" name="Grafik 12">
            <a:extLst>
              <a:ext uri="{FF2B5EF4-FFF2-40B4-BE49-F238E27FC236}">
                <a16:creationId xmlns:a16="http://schemas.microsoft.com/office/drawing/2014/main" id="{B9A9DD97-9CC0-01CF-9EF1-D964C5413BBF}"/>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23888" y="5373240"/>
            <a:ext cx="1239169" cy="262270"/>
          </a:xfrm>
          <a:prstGeom prst="rect">
            <a:avLst/>
          </a:prstGeom>
        </p:spPr>
      </p:pic>
      <p:pic>
        <p:nvPicPr>
          <p:cNvPr id="14" name="Picture 13">
            <a:extLst>
              <a:ext uri="{FF2B5EF4-FFF2-40B4-BE49-F238E27FC236}">
                <a16:creationId xmlns:a16="http://schemas.microsoft.com/office/drawing/2014/main" id="{8A036F29-43DA-36F5-BC39-C65EEA76E8A4}"/>
              </a:ext>
            </a:extLst>
          </p:cNvPr>
          <p:cNvPicPr>
            <a:picLocks noChangeAspect="1" noChangeArrowheads="1"/>
          </p:cNvPicPr>
          <p:nvPr/>
        </p:nvPicPr>
        <p:blipFill>
          <a:blip r:embed="rId7"/>
          <a:srcRect/>
          <a:stretch/>
        </p:blipFill>
        <p:spPr bwMode="auto">
          <a:xfrm>
            <a:off x="3580042" y="5374161"/>
            <a:ext cx="1679336" cy="260428"/>
          </a:xfrm>
          <a:prstGeom prst="rect">
            <a:avLst/>
          </a:prstGeom>
          <a:noFill/>
          <a:extLst>
            <a:ext uri="{909E8E84-426E-40DD-AFC4-6F175D3DCCD1}">
              <a14:hiddenFill xmlns:a14="http://schemas.microsoft.com/office/drawing/2010/main">
                <a:solidFill>
                  <a:srgbClr val="FFFFFF"/>
                </a:solidFill>
              </a14:hiddenFill>
            </a:ext>
          </a:extLst>
        </p:spPr>
      </p:pic>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23888" y="1773238"/>
            <a:ext cx="5799770" cy="2724767"/>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a:ea typeface="Calibri"/>
                <a:cs typeface="Calibri"/>
              </a:rPr>
              <a:t>Für einen erfolgreichen Cloud-Einsatz schaffen </a:t>
            </a:r>
            <a:br>
              <a:rPr lang="de-DE">
                <a:ea typeface="Calibri"/>
                <a:cs typeface="Calibri"/>
              </a:rPr>
            </a:br>
            <a:r>
              <a:rPr lang="de-DE">
                <a:ea typeface="Calibri"/>
                <a:cs typeface="Calibri"/>
              </a:rPr>
              <a:t>wir die Balance zwischen etablierten Standards</a:t>
            </a:r>
            <a:br>
              <a:rPr lang="de-DE">
                <a:ea typeface="Calibri"/>
                <a:cs typeface="Calibri"/>
              </a:rPr>
            </a:br>
            <a:r>
              <a:rPr lang="de-DE">
                <a:ea typeface="Calibri"/>
                <a:cs typeface="Calibri"/>
              </a:rPr>
              <a:t>und Lösungen, zugeschnitten auf die speziellen</a:t>
            </a:r>
            <a:br>
              <a:rPr lang="de-DE">
                <a:ea typeface="Calibri"/>
                <a:cs typeface="Calibri"/>
              </a:rPr>
            </a:br>
            <a:r>
              <a:rPr lang="de-DE">
                <a:ea typeface="Calibri"/>
                <a:cs typeface="Calibri"/>
              </a:rPr>
              <a:t>Bedürfnisse Ihres Unternehmens und Ihrer Branche.</a:t>
            </a:r>
            <a:endParaRPr lang="en-US">
              <a:ea typeface="Calibri"/>
              <a:cs typeface="Calibri"/>
            </a:endParaRPr>
          </a:p>
          <a:p>
            <a:endParaRPr lang="de-DE">
              <a:ea typeface="Calibri"/>
              <a:cs typeface="Calibri"/>
            </a:endParaRPr>
          </a:p>
          <a:p>
            <a:r>
              <a:rPr lang="de-DE">
                <a:ea typeface="Calibri"/>
                <a:cs typeface="Calibri"/>
              </a:rPr>
              <a:t>Egal wo Sie sich gerade befinden – ob in der Strategie-</a:t>
            </a:r>
            <a:br>
              <a:rPr lang="de-DE">
                <a:ea typeface="Calibri"/>
                <a:cs typeface="Calibri"/>
              </a:rPr>
            </a:br>
            <a:r>
              <a:rPr lang="de-DE">
                <a:ea typeface="Calibri"/>
                <a:cs typeface="Calibri"/>
              </a:rPr>
              <a:t>Phase, bereits mitten in der Transformation oder der Einführung von </a:t>
            </a:r>
            <a:r>
              <a:rPr lang="de-DE" err="1">
                <a:ea typeface="Calibri"/>
                <a:cs typeface="Calibri"/>
              </a:rPr>
              <a:t>Managed</a:t>
            </a:r>
            <a:r>
              <a:rPr lang="de-DE">
                <a:ea typeface="Calibri"/>
                <a:cs typeface="Calibri"/>
              </a:rPr>
              <a:t> Services – wir als msg </a:t>
            </a:r>
            <a:br>
              <a:rPr lang="de-DE">
                <a:ea typeface="Calibri"/>
                <a:cs typeface="Calibri"/>
              </a:rPr>
            </a:br>
            <a:r>
              <a:rPr lang="de-DE">
                <a:ea typeface="Calibri"/>
                <a:cs typeface="Calibri"/>
              </a:rPr>
              <a:t>unterstützen genau da, wo es darauf ankommt.</a:t>
            </a:r>
            <a:endParaRPr lang="de-DE"/>
          </a:p>
        </p:txBody>
      </p:sp>
      <p:cxnSp>
        <p:nvCxnSpPr>
          <p:cNvPr id="42" name="Gerade Verbindung 41">
            <a:extLst>
              <a:ext uri="{FF2B5EF4-FFF2-40B4-BE49-F238E27FC236}">
                <a16:creationId xmlns:a16="http://schemas.microsoft.com/office/drawing/2014/main" id="{6FED56C0-D521-F55F-5160-2DC0047C1115}"/>
              </a:ext>
            </a:extLst>
          </p:cNvPr>
          <p:cNvCxnSpPr>
            <a:cxnSpLocks/>
          </p:cNvCxnSpPr>
          <p:nvPr/>
        </p:nvCxnSpPr>
        <p:spPr>
          <a:xfrm>
            <a:off x="2160914" y="5353065"/>
            <a:ext cx="0" cy="30262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43" name="Gerade Verbindung 42">
            <a:extLst>
              <a:ext uri="{FF2B5EF4-FFF2-40B4-BE49-F238E27FC236}">
                <a16:creationId xmlns:a16="http://schemas.microsoft.com/office/drawing/2014/main" id="{C593B2BD-FE32-A1D5-FD6F-167952DCCB24}"/>
              </a:ext>
            </a:extLst>
          </p:cNvPr>
          <p:cNvCxnSpPr>
            <a:cxnSpLocks/>
          </p:cNvCxnSpPr>
          <p:nvPr/>
        </p:nvCxnSpPr>
        <p:spPr>
          <a:xfrm>
            <a:off x="3282186" y="5353065"/>
            <a:ext cx="0" cy="30262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sp>
        <p:nvSpPr>
          <p:cNvPr id="44" name="Inhaltsplatzhalter 9">
            <a:extLst>
              <a:ext uri="{FF2B5EF4-FFF2-40B4-BE49-F238E27FC236}">
                <a16:creationId xmlns:a16="http://schemas.microsoft.com/office/drawing/2014/main" id="{18AA4863-3E4C-071A-6CB1-BCC2CD2DD0EA}"/>
              </a:ext>
            </a:extLst>
          </p:cNvPr>
          <p:cNvSpPr txBox="1">
            <a:spLocks/>
          </p:cNvSpPr>
          <p:nvPr/>
        </p:nvSpPr>
        <p:spPr>
          <a:xfrm>
            <a:off x="623888" y="4911866"/>
            <a:ext cx="1740782" cy="276999"/>
          </a:xfrm>
          <a:prstGeom prst="rect">
            <a:avLst/>
          </a:prstGeom>
        </p:spPr>
        <p:txBody>
          <a:bodyPr vert="horz" wrap="square" lIns="0" tIns="0" rIns="0" bIns="0" rtlCol="0" anchor="t">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600"/>
              </a:spcAft>
            </a:pPr>
            <a:r>
              <a:rPr lang="de-DE">
                <a:solidFill>
                  <a:srgbClr val="000000"/>
                </a:solidFill>
              </a:rPr>
              <a:t>Unsere Partner:</a:t>
            </a:r>
            <a:endParaRPr lang="de-DE">
              <a:solidFill>
                <a:srgbClr val="000000"/>
              </a:solidFill>
              <a:cs typeface="Calibri"/>
            </a:endParaRPr>
          </a:p>
        </p:txBody>
      </p:sp>
      <p:pic>
        <p:nvPicPr>
          <p:cNvPr id="23" name="Grafik 22">
            <a:extLst>
              <a:ext uri="{FF2B5EF4-FFF2-40B4-BE49-F238E27FC236}">
                <a16:creationId xmlns:a16="http://schemas.microsoft.com/office/drawing/2014/main" id="{0C972050-19BC-CE44-4D45-FAD554AE6F19}"/>
              </a:ext>
            </a:extLst>
          </p:cNvPr>
          <p:cNvPicPr>
            <a:picLocks noChangeAspect="1"/>
          </p:cNvPicPr>
          <p:nvPr/>
        </p:nvPicPr>
        <p:blipFill>
          <a:blip r:embed="rId8"/>
          <a:srcRect l="12662" t="11087" r="8610" b="13136"/>
          <a:stretch/>
        </p:blipFill>
        <p:spPr>
          <a:xfrm>
            <a:off x="6243642" y="1456800"/>
            <a:ext cx="5872158" cy="4636025"/>
          </a:xfrm>
          <a:prstGeom prst="rect">
            <a:avLst/>
          </a:prstGeom>
        </p:spPr>
      </p:pic>
    </p:spTree>
    <p:extLst>
      <p:ext uri="{BB962C8B-B14F-4D97-AF65-F5344CB8AC3E}">
        <p14:creationId xmlns:p14="http://schemas.microsoft.com/office/powerpoint/2010/main" val="886493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feil: Fünfeck 11">
            <a:extLst>
              <a:ext uri="{FF2B5EF4-FFF2-40B4-BE49-F238E27FC236}">
                <a16:creationId xmlns:a16="http://schemas.microsoft.com/office/drawing/2014/main" id="{B88BF972-D871-B280-9833-17095F29F126}"/>
              </a:ext>
            </a:extLst>
          </p:cNvPr>
          <p:cNvSpPr/>
          <p:nvPr/>
        </p:nvSpPr>
        <p:spPr>
          <a:xfrm>
            <a:off x="649816" y="1753217"/>
            <a:ext cx="2875936" cy="664465"/>
          </a:xfrm>
          <a:prstGeom prst="homePlate">
            <a:avLst>
              <a:gd name="adj" fmla="val 34838"/>
            </a:avLst>
          </a:prstGeom>
          <a:blipFill>
            <a:blip r:embed="rId4"/>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14" name="Pfeil: Chevron 13">
            <a:extLst>
              <a:ext uri="{FF2B5EF4-FFF2-40B4-BE49-F238E27FC236}">
                <a16:creationId xmlns:a16="http://schemas.microsoft.com/office/drawing/2014/main" id="{2C4F816D-29BA-8D7C-F0C9-DCABD96A31BB}"/>
              </a:ext>
            </a:extLst>
          </p:cNvPr>
          <p:cNvSpPr/>
          <p:nvPr/>
        </p:nvSpPr>
        <p:spPr>
          <a:xfrm>
            <a:off x="3400316" y="1753217"/>
            <a:ext cx="2913801" cy="664465"/>
          </a:xfrm>
          <a:prstGeom prst="chevron">
            <a:avLst>
              <a:gd name="adj" fmla="val 38370"/>
            </a:avLst>
          </a:prstGeom>
          <a:blipFill>
            <a:blip r:embed="rId4"/>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3" name="Pfeil: Chevron 22">
            <a:extLst>
              <a:ext uri="{FF2B5EF4-FFF2-40B4-BE49-F238E27FC236}">
                <a16:creationId xmlns:a16="http://schemas.microsoft.com/office/drawing/2014/main" id="{38745E22-FDBE-9784-3EB8-E87056A3C43F}"/>
              </a:ext>
            </a:extLst>
          </p:cNvPr>
          <p:cNvSpPr/>
          <p:nvPr/>
        </p:nvSpPr>
        <p:spPr>
          <a:xfrm>
            <a:off x="6188681" y="1753217"/>
            <a:ext cx="2913801" cy="664465"/>
          </a:xfrm>
          <a:prstGeom prst="chevron">
            <a:avLst>
              <a:gd name="adj" fmla="val 38370"/>
            </a:avLst>
          </a:prstGeom>
          <a:blipFill>
            <a:blip r:embed="rId4"/>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6" name="Pfeil: Chevron 25">
            <a:extLst>
              <a:ext uri="{FF2B5EF4-FFF2-40B4-BE49-F238E27FC236}">
                <a16:creationId xmlns:a16="http://schemas.microsoft.com/office/drawing/2014/main" id="{4665C865-281B-1F50-5663-330821F8AD4E}"/>
              </a:ext>
            </a:extLst>
          </p:cNvPr>
          <p:cNvSpPr/>
          <p:nvPr/>
        </p:nvSpPr>
        <p:spPr>
          <a:xfrm>
            <a:off x="8977047" y="1753217"/>
            <a:ext cx="2913801" cy="664465"/>
          </a:xfrm>
          <a:prstGeom prst="chevron">
            <a:avLst>
              <a:gd name="adj" fmla="val 38370"/>
            </a:avLst>
          </a:prstGeom>
          <a:blipFill>
            <a:blip r:embed="rId4"/>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34" name="Grafik 33">
            <a:extLst>
              <a:ext uri="{FF2B5EF4-FFF2-40B4-BE49-F238E27FC236}">
                <a16:creationId xmlns:a16="http://schemas.microsoft.com/office/drawing/2014/main" id="{4641B76C-F989-A81C-2438-10B634288737}"/>
              </a:ext>
            </a:extLst>
          </p:cNvPr>
          <p:cNvPicPr>
            <a:picLocks noChangeAspect="1"/>
          </p:cNvPicPr>
          <p:nvPr/>
        </p:nvPicPr>
        <p:blipFill>
          <a:blip r:embed="rId5"/>
          <a:srcRect/>
          <a:stretch/>
        </p:blipFill>
        <p:spPr>
          <a:xfrm>
            <a:off x="727205" y="4136513"/>
            <a:ext cx="755329" cy="1093267"/>
          </a:xfrm>
          <a:prstGeom prst="rect">
            <a:avLst/>
          </a:prstGeom>
        </p:spPr>
      </p:pic>
      <p:pic>
        <p:nvPicPr>
          <p:cNvPr id="30" name="Grafik 29" descr="Ein Bild, das Text, Schrift, Logo, Grafiken enthält.&#10;&#10;Automatisch generierte Beschreibung">
            <a:extLst>
              <a:ext uri="{FF2B5EF4-FFF2-40B4-BE49-F238E27FC236}">
                <a16:creationId xmlns:a16="http://schemas.microsoft.com/office/drawing/2014/main" id="{34D2F23F-D20D-AA5F-9DC7-6AC6D7A75E0C}"/>
              </a:ext>
            </a:extLst>
          </p:cNvPr>
          <p:cNvPicPr>
            <a:picLocks noChangeAspect="1"/>
          </p:cNvPicPr>
          <p:nvPr/>
        </p:nvPicPr>
        <p:blipFill rotWithShape="1">
          <a:blip r:embed="rId6"/>
          <a:srcRect l="26134" t="15959" r="25622" b="15868"/>
          <a:stretch/>
        </p:blipFill>
        <p:spPr>
          <a:xfrm>
            <a:off x="3373510" y="4147593"/>
            <a:ext cx="765909" cy="1085118"/>
          </a:xfrm>
          <a:prstGeom prst="rect">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306" imgH="306" progId="TCLayout.ActiveDocument.1">
                  <p:embed/>
                </p:oleObj>
              </mc:Choice>
              <mc:Fallback>
                <p:oleObj name="think-cell Folie" r:id="rId7"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8" name="Textplatzhalter 27">
            <a:extLst>
              <a:ext uri="{FF2B5EF4-FFF2-40B4-BE49-F238E27FC236}">
                <a16:creationId xmlns:a16="http://schemas.microsoft.com/office/drawing/2014/main" id="{68A3414C-CEFE-452E-3837-DDF3306A9B0F}"/>
              </a:ext>
            </a:extLst>
          </p:cNvPr>
          <p:cNvSpPr>
            <a:spLocks noGrp="1"/>
          </p:cNvSpPr>
          <p:nvPr>
            <p:ph type="body" sz="quarter" idx="12"/>
          </p:nvPr>
        </p:nvSpPr>
        <p:spPr/>
        <p:txBody>
          <a:bodyPr/>
          <a:lstStyle/>
          <a:p>
            <a:r>
              <a:rPr lang="de-DE"/>
              <a:t>Intelligente Lösungen und IT-Beratung</a:t>
            </a:r>
          </a:p>
        </p:txBody>
      </p:sp>
      <p:sp>
        <p:nvSpPr>
          <p:cNvPr id="22" name="Titel 21">
            <a:extLst>
              <a:ext uri="{FF2B5EF4-FFF2-40B4-BE49-F238E27FC236}">
                <a16:creationId xmlns:a16="http://schemas.microsoft.com/office/drawing/2014/main" id="{59A0DFEE-668D-324B-BD4D-8E6CF1A953DC}"/>
              </a:ext>
            </a:extLst>
          </p:cNvPr>
          <p:cNvSpPr>
            <a:spLocks noGrp="1"/>
          </p:cNvSpPr>
          <p:nvPr>
            <p:ph type="title"/>
          </p:nvPr>
        </p:nvSpPr>
        <p:spPr/>
        <p:txBody>
          <a:bodyPr/>
          <a:lstStyle/>
          <a:p>
            <a:r>
              <a:rPr lang="de-DE" b="1" dirty="0"/>
              <a:t>Kernkompetenz SAP</a:t>
            </a:r>
            <a:br>
              <a:rPr lang="de-DE" dirty="0"/>
            </a:br>
            <a:r>
              <a:rPr lang="en-US" dirty="0"/>
              <a:t>Seit </a:t>
            </a:r>
            <a:r>
              <a:rPr lang="en-US" dirty="0" err="1"/>
              <a:t>über</a:t>
            </a:r>
            <a:r>
              <a:rPr lang="en-US" dirty="0"/>
              <a:t> 25 Jahren gestalten </a:t>
            </a:r>
            <a:r>
              <a:rPr lang="en-US" dirty="0" err="1"/>
              <a:t>wir</a:t>
            </a:r>
            <a:r>
              <a:rPr lang="en-US" dirty="0"/>
              <a:t> </a:t>
            </a:r>
            <a:r>
              <a:rPr lang="en-US" dirty="0" err="1"/>
              <a:t>als</a:t>
            </a:r>
            <a:r>
              <a:rPr lang="en-US" dirty="0"/>
              <a:t> SAP-Partner den </a:t>
            </a:r>
            <a:r>
              <a:rPr lang="en-US" dirty="0" err="1"/>
              <a:t>digitalen</a:t>
            </a:r>
            <a:r>
              <a:rPr lang="en-US" dirty="0"/>
              <a:t> Wandel</a:t>
            </a:r>
            <a:br>
              <a:rPr lang="de-DE" dirty="0"/>
            </a:br>
            <a:endParaRPr lang="de-DE" dirty="0"/>
          </a:p>
        </p:txBody>
      </p:sp>
      <p:sp>
        <p:nvSpPr>
          <p:cNvPr id="25" name="Fußzeilenplatzhalter 1">
            <a:extLst>
              <a:ext uri="{FF2B5EF4-FFF2-40B4-BE49-F238E27FC236}">
                <a16:creationId xmlns:a16="http://schemas.microsoft.com/office/drawing/2014/main" id="{609F9083-1B69-4540-5608-531D9E10EA78}"/>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2</a:t>
            </a:fld>
            <a:endParaRPr lang="de-DE"/>
          </a:p>
        </p:txBody>
      </p:sp>
      <p:sp>
        <p:nvSpPr>
          <p:cNvPr id="3" name="AutoShape 25">
            <a:extLst>
              <a:ext uri="{FF2B5EF4-FFF2-40B4-BE49-F238E27FC236}">
                <a16:creationId xmlns:a16="http://schemas.microsoft.com/office/drawing/2014/main" id="{6A3637A5-2ED5-18F8-D717-5E6E03EE0A93}"/>
              </a:ext>
            </a:extLst>
          </p:cNvPr>
          <p:cNvSpPr>
            <a:spLocks noChangeArrowheads="1"/>
          </p:cNvSpPr>
          <p:nvPr/>
        </p:nvSpPr>
        <p:spPr bwMode="auto">
          <a:xfrm>
            <a:off x="6167100" y="2466497"/>
            <a:ext cx="2844014" cy="813369"/>
          </a:xfrm>
          <a:prstGeom prst="rect">
            <a:avLst/>
          </a:prstGeom>
          <a:noFill/>
          <a:ln w="9525" cap="flat" cmpd="sng" algn="ctr">
            <a:noFill/>
            <a:prstDash val="solid"/>
            <a:headEnd/>
            <a:tailEnd/>
          </a:ln>
          <a:effectLst/>
        </p:spPr>
        <p:txBody>
          <a:bodyPr wrap="square" lIns="71999" tIns="72000" rIns="71999" bIns="45720" anchor="t"/>
          <a:lstStyle/>
          <a:p>
            <a:pPr algn="ctr">
              <a:tabLst>
                <a:tab pos="3714462" algn="l"/>
              </a:tabLst>
            </a:pPr>
            <a:r>
              <a:rPr lang="en-US" sz="1400" kern="0" dirty="0" err="1">
                <a:solidFill>
                  <a:srgbClr val="000000"/>
                </a:solidFill>
              </a:rPr>
              <a:t>Beratung</a:t>
            </a:r>
            <a:r>
              <a:rPr lang="en-US" sz="1400" kern="0" dirty="0">
                <a:solidFill>
                  <a:srgbClr val="000000"/>
                </a:solidFill>
              </a:rPr>
              <a:t>, </a:t>
            </a:r>
            <a:r>
              <a:rPr lang="en-US" sz="1400" kern="0" dirty="0" err="1">
                <a:solidFill>
                  <a:srgbClr val="000000"/>
                </a:solidFill>
              </a:rPr>
              <a:t>Implementierung</a:t>
            </a:r>
            <a:r>
              <a:rPr lang="en-US" sz="1400" kern="0" dirty="0">
                <a:solidFill>
                  <a:srgbClr val="000000"/>
                </a:solidFill>
              </a:rPr>
              <a:t> </a:t>
            </a:r>
          </a:p>
          <a:p>
            <a:pPr algn="ctr">
              <a:tabLst>
                <a:tab pos="3714462" algn="l"/>
              </a:tabLst>
            </a:pPr>
            <a:r>
              <a:rPr lang="en-US" sz="1400" kern="0" dirty="0">
                <a:solidFill>
                  <a:srgbClr val="000000"/>
                </a:solidFill>
              </a:rPr>
              <a:t>und Integration von </a:t>
            </a:r>
          </a:p>
          <a:p>
            <a:pPr algn="ctr">
              <a:tabLst>
                <a:tab pos="3714462" algn="l"/>
              </a:tabLst>
            </a:pPr>
            <a:r>
              <a:rPr lang="en-US" sz="1400" kern="0" dirty="0">
                <a:solidFill>
                  <a:srgbClr val="000000"/>
                </a:solidFill>
              </a:rPr>
              <a:t>SAP-</a:t>
            </a:r>
            <a:r>
              <a:rPr lang="en-US" sz="1400" kern="0" dirty="0" err="1">
                <a:solidFill>
                  <a:srgbClr val="000000"/>
                </a:solidFill>
              </a:rPr>
              <a:t>Produkten</a:t>
            </a:r>
            <a:r>
              <a:rPr lang="en-US" sz="1400" kern="0" dirty="0">
                <a:solidFill>
                  <a:srgbClr val="000000"/>
                </a:solidFill>
              </a:rPr>
              <a:t> und -</a:t>
            </a:r>
            <a:r>
              <a:rPr lang="en-US" sz="1400" kern="0" dirty="0" err="1">
                <a:solidFill>
                  <a:srgbClr val="000000"/>
                </a:solidFill>
              </a:rPr>
              <a:t>Lösungen</a:t>
            </a:r>
            <a:endParaRPr lang="en-US" sz="1400" kern="0" dirty="0">
              <a:solidFill>
                <a:srgbClr val="000000"/>
              </a:solidFill>
              <a:ea typeface="Calibri"/>
              <a:cs typeface="Calibri"/>
            </a:endParaRPr>
          </a:p>
          <a:p>
            <a:pPr algn="ctr">
              <a:spcBef>
                <a:spcPts val="1200"/>
              </a:spcBef>
              <a:spcAft>
                <a:spcPts val="1200"/>
              </a:spcAft>
              <a:tabLst>
                <a:tab pos="3714462" algn="l"/>
              </a:tabLst>
            </a:pPr>
            <a:endParaRPr lang="en-US" sz="1400" kern="0" dirty="0">
              <a:solidFill>
                <a:srgbClr val="000000"/>
              </a:solidFill>
              <a:ea typeface="Calibri"/>
              <a:cs typeface="Calibri"/>
            </a:endParaRPr>
          </a:p>
        </p:txBody>
      </p:sp>
      <p:sp>
        <p:nvSpPr>
          <p:cNvPr id="4" name="AutoShape 25">
            <a:extLst>
              <a:ext uri="{FF2B5EF4-FFF2-40B4-BE49-F238E27FC236}">
                <a16:creationId xmlns:a16="http://schemas.microsoft.com/office/drawing/2014/main" id="{E28A3E46-117A-0C7A-E587-81E435C7AF7D}"/>
              </a:ext>
            </a:extLst>
          </p:cNvPr>
          <p:cNvSpPr>
            <a:spLocks noChangeArrowheads="1"/>
          </p:cNvSpPr>
          <p:nvPr/>
        </p:nvSpPr>
        <p:spPr bwMode="auto">
          <a:xfrm>
            <a:off x="6505797"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defTabSz="914330">
              <a:lnSpc>
                <a:spcPts val="1200"/>
              </a:lnSpc>
              <a:buClr>
                <a:srgbClr val="841439"/>
              </a:buClr>
              <a:buSzPct val="120000"/>
              <a:tabLst>
                <a:tab pos="3714462" algn="l"/>
              </a:tabLst>
              <a:defRPr/>
            </a:pPr>
            <a:r>
              <a:rPr lang="en-US" kern="0">
                <a:solidFill>
                  <a:schemeClr val="bg1"/>
                </a:solidFill>
              </a:rPr>
              <a:t>Service</a:t>
            </a:r>
          </a:p>
        </p:txBody>
      </p:sp>
      <p:sp>
        <p:nvSpPr>
          <p:cNvPr id="5" name="AutoShape 25">
            <a:extLst>
              <a:ext uri="{FF2B5EF4-FFF2-40B4-BE49-F238E27FC236}">
                <a16:creationId xmlns:a16="http://schemas.microsoft.com/office/drawing/2014/main" id="{82A66403-FD52-6C63-1111-861BBD6F8FE8}"/>
              </a:ext>
            </a:extLst>
          </p:cNvPr>
          <p:cNvSpPr>
            <a:spLocks noChangeArrowheads="1"/>
          </p:cNvSpPr>
          <p:nvPr/>
        </p:nvSpPr>
        <p:spPr bwMode="auto">
          <a:xfrm>
            <a:off x="9042154" y="2466497"/>
            <a:ext cx="2684086" cy="813362"/>
          </a:xfrm>
          <a:prstGeom prst="rect">
            <a:avLst/>
          </a:prstGeom>
          <a:noFill/>
          <a:ln w="9525" cap="flat" cmpd="sng" algn="ctr">
            <a:noFill/>
            <a:prstDash val="solid"/>
            <a:headEnd/>
            <a:tailEnd/>
          </a:ln>
          <a:effectLst/>
        </p:spPr>
        <p:txBody>
          <a:bodyPr wrap="square" lIns="71999" tIns="72000" rIns="71999" bIns="45720" anchor="t"/>
          <a:lstStyle/>
          <a:p>
            <a:pPr algn="ctr">
              <a:tabLst>
                <a:tab pos="3714462" algn="l"/>
              </a:tabLst>
            </a:pPr>
            <a:r>
              <a:rPr lang="en-US" sz="1400" kern="0" dirty="0" err="1">
                <a:solidFill>
                  <a:srgbClr val="000000"/>
                </a:solidFill>
                <a:ea typeface="Calibri"/>
                <a:cs typeface="Calibri"/>
              </a:rPr>
              <a:t>Wartung</a:t>
            </a:r>
            <a:r>
              <a:rPr lang="en-US" sz="1400" kern="0" dirty="0">
                <a:solidFill>
                  <a:srgbClr val="000000"/>
                </a:solidFill>
                <a:ea typeface="Calibri"/>
                <a:cs typeface="Calibri"/>
              </a:rPr>
              <a:t> und </a:t>
            </a:r>
            <a:r>
              <a:rPr lang="en-US" sz="1400" kern="0" dirty="0" err="1">
                <a:solidFill>
                  <a:srgbClr val="000000"/>
                </a:solidFill>
                <a:ea typeface="Calibri"/>
                <a:cs typeface="Calibri"/>
              </a:rPr>
              <a:t>Verkauf</a:t>
            </a:r>
            <a:r>
              <a:rPr lang="en-US" sz="1400" kern="0" dirty="0">
                <a:solidFill>
                  <a:srgbClr val="000000"/>
                </a:solidFill>
                <a:ea typeface="Calibri"/>
                <a:cs typeface="Calibri"/>
              </a:rPr>
              <a:t> von SAP-Software-Lizenzen, On-Premise- und Cloud-</a:t>
            </a:r>
            <a:r>
              <a:rPr lang="en-US" sz="1400" kern="0" dirty="0" err="1">
                <a:solidFill>
                  <a:srgbClr val="000000"/>
                </a:solidFill>
                <a:ea typeface="Calibri"/>
                <a:cs typeface="Calibri"/>
              </a:rPr>
              <a:t>Produkten</a:t>
            </a:r>
            <a:endParaRPr lang="en-US" sz="1400" kern="0" dirty="0">
              <a:solidFill>
                <a:srgbClr val="000000"/>
              </a:solidFill>
              <a:ea typeface="Calibri"/>
              <a:cs typeface="Calibri"/>
            </a:endParaRPr>
          </a:p>
          <a:p>
            <a:pPr algn="ctr">
              <a:spcBef>
                <a:spcPts val="1200"/>
              </a:spcBef>
              <a:spcAft>
                <a:spcPts val="1200"/>
              </a:spcAft>
              <a:tabLst>
                <a:tab pos="3714462" algn="l"/>
              </a:tabLst>
            </a:pPr>
            <a:endParaRPr lang="en-US" sz="1400" kern="0" dirty="0">
              <a:solidFill>
                <a:srgbClr val="000000"/>
              </a:solidFill>
              <a:ea typeface="Calibri"/>
              <a:cs typeface="Calibri"/>
            </a:endParaRPr>
          </a:p>
        </p:txBody>
      </p:sp>
      <p:sp>
        <p:nvSpPr>
          <p:cNvPr id="6" name="AutoShape 25">
            <a:extLst>
              <a:ext uri="{FF2B5EF4-FFF2-40B4-BE49-F238E27FC236}">
                <a16:creationId xmlns:a16="http://schemas.microsoft.com/office/drawing/2014/main" id="{BD5953F8-D559-9812-E4F1-CB2487C4DE3C}"/>
              </a:ext>
            </a:extLst>
          </p:cNvPr>
          <p:cNvSpPr>
            <a:spLocks noChangeArrowheads="1"/>
          </p:cNvSpPr>
          <p:nvPr/>
        </p:nvSpPr>
        <p:spPr bwMode="auto">
          <a:xfrm>
            <a:off x="9250519"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defRPr/>
            </a:pPr>
            <a:r>
              <a:rPr lang="en-US" kern="0">
                <a:solidFill>
                  <a:schemeClr val="bg1"/>
                </a:solidFill>
              </a:rPr>
              <a:t>Sell</a:t>
            </a:r>
          </a:p>
        </p:txBody>
      </p:sp>
      <p:sp>
        <p:nvSpPr>
          <p:cNvPr id="7" name="AutoShape 25">
            <a:extLst>
              <a:ext uri="{FF2B5EF4-FFF2-40B4-BE49-F238E27FC236}">
                <a16:creationId xmlns:a16="http://schemas.microsoft.com/office/drawing/2014/main" id="{CCCBB2D4-776C-94A8-1E64-A27E7554F75A}"/>
              </a:ext>
            </a:extLst>
          </p:cNvPr>
          <p:cNvSpPr>
            <a:spLocks noChangeArrowheads="1"/>
          </p:cNvSpPr>
          <p:nvPr/>
        </p:nvSpPr>
        <p:spPr bwMode="auto">
          <a:xfrm>
            <a:off x="558910" y="2437095"/>
            <a:ext cx="2788892" cy="842773"/>
          </a:xfrm>
          <a:prstGeom prst="rect">
            <a:avLst/>
          </a:prstGeom>
          <a:noFill/>
          <a:ln w="9525" cap="flat" cmpd="sng" algn="ctr">
            <a:noFill/>
            <a:prstDash val="solid"/>
            <a:headEnd/>
            <a:tailEnd/>
          </a:ln>
          <a:effectLst/>
        </p:spPr>
        <p:txBody>
          <a:bodyPr wrap="square" lIns="71999" tIns="72000" rIns="71999" bIns="45720" anchor="t"/>
          <a:lstStyle/>
          <a:p>
            <a:pPr algn="ctr">
              <a:tabLst>
                <a:tab pos="3714462" algn="l"/>
              </a:tabLst>
            </a:pPr>
            <a:r>
              <a:rPr lang="en-US" sz="1400" kern="0" dirty="0" err="1">
                <a:solidFill>
                  <a:srgbClr val="000000"/>
                </a:solidFill>
                <a:ea typeface="Calibri"/>
                <a:cs typeface="Calibri"/>
              </a:rPr>
              <a:t>Entwicklung</a:t>
            </a:r>
            <a:r>
              <a:rPr lang="en-US" sz="1400" kern="0" dirty="0">
                <a:solidFill>
                  <a:srgbClr val="000000"/>
                </a:solidFill>
                <a:ea typeface="Calibri"/>
                <a:cs typeface="Calibri"/>
              </a:rPr>
              <a:t> von </a:t>
            </a:r>
            <a:r>
              <a:rPr lang="en-US" sz="1400" kern="0" dirty="0" err="1">
                <a:solidFill>
                  <a:srgbClr val="000000"/>
                </a:solidFill>
                <a:ea typeface="Calibri"/>
                <a:cs typeface="Calibri"/>
              </a:rPr>
              <a:t>Anwendungs</a:t>
            </a:r>
            <a:r>
              <a:rPr lang="en-US" sz="1400" kern="0" dirty="0">
                <a:solidFill>
                  <a:srgbClr val="000000"/>
                </a:solidFill>
                <a:ea typeface="Calibri"/>
                <a:cs typeface="Calibri"/>
              </a:rPr>
              <a:t>-software für SAP und </a:t>
            </a:r>
            <a:r>
              <a:rPr lang="en-US" sz="1400" kern="0" dirty="0" err="1">
                <a:solidFill>
                  <a:srgbClr val="000000"/>
                </a:solidFill>
                <a:ea typeface="Calibri"/>
                <a:cs typeface="Calibri"/>
              </a:rPr>
              <a:t>kunden-spezifischen</a:t>
            </a:r>
            <a:r>
              <a:rPr lang="en-US" sz="1400" kern="0" dirty="0">
                <a:solidFill>
                  <a:srgbClr val="000000"/>
                </a:solidFill>
                <a:ea typeface="Calibri"/>
                <a:cs typeface="Calibri"/>
              </a:rPr>
              <a:t> </a:t>
            </a:r>
            <a:r>
              <a:rPr lang="en-US" sz="1400" kern="0" dirty="0" err="1">
                <a:solidFill>
                  <a:srgbClr val="000000"/>
                </a:solidFill>
                <a:ea typeface="Calibri"/>
                <a:cs typeface="Calibri"/>
              </a:rPr>
              <a:t>Softwarelösungen</a:t>
            </a:r>
            <a:endParaRPr lang="en-US" sz="1400" kern="0" dirty="0">
              <a:solidFill>
                <a:srgbClr val="000000"/>
              </a:solidFill>
              <a:ea typeface="Calibri"/>
              <a:cs typeface="Calibri"/>
            </a:endParaRPr>
          </a:p>
        </p:txBody>
      </p:sp>
      <p:sp>
        <p:nvSpPr>
          <p:cNvPr id="8" name="AutoShape 25">
            <a:extLst>
              <a:ext uri="{FF2B5EF4-FFF2-40B4-BE49-F238E27FC236}">
                <a16:creationId xmlns:a16="http://schemas.microsoft.com/office/drawing/2014/main" id="{88C5AA12-AA63-8B91-4CD8-2F1EC2A979F0}"/>
              </a:ext>
            </a:extLst>
          </p:cNvPr>
          <p:cNvSpPr>
            <a:spLocks noChangeArrowheads="1"/>
          </p:cNvSpPr>
          <p:nvPr/>
        </p:nvSpPr>
        <p:spPr bwMode="auto">
          <a:xfrm>
            <a:off x="804874"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defRPr/>
            </a:pPr>
            <a:r>
              <a:rPr lang="en-US" kern="0">
                <a:solidFill>
                  <a:schemeClr val="bg1"/>
                </a:solidFill>
              </a:rPr>
              <a:t>Build</a:t>
            </a:r>
          </a:p>
        </p:txBody>
      </p:sp>
      <p:sp>
        <p:nvSpPr>
          <p:cNvPr id="10" name="AutoShape 25">
            <a:extLst>
              <a:ext uri="{FF2B5EF4-FFF2-40B4-BE49-F238E27FC236}">
                <a16:creationId xmlns:a16="http://schemas.microsoft.com/office/drawing/2014/main" id="{0B29D337-93B1-533F-1D57-1A1B08256B87}"/>
              </a:ext>
            </a:extLst>
          </p:cNvPr>
          <p:cNvSpPr>
            <a:spLocks noChangeArrowheads="1"/>
          </p:cNvSpPr>
          <p:nvPr/>
        </p:nvSpPr>
        <p:spPr bwMode="auto">
          <a:xfrm>
            <a:off x="3804773"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pPr>
            <a:r>
              <a:rPr lang="en-US" kern="0">
                <a:solidFill>
                  <a:schemeClr val="bg1"/>
                </a:solidFill>
              </a:rPr>
              <a:t>Run</a:t>
            </a:r>
          </a:p>
        </p:txBody>
      </p:sp>
      <p:sp>
        <p:nvSpPr>
          <p:cNvPr id="16" name="AutoShape 25">
            <a:extLst>
              <a:ext uri="{FF2B5EF4-FFF2-40B4-BE49-F238E27FC236}">
                <a16:creationId xmlns:a16="http://schemas.microsoft.com/office/drawing/2014/main" id="{BCCB9BE6-50B0-7011-B5A0-4756EA3484C1}"/>
              </a:ext>
            </a:extLst>
          </p:cNvPr>
          <p:cNvSpPr>
            <a:spLocks noChangeArrowheads="1"/>
          </p:cNvSpPr>
          <p:nvPr/>
        </p:nvSpPr>
        <p:spPr bwMode="auto">
          <a:xfrm>
            <a:off x="3514186" y="2456852"/>
            <a:ext cx="2486530" cy="823016"/>
          </a:xfrm>
          <a:prstGeom prst="rect">
            <a:avLst/>
          </a:prstGeom>
          <a:noFill/>
          <a:ln w="9525" cap="flat" cmpd="sng" algn="ctr">
            <a:noFill/>
            <a:prstDash val="solid"/>
            <a:headEnd/>
            <a:tailEnd/>
          </a:ln>
          <a:effectLst/>
        </p:spPr>
        <p:txBody>
          <a:bodyPr wrap="square" lIns="71999" tIns="72000" rIns="71999"/>
          <a:lstStyle/>
          <a:p>
            <a:pPr algn="ctr">
              <a:spcBef>
                <a:spcPts val="1200"/>
              </a:spcBef>
              <a:spcAft>
                <a:spcPts val="1200"/>
              </a:spcAft>
              <a:buClr>
                <a:srgbClr val="841439"/>
              </a:buClr>
              <a:buSzPct val="120000"/>
              <a:tabLst>
                <a:tab pos="3714462" algn="l"/>
              </a:tabLst>
            </a:pPr>
            <a:r>
              <a:rPr lang="en-US" sz="1400" kern="0" dirty="0" err="1">
                <a:solidFill>
                  <a:srgbClr val="000000"/>
                </a:solidFill>
              </a:rPr>
              <a:t>Betrieb</a:t>
            </a:r>
            <a:r>
              <a:rPr lang="en-US" sz="1400" kern="0" dirty="0">
                <a:solidFill>
                  <a:srgbClr val="000000"/>
                </a:solidFill>
              </a:rPr>
              <a:t>, Application Management und </a:t>
            </a:r>
            <a:r>
              <a:rPr lang="en-US" sz="1400" kern="0" dirty="0" err="1">
                <a:solidFill>
                  <a:srgbClr val="000000"/>
                </a:solidFill>
              </a:rPr>
              <a:t>Wartung</a:t>
            </a:r>
            <a:r>
              <a:rPr lang="en-US" sz="1400" kern="0" dirty="0">
                <a:solidFill>
                  <a:srgbClr val="000000"/>
                </a:solidFill>
              </a:rPr>
              <a:t> von SAP-</a:t>
            </a:r>
            <a:r>
              <a:rPr lang="en-US" sz="1400" kern="0" dirty="0" err="1">
                <a:solidFill>
                  <a:srgbClr val="000000"/>
                </a:solidFill>
              </a:rPr>
              <a:t>Anwendungen</a:t>
            </a:r>
            <a:r>
              <a:rPr lang="en-US" sz="1400" kern="0" dirty="0">
                <a:solidFill>
                  <a:srgbClr val="000000"/>
                </a:solidFill>
              </a:rPr>
              <a:t> </a:t>
            </a:r>
            <a:br>
              <a:rPr lang="en-US" sz="1400" kern="0" dirty="0">
                <a:solidFill>
                  <a:srgbClr val="000000"/>
                </a:solidFill>
              </a:rPr>
            </a:br>
            <a:endParaRPr lang="en-US" sz="1400" kern="0" dirty="0">
              <a:solidFill>
                <a:srgbClr val="000000"/>
              </a:solidFill>
            </a:endParaRPr>
          </a:p>
        </p:txBody>
      </p:sp>
      <p:sp>
        <p:nvSpPr>
          <p:cNvPr id="27" name="Rechteck 26">
            <a:extLst>
              <a:ext uri="{FF2B5EF4-FFF2-40B4-BE49-F238E27FC236}">
                <a16:creationId xmlns:a16="http://schemas.microsoft.com/office/drawing/2014/main" id="{9E6CF0E5-D448-8142-E4CF-6F28E1BB789F}"/>
              </a:ext>
            </a:extLst>
          </p:cNvPr>
          <p:cNvSpPr/>
          <p:nvPr/>
        </p:nvSpPr>
        <p:spPr>
          <a:xfrm>
            <a:off x="500485" y="3444161"/>
            <a:ext cx="2422657" cy="524272"/>
          </a:xfrm>
          <a:prstGeom prst="rect">
            <a:avLst/>
          </a:prstGeom>
          <a:noFill/>
          <a:ln w="9525" cap="flat" cmpd="sng" algn="ctr">
            <a:noFill/>
            <a:prstDash val="solid"/>
            <a:headEnd/>
            <a:tailEnd/>
          </a:ln>
          <a:effectLst/>
        </p:spPr>
        <p:txBody>
          <a:bodyPr wrap="none" lIns="0" tIns="0" rIns="0" bIns="0" anchor="ctr" anchorCtr="1"/>
          <a:lstStyle/>
          <a:p>
            <a:pPr marL="9525" indent="-9525">
              <a:lnSpc>
                <a:spcPts val="1200"/>
              </a:lnSpc>
              <a:buClr>
                <a:srgbClr val="841439"/>
              </a:buClr>
              <a:buSzPct val="120000"/>
              <a:tabLst>
                <a:tab pos="3713163" algn="l"/>
              </a:tabLst>
            </a:pPr>
            <a:r>
              <a:rPr lang="en-US" sz="1550" kern="0" dirty="0" err="1"/>
              <a:t>Aktuelle</a:t>
            </a:r>
            <a:r>
              <a:rPr lang="en-US" sz="1550" kern="0" dirty="0"/>
              <a:t> </a:t>
            </a:r>
            <a:r>
              <a:rPr lang="en-US" sz="1550" kern="0" dirty="0" err="1"/>
              <a:t>Auszeichnungen</a:t>
            </a:r>
            <a:endParaRPr lang="en-US" sz="1583" kern="0" dirty="0">
              <a:ea typeface="Calibri"/>
              <a:cs typeface="Calibri"/>
            </a:endParaRPr>
          </a:p>
        </p:txBody>
      </p:sp>
      <p:pic>
        <p:nvPicPr>
          <p:cNvPr id="50" name="Grafik 11">
            <a:extLst>
              <a:ext uri="{FF2B5EF4-FFF2-40B4-BE49-F238E27FC236}">
                <a16:creationId xmlns:a16="http://schemas.microsoft.com/office/drawing/2014/main" id="{017B4AD4-8BE6-57CF-9C9F-BEBC141418FF}"/>
              </a:ext>
            </a:extLst>
          </p:cNvPr>
          <p:cNvPicPr>
            <a:picLocks noChangeAspect="1"/>
          </p:cNvPicPr>
          <p:nvPr/>
        </p:nvPicPr>
        <p:blipFill>
          <a:blip r:embed="rId9"/>
          <a:srcRect/>
          <a:stretch/>
        </p:blipFill>
        <p:spPr>
          <a:xfrm>
            <a:off x="7298651" y="3896726"/>
            <a:ext cx="937548" cy="2412000"/>
          </a:xfrm>
          <a:prstGeom prst="rect">
            <a:avLst/>
          </a:prstGeom>
        </p:spPr>
      </p:pic>
      <p:cxnSp>
        <p:nvCxnSpPr>
          <p:cNvPr id="20" name="Gerade Verbindung 19">
            <a:extLst>
              <a:ext uri="{FF2B5EF4-FFF2-40B4-BE49-F238E27FC236}">
                <a16:creationId xmlns:a16="http://schemas.microsoft.com/office/drawing/2014/main" id="{B72E58BC-D031-8F9A-1A50-48DB768FCDB8}"/>
              </a:ext>
            </a:extLst>
          </p:cNvPr>
          <p:cNvCxnSpPr>
            <a:cxnSpLocks/>
          </p:cNvCxnSpPr>
          <p:nvPr/>
        </p:nvCxnSpPr>
        <p:spPr>
          <a:xfrm>
            <a:off x="4358066" y="3903955"/>
            <a:ext cx="0" cy="241200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21" name="Gerader Verbinder 42">
            <a:extLst>
              <a:ext uri="{FF2B5EF4-FFF2-40B4-BE49-F238E27FC236}">
                <a16:creationId xmlns:a16="http://schemas.microsoft.com/office/drawing/2014/main" id="{FFB6FE10-D953-FAD4-E6DC-D671F2E7696B}"/>
              </a:ext>
            </a:extLst>
          </p:cNvPr>
          <p:cNvCxnSpPr>
            <a:cxnSpLocks/>
          </p:cNvCxnSpPr>
          <p:nvPr/>
        </p:nvCxnSpPr>
        <p:spPr>
          <a:xfrm>
            <a:off x="607210" y="3382753"/>
            <a:ext cx="11221499"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1BD47CF8-E6C2-12F9-A7CD-9FAAC971BEC1}"/>
              </a:ext>
            </a:extLst>
          </p:cNvPr>
          <p:cNvGrpSpPr/>
          <p:nvPr/>
        </p:nvGrpSpPr>
        <p:grpSpPr>
          <a:xfrm>
            <a:off x="4576712" y="4189356"/>
            <a:ext cx="1962706" cy="1733902"/>
            <a:chOff x="5058968" y="4328435"/>
            <a:chExt cx="1962706" cy="1733902"/>
          </a:xfrm>
        </p:grpSpPr>
        <p:pic>
          <p:nvPicPr>
            <p:cNvPr id="41" name="Grafik 40">
              <a:extLst>
                <a:ext uri="{FF2B5EF4-FFF2-40B4-BE49-F238E27FC236}">
                  <a16:creationId xmlns:a16="http://schemas.microsoft.com/office/drawing/2014/main" id="{020DED5F-FEF3-8FA8-8D59-8632AA7B4576}"/>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350065" y="4717850"/>
              <a:ext cx="1385072" cy="227414"/>
            </a:xfrm>
            <a:prstGeom prst="rect">
              <a:avLst/>
            </a:prstGeom>
          </p:spPr>
        </p:pic>
        <p:pic>
          <p:nvPicPr>
            <p:cNvPr id="45" name="Grafik 44">
              <a:extLst>
                <a:ext uri="{FF2B5EF4-FFF2-40B4-BE49-F238E27FC236}">
                  <a16:creationId xmlns:a16="http://schemas.microsoft.com/office/drawing/2014/main" id="{5C166665-EFF5-48C2-CDC1-DAF2816CD7A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058968" y="4328435"/>
              <a:ext cx="1962706" cy="354904"/>
            </a:xfrm>
            <a:prstGeom prst="rect">
              <a:avLst/>
            </a:prstGeom>
          </p:spPr>
        </p:pic>
        <p:pic>
          <p:nvPicPr>
            <p:cNvPr id="46" name="Picture 8" descr="Bildergebnis fÃ¼r sap certified in hosting services">
              <a:extLst>
                <a:ext uri="{FF2B5EF4-FFF2-40B4-BE49-F238E27FC236}">
                  <a16:creationId xmlns:a16="http://schemas.microsoft.com/office/drawing/2014/main" id="{FA185924-C116-E596-2DCD-1510452A60BA}"/>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t="36370" b="37274"/>
            <a:stretch/>
          </p:blipFill>
          <p:spPr bwMode="auto">
            <a:xfrm>
              <a:off x="5241369" y="5748779"/>
              <a:ext cx="1173934" cy="313558"/>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8" descr="Bildergebnis fÃ¼r sap certified in hosting services">
              <a:extLst>
                <a:ext uri="{FF2B5EF4-FFF2-40B4-BE49-F238E27FC236}">
                  <a16:creationId xmlns:a16="http://schemas.microsoft.com/office/drawing/2014/main" id="{12F7B3B1-F459-35F3-10D5-AD7E9EA0EFB5}"/>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b="70538"/>
            <a:stretch/>
          </p:blipFill>
          <p:spPr bwMode="auto">
            <a:xfrm>
              <a:off x="5242021" y="4984746"/>
              <a:ext cx="1154020" cy="344566"/>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8" descr="Bildergebnis fÃ¼r sap certified in hosting services">
              <a:extLst>
                <a:ext uri="{FF2B5EF4-FFF2-40B4-BE49-F238E27FC236}">
                  <a16:creationId xmlns:a16="http://schemas.microsoft.com/office/drawing/2014/main" id="{B26033EA-6D58-5053-98FE-45F5734971CC}"/>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t="70430" b="2810"/>
            <a:stretch/>
          </p:blipFill>
          <p:spPr bwMode="auto">
            <a:xfrm>
              <a:off x="5238103" y="5376917"/>
              <a:ext cx="1154300" cy="31305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9" name="Gerade Verbindung 38">
            <a:extLst>
              <a:ext uri="{FF2B5EF4-FFF2-40B4-BE49-F238E27FC236}">
                <a16:creationId xmlns:a16="http://schemas.microsoft.com/office/drawing/2014/main" id="{FC90A7B7-C870-7028-5AE8-FA509A0734E0}"/>
              </a:ext>
            </a:extLst>
          </p:cNvPr>
          <p:cNvCxnSpPr>
            <a:cxnSpLocks/>
          </p:cNvCxnSpPr>
          <p:nvPr/>
        </p:nvCxnSpPr>
        <p:spPr>
          <a:xfrm>
            <a:off x="6772381" y="3894548"/>
            <a:ext cx="5432" cy="241200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17" name="Grafik 13">
            <a:extLst>
              <a:ext uri="{FF2B5EF4-FFF2-40B4-BE49-F238E27FC236}">
                <a16:creationId xmlns:a16="http://schemas.microsoft.com/office/drawing/2014/main" id="{096D09D6-2FB9-1709-3AA3-58384542F8AC}"/>
              </a:ext>
            </a:extLst>
          </p:cNvPr>
          <p:cNvPicPr>
            <a:picLocks noChangeAspect="1"/>
          </p:cNvPicPr>
          <p:nvPr/>
        </p:nvPicPr>
        <p:blipFill>
          <a:blip r:embed="rId13"/>
          <a:stretch>
            <a:fillRect/>
          </a:stretch>
        </p:blipFill>
        <p:spPr>
          <a:xfrm>
            <a:off x="2029445" y="4137778"/>
            <a:ext cx="748710" cy="1094932"/>
          </a:xfrm>
          <a:prstGeom prst="rect">
            <a:avLst/>
          </a:prstGeom>
        </p:spPr>
      </p:pic>
      <p:sp>
        <p:nvSpPr>
          <p:cNvPr id="58" name="Textplatzhalter 14">
            <a:extLst>
              <a:ext uri="{FF2B5EF4-FFF2-40B4-BE49-F238E27FC236}">
                <a16:creationId xmlns:a16="http://schemas.microsoft.com/office/drawing/2014/main" id="{23E209BA-5B51-851E-E5F0-714A0DAD0E2F}"/>
              </a:ext>
            </a:extLst>
          </p:cNvPr>
          <p:cNvSpPr txBox="1">
            <a:spLocks/>
          </p:cNvSpPr>
          <p:nvPr/>
        </p:nvSpPr>
        <p:spPr>
          <a:xfrm>
            <a:off x="354061" y="5431838"/>
            <a:ext cx="1495541" cy="514756"/>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a:cs typeface="Calibri"/>
              </a:rPr>
              <a:t>Solution Extension</a:t>
            </a:r>
          </a:p>
          <a:p>
            <a:pPr algn="ctr">
              <a:lnSpc>
                <a:spcPts val="1200"/>
              </a:lnSpc>
            </a:pPr>
            <a:r>
              <a:rPr lang="de-DE" sz="1000">
                <a:cs typeface="Calibri"/>
              </a:rPr>
              <a:t>Partner </a:t>
            </a:r>
            <a:r>
              <a:rPr lang="de-DE" sz="1000" err="1">
                <a:cs typeface="Calibri"/>
              </a:rPr>
              <a:t>of</a:t>
            </a:r>
            <a:r>
              <a:rPr lang="de-DE" sz="1000">
                <a:cs typeface="Calibri"/>
              </a:rPr>
              <a:t> </a:t>
            </a:r>
            <a:r>
              <a:rPr lang="de-DE" sz="1000" err="1">
                <a:cs typeface="Calibri"/>
              </a:rPr>
              <a:t>the</a:t>
            </a:r>
            <a:r>
              <a:rPr lang="de-DE" sz="1000">
                <a:cs typeface="Calibri"/>
              </a:rPr>
              <a:t> Year</a:t>
            </a:r>
          </a:p>
          <a:p>
            <a:pPr algn="ctr">
              <a:lnSpc>
                <a:spcPct val="150000"/>
              </a:lnSpc>
            </a:pPr>
            <a:r>
              <a:rPr lang="de-DE" sz="1000">
                <a:cs typeface="Calibri"/>
              </a:rPr>
              <a:t>Digital Core</a:t>
            </a:r>
          </a:p>
        </p:txBody>
      </p:sp>
      <p:sp>
        <p:nvSpPr>
          <p:cNvPr id="60" name="Textplatzhalter 14">
            <a:extLst>
              <a:ext uri="{FF2B5EF4-FFF2-40B4-BE49-F238E27FC236}">
                <a16:creationId xmlns:a16="http://schemas.microsoft.com/office/drawing/2014/main" id="{D1EFCA02-B04B-64F7-5616-DED4142683D0}"/>
              </a:ext>
            </a:extLst>
          </p:cNvPr>
          <p:cNvSpPr txBox="1">
            <a:spLocks/>
          </p:cNvSpPr>
          <p:nvPr/>
        </p:nvSpPr>
        <p:spPr>
          <a:xfrm>
            <a:off x="1630631" y="5431838"/>
            <a:ext cx="1495541" cy="69249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a:cs typeface="Calibri"/>
              </a:rPr>
              <a:t>Intelligent Enterprise</a:t>
            </a:r>
          </a:p>
          <a:p>
            <a:pPr algn="ctr">
              <a:lnSpc>
                <a:spcPts val="1200"/>
              </a:lnSpc>
            </a:pPr>
            <a:r>
              <a:rPr lang="de-DE" sz="1000">
                <a:cs typeface="Calibri"/>
              </a:rPr>
              <a:t>Innovation</a:t>
            </a:r>
          </a:p>
          <a:p>
            <a:pPr algn="ctr">
              <a:lnSpc>
                <a:spcPct val="150000"/>
              </a:lnSpc>
            </a:pPr>
            <a:r>
              <a:rPr lang="de-DE" sz="1000">
                <a:cs typeface="Calibri"/>
              </a:rPr>
              <a:t>Partner </a:t>
            </a:r>
            <a:r>
              <a:rPr lang="de-DE" sz="1000" err="1">
                <a:cs typeface="Calibri"/>
              </a:rPr>
              <a:t>Application</a:t>
            </a:r>
            <a:endParaRPr lang="de-DE" sz="1000">
              <a:cs typeface="Calibri"/>
            </a:endParaRPr>
          </a:p>
          <a:p>
            <a:pPr algn="ctr">
              <a:lnSpc>
                <a:spcPct val="100000"/>
              </a:lnSpc>
            </a:pPr>
            <a:r>
              <a:rPr lang="de-DE" sz="1000">
                <a:cs typeface="Calibri"/>
              </a:rPr>
              <a:t>Industry Cloud</a:t>
            </a:r>
          </a:p>
        </p:txBody>
      </p:sp>
      <p:pic>
        <p:nvPicPr>
          <p:cNvPr id="2" name="Picture 1">
            <a:extLst>
              <a:ext uri="{FF2B5EF4-FFF2-40B4-BE49-F238E27FC236}">
                <a16:creationId xmlns:a16="http://schemas.microsoft.com/office/drawing/2014/main" id="{44483D4A-7044-65F2-478E-97220B4F396B}"/>
              </a:ext>
            </a:extLst>
          </p:cNvPr>
          <p:cNvPicPr>
            <a:picLocks noChangeAspect="1"/>
          </p:cNvPicPr>
          <p:nvPr/>
        </p:nvPicPr>
        <p:blipFill>
          <a:blip r:embed="rId14"/>
          <a:stretch>
            <a:fillRect/>
          </a:stretch>
        </p:blipFill>
        <p:spPr>
          <a:xfrm>
            <a:off x="9210568" y="3955499"/>
            <a:ext cx="2629690" cy="736807"/>
          </a:xfrm>
          <a:prstGeom prst="rect">
            <a:avLst/>
          </a:prstGeom>
        </p:spPr>
      </p:pic>
      <p:pic>
        <p:nvPicPr>
          <p:cNvPr id="18" name="Grafik 17" descr="Ein Bild, das Text, Screenshot, Schrift, Grafiken enthält.&#10;&#10;Beschreibung automatisch generiert.">
            <a:extLst>
              <a:ext uri="{FF2B5EF4-FFF2-40B4-BE49-F238E27FC236}">
                <a16:creationId xmlns:a16="http://schemas.microsoft.com/office/drawing/2014/main" id="{B1146560-78C0-5C05-35DF-4254C8840917}"/>
              </a:ext>
            </a:extLst>
          </p:cNvPr>
          <p:cNvPicPr>
            <a:picLocks noChangeAspect="1"/>
          </p:cNvPicPr>
          <p:nvPr/>
        </p:nvPicPr>
        <p:blipFill>
          <a:blip r:embed="rId15"/>
          <a:stretch>
            <a:fillRect/>
          </a:stretch>
        </p:blipFill>
        <p:spPr>
          <a:xfrm>
            <a:off x="9214422" y="4757730"/>
            <a:ext cx="2635668" cy="731331"/>
          </a:xfrm>
          <a:prstGeom prst="rect">
            <a:avLst/>
          </a:prstGeom>
        </p:spPr>
      </p:pic>
      <p:cxnSp>
        <p:nvCxnSpPr>
          <p:cNvPr id="13" name="Gerade Verbindung 12">
            <a:extLst>
              <a:ext uri="{FF2B5EF4-FFF2-40B4-BE49-F238E27FC236}">
                <a16:creationId xmlns:a16="http://schemas.microsoft.com/office/drawing/2014/main" id="{B7F9B255-3917-7AD4-5857-57949A2A5229}"/>
              </a:ext>
            </a:extLst>
          </p:cNvPr>
          <p:cNvCxnSpPr>
            <a:cxnSpLocks/>
          </p:cNvCxnSpPr>
          <p:nvPr/>
        </p:nvCxnSpPr>
        <p:spPr>
          <a:xfrm>
            <a:off x="8691679" y="3888086"/>
            <a:ext cx="5432" cy="241200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012A0C42-9A63-9994-1852-10046CA90E67}"/>
              </a:ext>
            </a:extLst>
          </p:cNvPr>
          <p:cNvPicPr>
            <a:picLocks noChangeAspect="1"/>
          </p:cNvPicPr>
          <p:nvPr/>
        </p:nvPicPr>
        <p:blipFill>
          <a:blip r:embed="rId16" cstate="screen">
            <a:extLst>
              <a:ext uri="{28A0092B-C50C-407E-A947-70E740481C1C}">
                <a14:useLocalDpi xmlns:a14="http://schemas.microsoft.com/office/drawing/2010/main" val="0"/>
              </a:ext>
            </a:extLst>
          </a:blip>
          <a:stretch>
            <a:fillRect/>
          </a:stretch>
        </p:blipFill>
        <p:spPr>
          <a:xfrm>
            <a:off x="9205097" y="5554485"/>
            <a:ext cx="2640631" cy="756602"/>
          </a:xfrm>
          <a:prstGeom prst="rect">
            <a:avLst/>
          </a:prstGeom>
        </p:spPr>
      </p:pic>
      <p:sp>
        <p:nvSpPr>
          <p:cNvPr id="19" name="Textplatzhalter 14">
            <a:extLst>
              <a:ext uri="{FF2B5EF4-FFF2-40B4-BE49-F238E27FC236}">
                <a16:creationId xmlns:a16="http://schemas.microsoft.com/office/drawing/2014/main" id="{90549B94-B41B-8CC9-A6F7-5B0DACF96DC0}"/>
              </a:ext>
            </a:extLst>
          </p:cNvPr>
          <p:cNvSpPr txBox="1">
            <a:spLocks/>
          </p:cNvSpPr>
          <p:nvPr/>
        </p:nvSpPr>
        <p:spPr>
          <a:xfrm>
            <a:off x="3372741" y="5431838"/>
            <a:ext cx="738756" cy="30777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a:cs typeface="Calibri"/>
              </a:rPr>
              <a:t>AI Partner Innovation</a:t>
            </a:r>
            <a:endParaRPr lang="en-US"/>
          </a:p>
        </p:txBody>
      </p:sp>
    </p:spTree>
    <p:extLst>
      <p:ext uri="{BB962C8B-B14F-4D97-AF65-F5344CB8AC3E}">
        <p14:creationId xmlns:p14="http://schemas.microsoft.com/office/powerpoint/2010/main" val="9070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Grafik 23">
            <a:extLst>
              <a:ext uri="{FF2B5EF4-FFF2-40B4-BE49-F238E27FC236}">
                <a16:creationId xmlns:a16="http://schemas.microsoft.com/office/drawing/2014/main" id="{D38CBEA5-6F2A-EC63-3D56-2EACCFD08262}"/>
              </a:ext>
            </a:extLst>
          </p:cNvPr>
          <p:cNvPicPr>
            <a:picLocks noChangeAspect="1"/>
          </p:cNvPicPr>
          <p:nvPr/>
        </p:nvPicPr>
        <p:blipFill>
          <a:blip r:embed="rId4"/>
          <a:srcRect/>
          <a:stretch/>
        </p:blipFill>
        <p:spPr>
          <a:xfrm>
            <a:off x="2204" y="1242"/>
            <a:ext cx="12204035" cy="6864769"/>
          </a:xfrm>
          <a:prstGeom prst="rect">
            <a:avLst/>
          </a:prstGeom>
        </p:spPr>
      </p:pic>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ußzeilenplatzhalter 3">
            <a:extLst>
              <a:ext uri="{FF2B5EF4-FFF2-40B4-BE49-F238E27FC236}">
                <a16:creationId xmlns:a16="http://schemas.microsoft.com/office/drawing/2014/main" id="{A056FEBF-7C9D-F149-AC25-734E5D897AAF}"/>
              </a:ext>
            </a:extLst>
          </p:cNvPr>
          <p:cNvSpPr>
            <a:spLocks noGrp="1"/>
          </p:cNvSpPr>
          <p:nvPr>
            <p:ph type="ftr" sz="quarter" idx="10"/>
          </p:nvPr>
        </p:nvSpPr>
        <p:spPr>
          <a:xfrm>
            <a:off x="655780" y="6443762"/>
            <a:ext cx="4968501" cy="153888"/>
          </a:xfrm>
        </p:spPr>
        <p:txBody>
          <a:bodyPr/>
          <a:lstStyle/>
          <a:p>
            <a:r>
              <a:rPr lang="de-DE">
                <a:solidFill>
                  <a:schemeClr val="bg1"/>
                </a:solidFill>
              </a:rPr>
              <a:t>© msg systems ag | 2026 | msg-Unternehmenspräsentation</a:t>
            </a: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a:xfrm>
            <a:off x="11358563" y="6443762"/>
            <a:ext cx="431620" cy="153888"/>
          </a:xfrm>
        </p:spPr>
        <p:txBody>
          <a:bodyPr/>
          <a:lstStyle/>
          <a:p>
            <a:fld id="{B27B0579-4238-4E44-9A9E-134B676F827C}" type="slidenum">
              <a:rPr lang="de-DE" dirty="0" smtClean="0">
                <a:solidFill>
                  <a:schemeClr val="bg1"/>
                </a:solidFill>
              </a:rPr>
              <a:pPr/>
              <a:t>23</a:t>
            </a:fld>
            <a:endParaRPr lang="de-DE">
              <a:solidFill>
                <a:schemeClr val="bg1"/>
              </a:solidFill>
            </a:endParaRPr>
          </a:p>
        </p:txBody>
      </p:sp>
      <p:sp>
        <p:nvSpPr>
          <p:cNvPr id="5" name="Diagonal liegende Ecken des Rechtecks abrunden 4">
            <a:extLst>
              <a:ext uri="{FF2B5EF4-FFF2-40B4-BE49-F238E27FC236}">
                <a16:creationId xmlns:a16="http://schemas.microsoft.com/office/drawing/2014/main" id="{C779A05A-1398-92E1-7024-6048C1D065C3}"/>
              </a:ext>
            </a:extLst>
          </p:cNvPr>
          <p:cNvSpPr/>
          <p:nvPr/>
        </p:nvSpPr>
        <p:spPr>
          <a:xfrm flipV="1">
            <a:off x="623888" y="4160516"/>
            <a:ext cx="8970405"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10" name="Titel 1">
            <a:extLst>
              <a:ext uri="{FF2B5EF4-FFF2-40B4-BE49-F238E27FC236}">
                <a16:creationId xmlns:a16="http://schemas.microsoft.com/office/drawing/2014/main" id="{E3A2740E-D216-8DE3-3870-3F27F2834865}"/>
              </a:ext>
            </a:extLst>
          </p:cNvPr>
          <p:cNvSpPr txBox="1">
            <a:spLocks/>
          </p:cNvSpPr>
          <p:nvPr/>
        </p:nvSpPr>
        <p:spPr>
          <a:xfrm>
            <a:off x="1239310" y="4895522"/>
            <a:ext cx="8354983"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a:solidFill>
                  <a:schemeClr val="tx1"/>
                </a:solidFill>
                <a:latin typeface="+mn-lt"/>
              </a:rPr>
              <a:t>Überzeugende Erfolgsgeschichten</a:t>
            </a:r>
          </a:p>
        </p:txBody>
      </p:sp>
      <p:sp>
        <p:nvSpPr>
          <p:cNvPr id="12" name="Untertitel 2">
            <a:extLst>
              <a:ext uri="{FF2B5EF4-FFF2-40B4-BE49-F238E27FC236}">
                <a16:creationId xmlns:a16="http://schemas.microsoft.com/office/drawing/2014/main" id="{89280539-3E2B-003C-A4FA-57E066FEE6CD}"/>
              </a:ext>
            </a:extLst>
          </p:cNvPr>
          <p:cNvSpPr txBox="1">
            <a:spLocks/>
          </p:cNvSpPr>
          <p:nvPr/>
        </p:nvSpPr>
        <p:spPr>
          <a:xfrm>
            <a:off x="1266180" y="4496542"/>
            <a:ext cx="8328114"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a:ln>
                  <a:noFill/>
                </a:ln>
                <a:effectLst/>
                <a:uLnTx/>
                <a:uFillTx/>
                <a:cs typeface="Calibri Light"/>
              </a:rPr>
              <a:t>Vertrauen und Kompetenz</a:t>
            </a:r>
          </a:p>
        </p:txBody>
      </p:sp>
      <p:sp>
        <p:nvSpPr>
          <p:cNvPr id="13" name="Ellipse 13">
            <a:extLst>
              <a:ext uri="{FF2B5EF4-FFF2-40B4-BE49-F238E27FC236}">
                <a16:creationId xmlns:a16="http://schemas.microsoft.com/office/drawing/2014/main" id="{424346A2-9D3F-F78C-1D71-5993D877420F}"/>
              </a:ext>
            </a:extLst>
          </p:cNvPr>
          <p:cNvSpPr/>
          <p:nvPr/>
        </p:nvSpPr>
        <p:spPr>
          <a:xfrm>
            <a:off x="790713" y="447496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3</a:t>
            </a:r>
          </a:p>
        </p:txBody>
      </p:sp>
      <p:pic>
        <p:nvPicPr>
          <p:cNvPr id="6" name="Grafik 5">
            <a:extLst>
              <a:ext uri="{FF2B5EF4-FFF2-40B4-BE49-F238E27FC236}">
                <a16:creationId xmlns:a16="http://schemas.microsoft.com/office/drawing/2014/main" id="{89368779-677F-0095-4055-D1E0B5F664A0}"/>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1668729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iagonal liegende Ecken des Rechtecks abrunden 4">
            <a:extLst>
              <a:ext uri="{FF2B5EF4-FFF2-40B4-BE49-F238E27FC236}">
                <a16:creationId xmlns:a16="http://schemas.microsoft.com/office/drawing/2014/main" id="{9D8DB784-3388-EB97-303E-6568212C5A76}"/>
              </a:ext>
            </a:extLst>
          </p:cNvPr>
          <p:cNvSpPr/>
          <p:nvPr/>
        </p:nvSpPr>
        <p:spPr>
          <a:xfrm>
            <a:off x="6491287" y="1773238"/>
            <a:ext cx="5700713" cy="3553710"/>
          </a:xfrm>
          <a:prstGeom prst="round2DiagRect">
            <a:avLst>
              <a:gd name="adj1" fmla="val 0"/>
              <a:gd name="adj2" fmla="val 4822"/>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2A465842-9CE4-C44E-7A4D-17202EC0DEF8}"/>
              </a:ext>
            </a:extLst>
          </p:cNvPr>
          <p:cNvSpPr>
            <a:spLocks noGrp="1"/>
          </p:cNvSpPr>
          <p:nvPr>
            <p:ph type="body" sz="quarter" idx="12"/>
          </p:nvPr>
        </p:nvSpPr>
        <p:spPr/>
        <p:txBody>
          <a:bodyPr/>
          <a:lstStyle/>
          <a:p>
            <a:r>
              <a:rPr lang="de-DE"/>
              <a:t>Überzeugende Erfolgsgeschichten</a:t>
            </a:r>
          </a:p>
        </p:txBody>
      </p:sp>
      <p:sp>
        <p:nvSpPr>
          <p:cNvPr id="3" name="Titel 2">
            <a:extLst>
              <a:ext uri="{FF2B5EF4-FFF2-40B4-BE49-F238E27FC236}">
                <a16:creationId xmlns:a16="http://schemas.microsoft.com/office/drawing/2014/main" id="{505FA704-3ECC-D4C6-9BBC-FAAF9E16BB33}"/>
              </a:ext>
            </a:extLst>
          </p:cNvPr>
          <p:cNvSpPr>
            <a:spLocks noGrp="1"/>
          </p:cNvSpPr>
          <p:nvPr>
            <p:ph type="title"/>
          </p:nvPr>
        </p:nvSpPr>
        <p:spPr>
          <a:xfrm>
            <a:off x="623888" y="620713"/>
            <a:ext cx="10539831" cy="738664"/>
          </a:xfrm>
        </p:spPr>
        <p:txBody>
          <a:bodyPr/>
          <a:lstStyle/>
          <a:p>
            <a:r>
              <a:rPr lang="de-DE" dirty="0"/>
              <a:t>Aufbau einer zentralen SAP BW/4HANA und SAP-Analytics-Cloud-Lösung zur effizienten Verfolgung strategischer Unternehmensziele bei </a:t>
            </a:r>
            <a:r>
              <a:rPr lang="de-DE" b="1" dirty="0"/>
              <a:t>REFRATECHNIK</a:t>
            </a:r>
            <a:br>
              <a:rPr lang="de-DE" dirty="0"/>
            </a:br>
            <a:endParaRPr lang="de-DE" dirty="0"/>
          </a:p>
        </p:txBody>
      </p:sp>
      <p:sp>
        <p:nvSpPr>
          <p:cNvPr id="4" name="Fußzeilenplatzhalter 1">
            <a:extLst>
              <a:ext uri="{FF2B5EF4-FFF2-40B4-BE49-F238E27FC236}">
                <a16:creationId xmlns:a16="http://schemas.microsoft.com/office/drawing/2014/main" id="{80FBF988-211A-520C-B6A9-7B5BCEF60842}"/>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4</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26155" y="1773238"/>
            <a:ext cx="5700713" cy="4629142"/>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pPr>
            <a:r>
              <a:rPr lang="de-DE" sz="1600">
                <a:latin typeface="Aptos Bold" panose="020B0004020202020204" pitchFamily="34" charset="0"/>
                <a:cs typeface="Calibri Light"/>
              </a:rPr>
              <a:t>Projektziele</a:t>
            </a:r>
          </a:p>
          <a:p>
            <a:pPr marL="143510" indent="-143510">
              <a:lnSpc>
                <a:spcPct val="100000"/>
              </a:lnSpc>
              <a:spcAft>
                <a:spcPts val="300"/>
              </a:spcAft>
              <a:buFont typeface="Arial" panose="020B0604020202020204" pitchFamily="34" charset="0"/>
              <a:buChar char="•"/>
            </a:pPr>
            <a:r>
              <a:rPr lang="de-DE" sz="1600">
                <a:cs typeface="Calibri Light"/>
              </a:rPr>
              <a:t>Effiziente Verfolgung der strategischen Unternehmensziele  durch die Etablierung eines zentralen und kennzahlen-gestützten Analytics-Systems</a:t>
            </a:r>
            <a:endParaRPr lang="de-DE" sz="1600">
              <a:cs typeface="Calibri Light" panose="020F0302020204030204" pitchFamily="34" charset="0"/>
            </a:endParaRPr>
          </a:p>
          <a:p>
            <a:pPr marL="143510" indent="-143510">
              <a:lnSpc>
                <a:spcPct val="100000"/>
              </a:lnSpc>
              <a:spcAft>
                <a:spcPts val="300"/>
              </a:spcAft>
              <a:buFont typeface="Arial" panose="020B0604020202020204" pitchFamily="34" charset="0"/>
              <a:buChar char="•"/>
            </a:pPr>
            <a:r>
              <a:rPr lang="de-DE" sz="1600">
                <a:cs typeface="Calibri Light"/>
              </a:rPr>
              <a:t>Implementierung der Anwendung auf Basis von SAP BW/4HANA</a:t>
            </a:r>
            <a:endParaRPr lang="de-DE">
              <a:cs typeface="Calibri"/>
            </a:endParaRPr>
          </a:p>
          <a:p>
            <a:pPr marL="143510" indent="-143510">
              <a:lnSpc>
                <a:spcPct val="100000"/>
              </a:lnSpc>
              <a:spcAft>
                <a:spcPts val="300"/>
              </a:spcAft>
              <a:buFont typeface="Arial" panose="020B0604020202020204" pitchFamily="34" charset="0"/>
              <a:buChar char="•"/>
            </a:pPr>
            <a:r>
              <a:rPr lang="de-DE" sz="1600">
                <a:cs typeface="Calibri Light"/>
              </a:rPr>
              <a:t>Etablierung von </a:t>
            </a:r>
            <a:r>
              <a:rPr lang="de-DE" sz="1600" err="1">
                <a:cs typeface="Calibri Light"/>
              </a:rPr>
              <a:t>Direct</a:t>
            </a:r>
            <a:r>
              <a:rPr lang="de-DE" sz="1600">
                <a:cs typeface="Calibri Light"/>
              </a:rPr>
              <a:t>-Connection-Szenarien für weiterführende Analysen und das Geschäftsführungs-Reporting in der SAP Analytics Cloud</a:t>
            </a:r>
          </a:p>
          <a:p>
            <a:pPr marL="143510" indent="-143510">
              <a:lnSpc>
                <a:spcPct val="100000"/>
              </a:lnSpc>
              <a:spcAft>
                <a:spcPts val="300"/>
              </a:spcAft>
              <a:buFont typeface="Arial" panose="020B0604020202020204" pitchFamily="34" charset="0"/>
              <a:buChar char="•"/>
            </a:pPr>
            <a:r>
              <a:rPr lang="de-DE" sz="1600">
                <a:cs typeface="Calibri Light"/>
              </a:rPr>
              <a:t>Etablierung von GEO-Analysten und Mobilisierung der Anwendung</a:t>
            </a:r>
          </a:p>
          <a:p>
            <a:pPr>
              <a:lnSpc>
                <a:spcPct val="100000"/>
              </a:lnSpc>
              <a:spcAft>
                <a:spcPts val="300"/>
              </a:spcAft>
            </a:pPr>
            <a:endParaRPr lang="de-DE" sz="1600">
              <a:latin typeface="Calibri Light"/>
              <a:cs typeface="Calibri Light"/>
            </a:endParaRPr>
          </a:p>
          <a:p>
            <a:pPr>
              <a:lnSpc>
                <a:spcPct val="100000"/>
              </a:lnSpc>
              <a:spcAft>
                <a:spcPts val="300"/>
              </a:spcAft>
            </a:pPr>
            <a:r>
              <a:rPr lang="de-DE" sz="1600">
                <a:latin typeface="Aptos Bold" panose="020B0004020202020204" pitchFamily="34" charset="0"/>
                <a:cs typeface="Calibri Light"/>
              </a:rPr>
              <a:t>Kundennutzen</a:t>
            </a:r>
          </a:p>
          <a:p>
            <a:pPr marL="143510" indent="-143510">
              <a:lnSpc>
                <a:spcPct val="100000"/>
              </a:lnSpc>
              <a:spcAft>
                <a:spcPts val="300"/>
              </a:spcAft>
              <a:buFont typeface="Arial" panose="020B0604020202020204" pitchFamily="34" charset="0"/>
              <a:buChar char="•"/>
            </a:pPr>
            <a:r>
              <a:rPr lang="de-DE" sz="1600">
                <a:cs typeface="Calibri Light"/>
              </a:rPr>
              <a:t>Aufbau der zentralen Analytics- &amp; Controlling-Anwendung für flexible Analysen und Wirtschaftlichkeitsbetrachtungen</a:t>
            </a:r>
          </a:p>
          <a:p>
            <a:pPr marL="143510" indent="-143510">
              <a:lnSpc>
                <a:spcPct val="100000"/>
              </a:lnSpc>
              <a:spcAft>
                <a:spcPts val="300"/>
              </a:spcAft>
              <a:buFont typeface="Arial" panose="020B0604020202020204" pitchFamily="34" charset="0"/>
              <a:buChar char="•"/>
            </a:pPr>
            <a:r>
              <a:rPr lang="de-DE" sz="1600">
                <a:cs typeface="Calibri Light"/>
              </a:rPr>
              <a:t>Strategische Beratung bei der System-Weiterentwicklung</a:t>
            </a:r>
          </a:p>
          <a:p>
            <a:pPr marL="143510" indent="-143510">
              <a:lnSpc>
                <a:spcPct val="100000"/>
              </a:lnSpc>
              <a:spcAft>
                <a:spcPts val="300"/>
              </a:spcAft>
              <a:buFont typeface="Arial" panose="020B0604020202020204" pitchFamily="34" charset="0"/>
              <a:buChar char="•"/>
            </a:pPr>
            <a:endParaRPr lang="de-DE" sz="1600">
              <a:latin typeface="Calibri Light" panose="020F0302020204030204" pitchFamily="34" charset="0"/>
              <a:cs typeface="Calibri Light" panose="020F0302020204030204" pitchFamily="34" charset="0"/>
            </a:endParaRPr>
          </a:p>
        </p:txBody>
      </p:sp>
      <p:pic>
        <p:nvPicPr>
          <p:cNvPr id="2" name="Grafik 1" descr="Ein Bild, das Schrift, Grafiken, Text, Logo enthält.&#10;&#10;Beschreibung automatisch generiert.">
            <a:extLst>
              <a:ext uri="{FF2B5EF4-FFF2-40B4-BE49-F238E27FC236}">
                <a16:creationId xmlns:a16="http://schemas.microsoft.com/office/drawing/2014/main" id="{1E0F6687-F9F1-4CF4-8A2F-3770CE4F7CB4}"/>
              </a:ext>
            </a:extLst>
          </p:cNvPr>
          <p:cNvPicPr>
            <a:picLocks noChangeAspect="1"/>
          </p:cNvPicPr>
          <p:nvPr/>
        </p:nvPicPr>
        <p:blipFill>
          <a:blip r:embed="rId7"/>
          <a:stretch>
            <a:fillRect/>
          </a:stretch>
        </p:blipFill>
        <p:spPr>
          <a:xfrm>
            <a:off x="9810890" y="5583107"/>
            <a:ext cx="2069444" cy="392862"/>
          </a:xfrm>
          <a:prstGeom prst="rect">
            <a:avLst/>
          </a:prstGeom>
        </p:spPr>
      </p:pic>
    </p:spTree>
    <p:extLst>
      <p:ext uri="{BB962C8B-B14F-4D97-AF65-F5344CB8AC3E}">
        <p14:creationId xmlns:p14="http://schemas.microsoft.com/office/powerpoint/2010/main" val="4227224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78290423-149C-9D45-FBCD-EDA8405DFFF9}"/>
              </a:ext>
            </a:extLst>
          </p:cNvPr>
          <p:cNvSpPr>
            <a:spLocks noGrp="1"/>
          </p:cNvSpPr>
          <p:nvPr>
            <p:ph type="body" sz="quarter" idx="12"/>
          </p:nvPr>
        </p:nvSpPr>
        <p:spPr/>
        <p:txBody>
          <a:bodyPr/>
          <a:lstStyle/>
          <a:p>
            <a:r>
              <a:rPr lang="de-DE"/>
              <a:t>Überzeugende Erfolgsgeschichten</a:t>
            </a:r>
          </a:p>
        </p:txBody>
      </p:sp>
      <p:sp>
        <p:nvSpPr>
          <p:cNvPr id="12" name="Titel 11">
            <a:extLst>
              <a:ext uri="{FF2B5EF4-FFF2-40B4-BE49-F238E27FC236}">
                <a16:creationId xmlns:a16="http://schemas.microsoft.com/office/drawing/2014/main" id="{6D7FCABA-BF73-A164-8789-8DC03138B727}"/>
              </a:ext>
            </a:extLst>
          </p:cNvPr>
          <p:cNvSpPr>
            <a:spLocks noGrp="1"/>
          </p:cNvSpPr>
          <p:nvPr>
            <p:ph type="title"/>
          </p:nvPr>
        </p:nvSpPr>
        <p:spPr/>
        <p:txBody>
          <a:bodyPr/>
          <a:lstStyle/>
          <a:p>
            <a:r>
              <a:rPr lang="de-DE" dirty="0"/>
              <a:t>Neuer Migrationsansatz zur Übernahme der bilanziellen Steuerung: </a:t>
            </a:r>
            <a:br>
              <a:rPr lang="de-DE" dirty="0"/>
            </a:br>
            <a:r>
              <a:rPr lang="de-DE" dirty="0"/>
              <a:t>Finanzen stets im Blick dank SAP FI-Migration bei </a:t>
            </a:r>
            <a:r>
              <a:rPr lang="de-DE" b="1" dirty="0"/>
              <a:t>VIRIDIUM</a:t>
            </a:r>
            <a:br>
              <a:rPr lang="de-DE" dirty="0"/>
            </a:br>
            <a:endParaRPr lang="de-DE" dirty="0"/>
          </a:p>
        </p:txBody>
      </p:sp>
      <p:sp>
        <p:nvSpPr>
          <p:cNvPr id="4" name="Fußzeilenplatzhalter 1">
            <a:extLst>
              <a:ext uri="{FF2B5EF4-FFF2-40B4-BE49-F238E27FC236}">
                <a16:creationId xmlns:a16="http://schemas.microsoft.com/office/drawing/2014/main" id="{1340372B-609B-8E84-A216-2ED82E50C732}"/>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5</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26154" y="1770977"/>
            <a:ext cx="5700713" cy="4629142"/>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pPr>
            <a:r>
              <a:rPr lang="de-DE" sz="1600">
                <a:latin typeface="Aptos Bold" panose="020B0004020202020204" pitchFamily="34" charset="0"/>
                <a:cs typeface="Calibri Light"/>
              </a:rPr>
              <a:t>Projektziele</a:t>
            </a:r>
          </a:p>
          <a:p>
            <a:pPr marL="143510" indent="-143510">
              <a:lnSpc>
                <a:spcPct val="100000"/>
              </a:lnSpc>
              <a:spcAft>
                <a:spcPts val="300"/>
              </a:spcAft>
              <a:buFont typeface="Arial" panose="020B0604020202020204" pitchFamily="34" charset="0"/>
              <a:buChar char="•"/>
            </a:pPr>
            <a:r>
              <a:rPr lang="de-DE" sz="1600">
                <a:cs typeface="Calibri Light"/>
              </a:rPr>
              <a:t>Unterstützung der Fachbereiche Finanzbuchhaltung, </a:t>
            </a:r>
            <a:br>
              <a:rPr lang="de-DE" sz="1600">
                <a:cs typeface="Calibri Light"/>
              </a:rPr>
            </a:br>
            <a:r>
              <a:rPr lang="de-DE" sz="1600">
                <a:cs typeface="Calibri Light"/>
              </a:rPr>
              <a:t>Controlling und Konzernbuchhaltung bei der FI-Migration</a:t>
            </a:r>
          </a:p>
          <a:p>
            <a:pPr marL="143510" indent="-143510">
              <a:lnSpc>
                <a:spcPct val="100000"/>
              </a:lnSpc>
              <a:spcAft>
                <a:spcPts val="300"/>
              </a:spcAft>
              <a:buFont typeface="Arial" panose="020B0604020202020204" pitchFamily="34" charset="0"/>
              <a:buChar char="•"/>
            </a:pPr>
            <a:r>
              <a:rPr lang="de-DE" sz="1600">
                <a:cs typeface="Calibri Light"/>
              </a:rPr>
              <a:t>Erstellung Migrationskonzept und Konzeption der </a:t>
            </a:r>
            <a:br>
              <a:rPr lang="de-DE" sz="1600">
                <a:cs typeface="Calibri Light"/>
              </a:rPr>
            </a:br>
            <a:r>
              <a:rPr lang="de-DE" sz="1600">
                <a:cs typeface="Calibri Light"/>
              </a:rPr>
              <a:t>Schnittstelle für die laufende Datenübernahme</a:t>
            </a:r>
            <a:endParaRPr lang="de-DE" sz="1600">
              <a:ea typeface="Calibri Light"/>
              <a:cs typeface="Calibri Light"/>
            </a:endParaRPr>
          </a:p>
          <a:p>
            <a:pPr marL="143510" indent="-143510">
              <a:lnSpc>
                <a:spcPct val="100000"/>
              </a:lnSpc>
              <a:spcAft>
                <a:spcPts val="300"/>
              </a:spcAft>
              <a:buFont typeface="Arial" panose="020B0604020202020204" pitchFamily="34" charset="0"/>
              <a:buChar char="•"/>
            </a:pPr>
            <a:r>
              <a:rPr lang="de-DE" sz="1600">
                <a:cs typeface="Calibri Light"/>
              </a:rPr>
              <a:t>Aufbau von Mapping für diverse Migrationsobjekte</a:t>
            </a:r>
          </a:p>
          <a:p>
            <a:pPr marL="143510" indent="-143510">
              <a:lnSpc>
                <a:spcPct val="100000"/>
              </a:lnSpc>
              <a:spcAft>
                <a:spcPts val="300"/>
              </a:spcAft>
              <a:buFont typeface="Arial" panose="020B0604020202020204" pitchFamily="34" charset="0"/>
              <a:buChar char="•"/>
            </a:pPr>
            <a:r>
              <a:rPr lang="de-DE" sz="1600">
                <a:cs typeface="Calibri Light"/>
              </a:rPr>
              <a:t>Erstellung Testkonzept und Betriebshandbuch</a:t>
            </a:r>
          </a:p>
          <a:p>
            <a:pPr marL="143510" indent="-143510">
              <a:lnSpc>
                <a:spcPct val="100000"/>
              </a:lnSpc>
              <a:spcAft>
                <a:spcPts val="300"/>
              </a:spcAft>
              <a:buFont typeface="Arial" panose="020B0604020202020204" pitchFamily="34" charset="0"/>
              <a:buChar char="•"/>
            </a:pPr>
            <a:r>
              <a:rPr lang="de-DE" sz="1600">
                <a:cs typeface="Calibri Light"/>
              </a:rPr>
              <a:t>FI/CO-Customizing</a:t>
            </a:r>
          </a:p>
          <a:p>
            <a:pPr marL="143510" indent="-143510">
              <a:lnSpc>
                <a:spcPct val="100000"/>
              </a:lnSpc>
              <a:spcAft>
                <a:spcPts val="300"/>
              </a:spcAft>
              <a:buFont typeface="Arial" panose="020B0604020202020204" pitchFamily="34" charset="0"/>
              <a:buChar char="•"/>
            </a:pPr>
            <a:r>
              <a:rPr lang="de-DE" sz="1600">
                <a:cs typeface="Calibri Light"/>
              </a:rPr>
              <a:t>Unterstützung des Fachbereichs bei den Testmigrationen</a:t>
            </a:r>
            <a:br>
              <a:rPr lang="de-DE" sz="1600">
                <a:latin typeface="Aptos Light" panose="020B0004020202020204" pitchFamily="34" charset="0"/>
                <a:cs typeface="Calibri Light"/>
              </a:rPr>
            </a:br>
            <a:endParaRPr lang="de-DE" sz="1600" b="1">
              <a:latin typeface="Aptos Light" panose="020B0004020202020204" pitchFamily="34" charset="0"/>
              <a:cs typeface="Calibri Light"/>
            </a:endParaRPr>
          </a:p>
          <a:p>
            <a:pPr>
              <a:lnSpc>
                <a:spcPct val="100000"/>
              </a:lnSpc>
              <a:spcAft>
                <a:spcPts val="300"/>
              </a:spcAft>
            </a:pPr>
            <a:r>
              <a:rPr lang="de-DE" sz="1600">
                <a:latin typeface="Aptos Bold" panose="020B0004020202020204" pitchFamily="34" charset="0"/>
                <a:cs typeface="Calibri Light"/>
              </a:rPr>
              <a:t>Kundennutzen</a:t>
            </a:r>
          </a:p>
          <a:p>
            <a:pPr marL="143510" indent="-143510">
              <a:lnSpc>
                <a:spcPct val="100000"/>
              </a:lnSpc>
              <a:spcAft>
                <a:spcPts val="300"/>
              </a:spcAft>
              <a:buFont typeface="Arial" panose="020B0604020202020204" pitchFamily="34" charset="0"/>
              <a:buChar char="•"/>
            </a:pPr>
            <a:r>
              <a:rPr lang="de-DE" sz="1600">
                <a:cs typeface="Calibri Light"/>
              </a:rPr>
              <a:t>Analyse finanzieller Kenngrößen für eine bessere Steuerung </a:t>
            </a:r>
            <a:br>
              <a:rPr lang="de-DE" sz="1600">
                <a:cs typeface="Calibri Light"/>
              </a:rPr>
            </a:br>
            <a:r>
              <a:rPr lang="de-DE" sz="1600">
                <a:cs typeface="Calibri Light"/>
              </a:rPr>
              <a:t>von Geschäftsentscheidungen</a:t>
            </a:r>
            <a:endParaRPr lang="de-DE" sz="1600">
              <a:ea typeface="Calibri Light"/>
              <a:cs typeface="Calibri Light"/>
            </a:endParaRPr>
          </a:p>
          <a:p>
            <a:pPr marL="143510" indent="-143510">
              <a:lnSpc>
                <a:spcPct val="100000"/>
              </a:lnSpc>
              <a:spcAft>
                <a:spcPts val="300"/>
              </a:spcAft>
              <a:buFont typeface="Arial" panose="020B0604020202020204" pitchFamily="34" charset="0"/>
              <a:buChar char="•"/>
            </a:pPr>
            <a:r>
              <a:rPr lang="de-DE" sz="1600">
                <a:solidFill>
                  <a:srgbClr val="000000"/>
                </a:solidFill>
                <a:ea typeface="Calibri Light"/>
                <a:cs typeface="Calibri Light"/>
              </a:rPr>
              <a:t>Steigerung der Effizienz durch hochautomatisierte, datengestützte Finanzprozesse</a:t>
            </a:r>
            <a:endParaRPr lang="de-DE">
              <a:solidFill>
                <a:srgbClr val="000000"/>
              </a:solidFill>
              <a:ea typeface="Calibri"/>
              <a:cs typeface="Calibri"/>
            </a:endParaRPr>
          </a:p>
          <a:p>
            <a:pPr marL="143510" indent="-143510">
              <a:lnSpc>
                <a:spcPct val="100000"/>
              </a:lnSpc>
              <a:spcAft>
                <a:spcPts val="300"/>
              </a:spcAft>
              <a:buFont typeface="Arial" panose="020B0604020202020204" pitchFamily="34" charset="0"/>
              <a:buChar char="•"/>
            </a:pPr>
            <a:r>
              <a:rPr lang="de-DE" sz="1600">
                <a:cs typeface="Calibri Light"/>
              </a:rPr>
              <a:t>Senkung der Kosten für die Einhaltung gesetzlicher Vorschriften</a:t>
            </a:r>
          </a:p>
          <a:p>
            <a:pPr marL="143510" indent="-143510">
              <a:lnSpc>
                <a:spcPct val="100000"/>
              </a:lnSpc>
              <a:spcAft>
                <a:spcPts val="300"/>
              </a:spcAft>
              <a:buFont typeface="Arial" panose="020B0604020202020204" pitchFamily="34" charset="0"/>
              <a:buChar char="•"/>
            </a:pPr>
            <a:endParaRPr lang="de-DE" sz="1600">
              <a:latin typeface="Calibri Light"/>
              <a:ea typeface="Calibri Light"/>
              <a:cs typeface="Calibri Light"/>
            </a:endParaRPr>
          </a:p>
        </p:txBody>
      </p:sp>
      <p:pic>
        <p:nvPicPr>
          <p:cNvPr id="2" name="Grafik 1" descr="Ein Bild, das Schrift, Grafiken, Text, Logo enthält.&#10;&#10;Beschreibung automatisch generiert.">
            <a:extLst>
              <a:ext uri="{FF2B5EF4-FFF2-40B4-BE49-F238E27FC236}">
                <a16:creationId xmlns:a16="http://schemas.microsoft.com/office/drawing/2014/main" id="{78606B49-5E8F-4130-1208-312297C533A1}"/>
              </a:ext>
            </a:extLst>
          </p:cNvPr>
          <p:cNvPicPr>
            <a:picLocks noChangeAspect="1"/>
          </p:cNvPicPr>
          <p:nvPr/>
        </p:nvPicPr>
        <p:blipFill>
          <a:blip r:embed="rId6"/>
          <a:stretch>
            <a:fillRect/>
          </a:stretch>
        </p:blipFill>
        <p:spPr>
          <a:xfrm>
            <a:off x="10202917" y="5623746"/>
            <a:ext cx="1654121" cy="469079"/>
          </a:xfrm>
          <a:prstGeom prst="rect">
            <a:avLst/>
          </a:prstGeom>
        </p:spPr>
      </p:pic>
      <p:sp>
        <p:nvSpPr>
          <p:cNvPr id="3" name="Diagonal liegende Ecken des Rechtecks abrunden 2">
            <a:extLst>
              <a:ext uri="{FF2B5EF4-FFF2-40B4-BE49-F238E27FC236}">
                <a16:creationId xmlns:a16="http://schemas.microsoft.com/office/drawing/2014/main" id="{5C382282-E7CA-8BE2-9268-BFF54A7BA0B5}"/>
              </a:ext>
            </a:extLst>
          </p:cNvPr>
          <p:cNvSpPr/>
          <p:nvPr/>
        </p:nvSpPr>
        <p:spPr>
          <a:xfrm>
            <a:off x="6491287" y="1773238"/>
            <a:ext cx="5700713" cy="3553710"/>
          </a:xfrm>
          <a:prstGeom prst="round2DiagRect">
            <a:avLst>
              <a:gd name="adj1" fmla="val 0"/>
              <a:gd name="adj2" fmla="val 4822"/>
            </a:avLst>
          </a:prstGeom>
          <a:blipFill>
            <a:blip r:embed="rId7"/>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spTree>
    <p:extLst>
      <p:ext uri="{BB962C8B-B14F-4D97-AF65-F5344CB8AC3E}">
        <p14:creationId xmlns:p14="http://schemas.microsoft.com/office/powerpoint/2010/main" val="2792387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D73380BC-CE29-C0DF-E11F-5B0D2B42D2A0}"/>
              </a:ext>
            </a:extLst>
          </p:cNvPr>
          <p:cNvSpPr>
            <a:spLocks noGrp="1"/>
          </p:cNvSpPr>
          <p:nvPr>
            <p:ph type="body" sz="quarter" idx="12"/>
          </p:nvPr>
        </p:nvSpPr>
        <p:spPr/>
        <p:txBody>
          <a:bodyPr/>
          <a:lstStyle/>
          <a:p>
            <a:r>
              <a:rPr lang="de-DE"/>
              <a:t>Überzeugende Erfolgsgeschichten</a:t>
            </a:r>
          </a:p>
        </p:txBody>
      </p:sp>
      <p:sp>
        <p:nvSpPr>
          <p:cNvPr id="2" name="Titel 1">
            <a:extLst>
              <a:ext uri="{FF2B5EF4-FFF2-40B4-BE49-F238E27FC236}">
                <a16:creationId xmlns:a16="http://schemas.microsoft.com/office/drawing/2014/main" id="{56D625F5-5516-15D3-3785-FDBEB6409232}"/>
              </a:ext>
            </a:extLst>
          </p:cNvPr>
          <p:cNvSpPr>
            <a:spLocks noGrp="1"/>
          </p:cNvSpPr>
          <p:nvPr>
            <p:ph type="title"/>
          </p:nvPr>
        </p:nvSpPr>
        <p:spPr/>
        <p:txBody>
          <a:bodyPr/>
          <a:lstStyle/>
          <a:p>
            <a:r>
              <a:rPr lang="de-DE" dirty="0"/>
              <a:t>Intelligentes Heizen mit </a:t>
            </a:r>
            <a:r>
              <a:rPr lang="de-DE" b="1" dirty="0"/>
              <a:t>techem</a:t>
            </a:r>
            <a:r>
              <a:rPr lang="de-DE" dirty="0"/>
              <a:t>: The Cloud Way </a:t>
            </a:r>
            <a:r>
              <a:rPr lang="de-DE" dirty="0" err="1"/>
              <a:t>to</a:t>
            </a:r>
            <a:r>
              <a:rPr lang="de-DE" dirty="0"/>
              <a:t> </a:t>
            </a:r>
            <a:r>
              <a:rPr lang="de-DE" dirty="0" err="1"/>
              <a:t>Sustainability</a:t>
            </a:r>
            <a:br>
              <a:rPr lang="de-DE" dirty="0"/>
            </a:br>
            <a:endParaRPr lang="de-DE" dirty="0"/>
          </a:p>
        </p:txBody>
      </p:sp>
      <p:sp>
        <p:nvSpPr>
          <p:cNvPr id="15" name="Inhaltsplatzhalter 14">
            <a:extLst>
              <a:ext uri="{FF2B5EF4-FFF2-40B4-BE49-F238E27FC236}">
                <a16:creationId xmlns:a16="http://schemas.microsoft.com/office/drawing/2014/main" id="{8B0AC95D-154A-E335-83BE-7271E2B71331}"/>
              </a:ext>
            </a:extLst>
          </p:cNvPr>
          <p:cNvSpPr>
            <a:spLocks noGrp="1"/>
          </p:cNvSpPr>
          <p:nvPr>
            <p:ph idx="1"/>
          </p:nvPr>
        </p:nvSpPr>
        <p:spPr/>
        <p:txBody>
          <a:bodyPr/>
          <a:lstStyle/>
          <a:p>
            <a:r>
              <a:rPr lang="de-DE">
                <a:latin typeface="Aptos Bold" panose="020B0004020202020204" pitchFamily="34" charset="0"/>
              </a:rPr>
              <a:t>Projektziele</a:t>
            </a:r>
          </a:p>
          <a:p>
            <a:pPr lvl="1"/>
            <a:r>
              <a:rPr lang="de-DE"/>
              <a:t>Reduzierung von Energie- und Wasserverbräuchen  </a:t>
            </a:r>
          </a:p>
          <a:p>
            <a:pPr lvl="1"/>
            <a:r>
              <a:rPr lang="de-DE"/>
              <a:t>Erhöhung der Wohngesundheit </a:t>
            </a:r>
          </a:p>
          <a:p>
            <a:pPr lvl="1"/>
            <a:r>
              <a:rPr lang="de-DE"/>
              <a:t>Steigerung der Transparenz von Messdaten</a:t>
            </a:r>
          </a:p>
          <a:p>
            <a:endParaRPr lang="de-DE"/>
          </a:p>
          <a:p>
            <a:r>
              <a:rPr lang="de-DE">
                <a:latin typeface="Aptos Bold" panose="020B0004020202020204" pitchFamily="34" charset="0"/>
              </a:rPr>
              <a:t>Kundennutzen</a:t>
            </a:r>
          </a:p>
          <a:p>
            <a:pPr lvl="1"/>
            <a:r>
              <a:rPr lang="de-DE"/>
              <a:t>Erfassung von Messwerten aus Wohneinheiten</a:t>
            </a:r>
          </a:p>
          <a:p>
            <a:pPr lvl="1"/>
            <a:r>
              <a:rPr lang="de-DE"/>
              <a:t>Analyse der Werte in der Cloud</a:t>
            </a:r>
          </a:p>
          <a:p>
            <a:pPr lvl="1"/>
            <a:r>
              <a:rPr lang="de-DE"/>
              <a:t>Echtzeit-Erkennung von Störungen und Fehleinstellungen</a:t>
            </a:r>
          </a:p>
          <a:p>
            <a:pPr lvl="1"/>
            <a:r>
              <a:rPr lang="de-DE"/>
              <a:t>Automatisierte Behebung</a:t>
            </a:r>
          </a:p>
          <a:p>
            <a:pPr lvl="1"/>
            <a:r>
              <a:rPr lang="de-DE"/>
              <a:t>Einblick in Verbrauchsdaten</a:t>
            </a:r>
          </a:p>
          <a:p>
            <a:endParaRPr lang="de-DE"/>
          </a:p>
        </p:txBody>
      </p:sp>
      <p:sp>
        <p:nvSpPr>
          <p:cNvPr id="4" name="Fußzeilenplatzhalter 1">
            <a:extLst>
              <a:ext uri="{FF2B5EF4-FFF2-40B4-BE49-F238E27FC236}">
                <a16:creationId xmlns:a16="http://schemas.microsoft.com/office/drawing/2014/main" id="{E25704C8-00B6-FA17-2279-548065B8B1BC}"/>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6</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1953195" y="1846116"/>
            <a:ext cx="5256212" cy="4597547"/>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L="143510" indent="-143510">
              <a:lnSpc>
                <a:spcPct val="100000"/>
              </a:lnSpc>
              <a:spcAft>
                <a:spcPts val="300"/>
              </a:spcAft>
              <a:buFont typeface="Arial" panose="020B0604020202020204" pitchFamily="34" charset="0"/>
              <a:buChar char="•"/>
            </a:pPr>
            <a:endParaRPr lang="de-DE" sz="1600">
              <a:latin typeface="Calibri Light" panose="020F0302020204030204" pitchFamily="34" charset="0"/>
              <a:cs typeface="Calibri Light" panose="020F0302020204030204" pitchFamily="34" charset="0"/>
            </a:endParaRPr>
          </a:p>
        </p:txBody>
      </p:sp>
      <p:pic>
        <p:nvPicPr>
          <p:cNvPr id="12" name="Grafik 11" descr="Datei:Techem Logo neu.png – Wikipedia">
            <a:extLst>
              <a:ext uri="{FF2B5EF4-FFF2-40B4-BE49-F238E27FC236}">
                <a16:creationId xmlns:a16="http://schemas.microsoft.com/office/drawing/2014/main" id="{2F961FDD-E64C-28E7-B402-743BCD9AED17}"/>
              </a:ext>
            </a:extLst>
          </p:cNvPr>
          <p:cNvPicPr>
            <a:picLocks noChangeAspect="1"/>
          </p:cNvPicPr>
          <p:nvPr/>
        </p:nvPicPr>
        <p:blipFill rotWithShape="1">
          <a:blip r:embed="rId6"/>
          <a:srcRect t="26602" b="32102"/>
          <a:stretch/>
        </p:blipFill>
        <p:spPr>
          <a:xfrm>
            <a:off x="6254750" y="5441058"/>
            <a:ext cx="1909314" cy="788468"/>
          </a:xfrm>
          <a:prstGeom prst="rect">
            <a:avLst/>
          </a:prstGeom>
        </p:spPr>
      </p:pic>
      <p:pic>
        <p:nvPicPr>
          <p:cNvPr id="14" name="Grafik 13" descr="Ein Bild, das Muster, Grafiken, Pixel, Design enthält.&#10;&#10;Automatisch generierte Beschreibung">
            <a:extLst>
              <a:ext uri="{FF2B5EF4-FFF2-40B4-BE49-F238E27FC236}">
                <a16:creationId xmlns:a16="http://schemas.microsoft.com/office/drawing/2014/main" id="{0D1B3919-13E3-E929-19B3-132064A0CFF4}"/>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295531" y="5544519"/>
            <a:ext cx="603318" cy="603318"/>
          </a:xfrm>
          <a:prstGeom prst="rect">
            <a:avLst/>
          </a:prstGeom>
        </p:spPr>
      </p:pic>
      <p:sp>
        <p:nvSpPr>
          <p:cNvPr id="3" name="Diagonal liegende Ecken des Rechtecks abrunden 2">
            <a:extLst>
              <a:ext uri="{FF2B5EF4-FFF2-40B4-BE49-F238E27FC236}">
                <a16:creationId xmlns:a16="http://schemas.microsoft.com/office/drawing/2014/main" id="{062B7D7B-DE7A-E160-1CCE-3D8ADF0EC0B9}"/>
              </a:ext>
            </a:extLst>
          </p:cNvPr>
          <p:cNvSpPr/>
          <p:nvPr/>
        </p:nvSpPr>
        <p:spPr>
          <a:xfrm>
            <a:off x="6491287" y="1773239"/>
            <a:ext cx="5700713" cy="3553710"/>
          </a:xfrm>
          <a:prstGeom prst="round2DiagRect">
            <a:avLst>
              <a:gd name="adj1" fmla="val 0"/>
              <a:gd name="adj2" fmla="val 4822"/>
            </a:avLst>
          </a:prstGeom>
          <a:blipFill>
            <a:blip r:embed="rId8"/>
            <a:stretch>
              <a:fillRect r="-1027" b="-1027"/>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spTree>
    <p:extLst>
      <p:ext uri="{BB962C8B-B14F-4D97-AF65-F5344CB8AC3E}">
        <p14:creationId xmlns:p14="http://schemas.microsoft.com/office/powerpoint/2010/main" val="412285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4B9167-AF3C-9747-0EF8-B3B552AB513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CEF46F1-6103-64ED-4A51-FABB51F4A1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2CEF46F1-6103-64ED-4A51-FABB51F4A1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B96B8F59-0A63-CC86-BAE5-0F9DFF553236}"/>
              </a:ext>
            </a:extLst>
          </p:cNvPr>
          <p:cNvSpPr>
            <a:spLocks noGrp="1"/>
          </p:cNvSpPr>
          <p:nvPr>
            <p:ph type="body" sz="quarter" idx="12"/>
          </p:nvPr>
        </p:nvSpPr>
        <p:spPr/>
        <p:txBody>
          <a:bodyPr/>
          <a:lstStyle/>
          <a:p>
            <a:r>
              <a:rPr lang="de-DE"/>
              <a:t>Überzeugende Erfolgsgeschichten</a:t>
            </a:r>
          </a:p>
        </p:txBody>
      </p:sp>
      <p:sp>
        <p:nvSpPr>
          <p:cNvPr id="3" name="Titel 2">
            <a:extLst>
              <a:ext uri="{FF2B5EF4-FFF2-40B4-BE49-F238E27FC236}">
                <a16:creationId xmlns:a16="http://schemas.microsoft.com/office/drawing/2014/main" id="{5B525013-0848-93D8-DF81-B6F4F04F3CA7}"/>
              </a:ext>
            </a:extLst>
          </p:cNvPr>
          <p:cNvSpPr>
            <a:spLocks noGrp="1"/>
          </p:cNvSpPr>
          <p:nvPr>
            <p:ph type="title"/>
          </p:nvPr>
        </p:nvSpPr>
        <p:spPr/>
        <p:txBody>
          <a:bodyPr/>
          <a:lstStyle/>
          <a:p>
            <a:r>
              <a:rPr lang="de-DE" dirty="0"/>
              <a:t>Innovationen auf Kölns Straßen: </a:t>
            </a:r>
            <a:br>
              <a:rPr lang="de-DE" dirty="0"/>
            </a:br>
            <a:r>
              <a:rPr lang="de-DE" dirty="0"/>
              <a:t>Smart Fleet – ein Pilotprojekt mit </a:t>
            </a:r>
            <a:r>
              <a:rPr lang="de-DE" b="1" dirty="0"/>
              <a:t>Abfallwirtschaftsbetriebe Köln</a:t>
            </a:r>
          </a:p>
        </p:txBody>
      </p:sp>
      <p:sp>
        <p:nvSpPr>
          <p:cNvPr id="5" name="Inhaltsplatzhalter 4">
            <a:extLst>
              <a:ext uri="{FF2B5EF4-FFF2-40B4-BE49-F238E27FC236}">
                <a16:creationId xmlns:a16="http://schemas.microsoft.com/office/drawing/2014/main" id="{ACD34691-E80E-4820-1209-F9ACA304FD72}"/>
              </a:ext>
            </a:extLst>
          </p:cNvPr>
          <p:cNvSpPr>
            <a:spLocks noGrp="1"/>
          </p:cNvSpPr>
          <p:nvPr>
            <p:ph idx="1"/>
          </p:nvPr>
        </p:nvSpPr>
        <p:spPr>
          <a:xfrm>
            <a:off x="623888" y="1773239"/>
            <a:ext cx="5700713" cy="4319586"/>
          </a:xfrm>
        </p:spPr>
        <p:txBody>
          <a:bodyPr/>
          <a:lstStyle/>
          <a:p>
            <a:r>
              <a:rPr lang="de-DE">
                <a:latin typeface="Aptos Bold" panose="020B0004020202020204" pitchFamily="34" charset="0"/>
              </a:rPr>
              <a:t>Projektziele</a:t>
            </a:r>
          </a:p>
          <a:p>
            <a:pPr lvl="1"/>
            <a:r>
              <a:rPr lang="de-DE"/>
              <a:t>Digitale Erfassung von Meldedaten für die Straßeninstandhaltung</a:t>
            </a:r>
          </a:p>
          <a:p>
            <a:pPr lvl="1"/>
            <a:r>
              <a:rPr lang="de-DE"/>
              <a:t>Automatisierte Erkennung von Straßenschäden</a:t>
            </a:r>
          </a:p>
          <a:p>
            <a:pPr lvl="1"/>
            <a:r>
              <a:rPr lang="de-DE"/>
              <a:t>Einsatz von Künstlicher Intelligenz und </a:t>
            </a:r>
            <a:r>
              <a:rPr lang="de-DE" err="1"/>
              <a:t>Machine</a:t>
            </a:r>
            <a:r>
              <a:rPr lang="de-DE"/>
              <a:t> Learning</a:t>
            </a:r>
          </a:p>
          <a:p>
            <a:endParaRPr lang="de-DE"/>
          </a:p>
          <a:p>
            <a:r>
              <a:rPr lang="de-DE" b="1">
                <a:latin typeface="Aptos Bold" panose="020B0004020202020204" pitchFamily="34" charset="0"/>
              </a:rPr>
              <a:t>Kundennutzen</a:t>
            </a:r>
          </a:p>
          <a:p>
            <a:pPr lvl="1"/>
            <a:r>
              <a:rPr lang="de-DE"/>
              <a:t>Erhöhung der Kundenzufriedenheit</a:t>
            </a:r>
          </a:p>
          <a:p>
            <a:pPr lvl="1"/>
            <a:r>
              <a:rPr lang="de-DE"/>
              <a:t>Steigerung der Effizienz durch Wegfall von manuellen Tätigkeiten</a:t>
            </a:r>
          </a:p>
          <a:p>
            <a:pPr lvl="1"/>
            <a:r>
              <a:rPr lang="de-DE"/>
              <a:t>Automatisierung</a:t>
            </a:r>
          </a:p>
        </p:txBody>
      </p:sp>
      <p:sp>
        <p:nvSpPr>
          <p:cNvPr id="6" name="Fußzeilenplatzhalter 1">
            <a:extLst>
              <a:ext uri="{FF2B5EF4-FFF2-40B4-BE49-F238E27FC236}">
                <a16:creationId xmlns:a16="http://schemas.microsoft.com/office/drawing/2014/main" id="{70AF1F3C-6BA2-DF41-407B-FB7B92CF873F}"/>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5C149257-6554-552E-1271-55240C4CDA5D}"/>
              </a:ext>
            </a:extLst>
          </p:cNvPr>
          <p:cNvSpPr>
            <a:spLocks noGrp="1"/>
          </p:cNvSpPr>
          <p:nvPr>
            <p:ph type="sldNum" sz="quarter" idx="11"/>
          </p:nvPr>
        </p:nvSpPr>
        <p:spPr/>
        <p:txBody>
          <a:bodyPr anchor="b" anchorCtr="0"/>
          <a:lstStyle/>
          <a:p>
            <a:fld id="{B27B0579-4238-4E44-9A9E-134B676F827C}" type="slidenum">
              <a:rPr lang="de-DE" smtClean="0"/>
              <a:pPr/>
              <a:t>27</a:t>
            </a:fld>
            <a:endParaRPr lang="de-DE"/>
          </a:p>
        </p:txBody>
      </p:sp>
      <p:sp>
        <p:nvSpPr>
          <p:cNvPr id="39" name="Textplatzhalter 14">
            <a:extLst>
              <a:ext uri="{FF2B5EF4-FFF2-40B4-BE49-F238E27FC236}">
                <a16:creationId xmlns:a16="http://schemas.microsoft.com/office/drawing/2014/main" id="{F5468F74-62E3-192A-FA18-1ADF1E182C84}"/>
              </a:ext>
            </a:extLst>
          </p:cNvPr>
          <p:cNvSpPr txBox="1">
            <a:spLocks/>
          </p:cNvSpPr>
          <p:nvPr/>
        </p:nvSpPr>
        <p:spPr>
          <a:xfrm>
            <a:off x="1935473" y="2227132"/>
            <a:ext cx="5256212" cy="4597547"/>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pPr>
            <a:endParaRPr lang="de-DE" sz="1600">
              <a:latin typeface="Aptos" panose="020B0004020202020204" pitchFamily="34" charset="0"/>
              <a:cs typeface="Calibri"/>
            </a:endParaRPr>
          </a:p>
        </p:txBody>
      </p:sp>
      <p:pic>
        <p:nvPicPr>
          <p:cNvPr id="2" name="Grafik 1" descr="AWB Abfallwirtschaftsbetriebe Köln GmbH">
            <a:extLst>
              <a:ext uri="{FF2B5EF4-FFF2-40B4-BE49-F238E27FC236}">
                <a16:creationId xmlns:a16="http://schemas.microsoft.com/office/drawing/2014/main" id="{BE6AA373-58ED-E994-3D36-3BCA8D6CFCD6}"/>
              </a:ext>
            </a:extLst>
          </p:cNvPr>
          <p:cNvPicPr>
            <a:picLocks noChangeAspect="1"/>
          </p:cNvPicPr>
          <p:nvPr/>
        </p:nvPicPr>
        <p:blipFill>
          <a:blip r:embed="rId6"/>
          <a:stretch>
            <a:fillRect/>
          </a:stretch>
        </p:blipFill>
        <p:spPr>
          <a:xfrm>
            <a:off x="6486063" y="5683195"/>
            <a:ext cx="1411244" cy="420236"/>
          </a:xfrm>
          <a:prstGeom prst="rect">
            <a:avLst/>
          </a:prstGeom>
        </p:spPr>
      </p:pic>
      <p:pic>
        <p:nvPicPr>
          <p:cNvPr id="8" name="Grafik 7">
            <a:extLst>
              <a:ext uri="{FF2B5EF4-FFF2-40B4-BE49-F238E27FC236}">
                <a16:creationId xmlns:a16="http://schemas.microsoft.com/office/drawing/2014/main" id="{A61C82F6-393C-4C4D-1651-E7F66039B906}"/>
              </a:ext>
            </a:extLst>
          </p:cNvPr>
          <p:cNvPicPr>
            <a:picLocks noChangeAspect="1"/>
          </p:cNvPicPr>
          <p:nvPr/>
        </p:nvPicPr>
        <p:blipFill>
          <a:blip r:embed="rId7" cstate="screen">
            <a:extLst>
              <a:ext uri="{28A0092B-C50C-407E-A947-70E740481C1C}">
                <a14:useLocalDpi xmlns:a14="http://schemas.microsoft.com/office/drawing/2010/main" val="0"/>
              </a:ext>
            </a:extLst>
          </a:blip>
          <a:srcRect/>
          <a:stretch/>
        </p:blipFill>
        <p:spPr>
          <a:xfrm>
            <a:off x="11304872" y="5547524"/>
            <a:ext cx="603318" cy="603318"/>
          </a:xfrm>
          <a:prstGeom prst="rect">
            <a:avLst/>
          </a:prstGeom>
        </p:spPr>
      </p:pic>
      <p:sp>
        <p:nvSpPr>
          <p:cNvPr id="4" name="Diagonal liegende Ecken des Rechtecks abrunden 3">
            <a:extLst>
              <a:ext uri="{FF2B5EF4-FFF2-40B4-BE49-F238E27FC236}">
                <a16:creationId xmlns:a16="http://schemas.microsoft.com/office/drawing/2014/main" id="{954F9903-76B7-7D41-8DA7-C8455117B1DC}"/>
              </a:ext>
            </a:extLst>
          </p:cNvPr>
          <p:cNvSpPr/>
          <p:nvPr/>
        </p:nvSpPr>
        <p:spPr>
          <a:xfrm>
            <a:off x="6491287" y="1778647"/>
            <a:ext cx="5700713" cy="3553710"/>
          </a:xfrm>
          <a:prstGeom prst="round2DiagRect">
            <a:avLst>
              <a:gd name="adj1" fmla="val 0"/>
              <a:gd name="adj2" fmla="val 4822"/>
            </a:avLst>
          </a:prstGeom>
          <a:blipFill>
            <a:blip r:embed="rId8"/>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spTree>
    <p:extLst>
      <p:ext uri="{BB962C8B-B14F-4D97-AF65-F5344CB8AC3E}">
        <p14:creationId xmlns:p14="http://schemas.microsoft.com/office/powerpoint/2010/main" val="206594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Grafik 93">
            <a:extLst>
              <a:ext uri="{FF2B5EF4-FFF2-40B4-BE49-F238E27FC236}">
                <a16:creationId xmlns:a16="http://schemas.microsoft.com/office/drawing/2014/main" id="{8F0B25F1-F7E3-58B9-6B8B-7EBEC7E86A4B}"/>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p:blipFill>
        <p:spPr>
          <a:xfrm>
            <a:off x="0" y="-5708"/>
            <a:ext cx="12192000" cy="6863708"/>
          </a:xfrm>
          <a:prstGeom prst="rect">
            <a:avLst/>
          </a:prstGeom>
        </p:spPr>
      </p:pic>
      <p:sp>
        <p:nvSpPr>
          <p:cNvPr id="5" name="Rechteck 4">
            <a:extLst>
              <a:ext uri="{FF2B5EF4-FFF2-40B4-BE49-F238E27FC236}">
                <a16:creationId xmlns:a16="http://schemas.microsoft.com/office/drawing/2014/main" id="{D1B6C24B-A8C3-AC9E-3872-8AE9DCCD65B7}"/>
              </a:ext>
            </a:extLst>
          </p:cNvPr>
          <p:cNvSpPr/>
          <p:nvPr/>
        </p:nvSpPr>
        <p:spPr>
          <a:xfrm rot="10800000">
            <a:off x="-17419" y="0"/>
            <a:ext cx="12192000" cy="3374571"/>
          </a:xfrm>
          <a:prstGeom prst="rect">
            <a:avLst/>
          </a:prstGeom>
          <a:gradFill flip="none" rotWithShape="1">
            <a:gsLst>
              <a:gs pos="0">
                <a:schemeClr val="tx1">
                  <a:alpha val="23442"/>
                </a:schemeClr>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Fußzeilenplatzhalter 1">
            <a:extLst>
              <a:ext uri="{FF2B5EF4-FFF2-40B4-BE49-F238E27FC236}">
                <a16:creationId xmlns:a16="http://schemas.microsoft.com/office/drawing/2014/main" id="{ADE1D9E5-6AD4-13C0-6478-C07CCC844C6A}"/>
              </a:ext>
            </a:extLst>
          </p:cNvPr>
          <p:cNvSpPr>
            <a:spLocks noGrp="1"/>
          </p:cNvSpPr>
          <p:nvPr>
            <p:ph type="ftr" sz="quarter" idx="10"/>
          </p:nvPr>
        </p:nvSpPr>
        <p:spPr/>
        <p:txBody>
          <a:bodyPr/>
          <a:lstStyle/>
          <a:p>
            <a:r>
              <a:rPr lang="de-DE">
                <a:solidFill>
                  <a:schemeClr val="bg1"/>
                </a:solidFill>
              </a:rPr>
              <a:t>© msg systems ag | 2026 | msg-Unternehmenspräsentation</a:t>
            </a: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p:txBody>
          <a:bodyPr/>
          <a:lstStyle/>
          <a:p>
            <a:fld id="{B27B0579-4238-4E44-9A9E-134B676F827C}" type="slidenum">
              <a:rPr lang="de-DE" smtClean="0">
                <a:solidFill>
                  <a:schemeClr val="bg1"/>
                </a:solidFill>
              </a:rPr>
              <a:pPr/>
              <a:t>28</a:t>
            </a:fld>
            <a:endParaRPr lang="de-DE">
              <a:solidFill>
                <a:schemeClr val="bg1"/>
              </a:solidFill>
            </a:endParaRPr>
          </a:p>
        </p:txBody>
      </p:sp>
      <p:sp>
        <p:nvSpPr>
          <p:cNvPr id="14" name="Diagonal liegende Ecken des Rechtecks abrunden 13">
            <a:extLst>
              <a:ext uri="{FF2B5EF4-FFF2-40B4-BE49-F238E27FC236}">
                <a16:creationId xmlns:a16="http://schemas.microsoft.com/office/drawing/2014/main" id="{874D8D50-03DB-AD63-8B46-FB0FCDCCDCD9}"/>
              </a:ext>
            </a:extLst>
          </p:cNvPr>
          <p:cNvSpPr/>
          <p:nvPr/>
        </p:nvSpPr>
        <p:spPr>
          <a:xfrm flipV="1">
            <a:off x="623888" y="4149052"/>
            <a:ext cx="7690246"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15" name="Titel 1">
            <a:extLst>
              <a:ext uri="{FF2B5EF4-FFF2-40B4-BE49-F238E27FC236}">
                <a16:creationId xmlns:a16="http://schemas.microsoft.com/office/drawing/2014/main" id="{ECEFB3EF-5340-A710-83FC-FCD5D7B0AF05}"/>
              </a:ext>
            </a:extLst>
          </p:cNvPr>
          <p:cNvSpPr txBox="1">
            <a:spLocks/>
          </p:cNvSpPr>
          <p:nvPr/>
        </p:nvSpPr>
        <p:spPr>
          <a:xfrm>
            <a:off x="1239311" y="4884057"/>
            <a:ext cx="7065374"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a:solidFill>
                  <a:schemeClr val="tx1"/>
                </a:solidFill>
                <a:latin typeface="+mn-lt"/>
              </a:rPr>
              <a:t>Unsere Stärken, Ihre Vorteile</a:t>
            </a:r>
          </a:p>
        </p:txBody>
      </p:sp>
      <p:sp>
        <p:nvSpPr>
          <p:cNvPr id="16" name="Untertitel 2">
            <a:extLst>
              <a:ext uri="{FF2B5EF4-FFF2-40B4-BE49-F238E27FC236}">
                <a16:creationId xmlns:a16="http://schemas.microsoft.com/office/drawing/2014/main" id="{2215A506-5AEF-8C21-1BD7-5AB0B7C43CC0}"/>
              </a:ext>
            </a:extLst>
          </p:cNvPr>
          <p:cNvSpPr txBox="1">
            <a:spLocks/>
          </p:cNvSpPr>
          <p:nvPr/>
        </p:nvSpPr>
        <p:spPr>
          <a:xfrm>
            <a:off x="1266180" y="4492697"/>
            <a:ext cx="7065374"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a:ln>
                  <a:noFill/>
                </a:ln>
                <a:effectLst/>
                <a:uLnTx/>
                <a:uFillTx/>
                <a:cs typeface="Calibri Light"/>
              </a:rPr>
              <a:t>Leistungsversprechen</a:t>
            </a:r>
          </a:p>
        </p:txBody>
      </p:sp>
      <p:sp>
        <p:nvSpPr>
          <p:cNvPr id="17" name="Ellipse 13">
            <a:extLst>
              <a:ext uri="{FF2B5EF4-FFF2-40B4-BE49-F238E27FC236}">
                <a16:creationId xmlns:a16="http://schemas.microsoft.com/office/drawing/2014/main" id="{CFD8A534-0637-653C-B53A-4008B7496B64}"/>
              </a:ext>
            </a:extLst>
          </p:cNvPr>
          <p:cNvSpPr/>
          <p:nvPr/>
        </p:nvSpPr>
        <p:spPr>
          <a:xfrm>
            <a:off x="790713" y="4463503"/>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4</a:t>
            </a:r>
          </a:p>
        </p:txBody>
      </p:sp>
      <p:pic>
        <p:nvPicPr>
          <p:cNvPr id="6" name="Grafik 5">
            <a:extLst>
              <a:ext uri="{FF2B5EF4-FFF2-40B4-BE49-F238E27FC236}">
                <a16:creationId xmlns:a16="http://schemas.microsoft.com/office/drawing/2014/main" id="{3A9D3107-A7E0-95E9-AEE2-85EC7D98B47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194600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platzhalter 14">
            <a:extLst>
              <a:ext uri="{FF2B5EF4-FFF2-40B4-BE49-F238E27FC236}">
                <a16:creationId xmlns:a16="http://schemas.microsoft.com/office/drawing/2014/main" id="{14A8D353-2C37-5565-EF79-770056596EC0}"/>
              </a:ext>
            </a:extLst>
          </p:cNvPr>
          <p:cNvSpPr txBox="1">
            <a:spLocks/>
          </p:cNvSpPr>
          <p:nvPr/>
        </p:nvSpPr>
        <p:spPr>
          <a:xfrm>
            <a:off x="6537994" y="3940249"/>
            <a:ext cx="5355935" cy="1795647"/>
          </a:xfrm>
          <a:prstGeom prst="rect">
            <a:avLst/>
          </a:prstGeom>
        </p:spPr>
        <p:txBody>
          <a:bodyPr wrap="square" lIns="0" tIns="0" rIns="0" bIns="0" numCol="4" spcCol="180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buClr>
                <a:srgbClr val="A01441"/>
              </a:buClr>
              <a:defRPr/>
            </a:pPr>
            <a:r>
              <a:rPr lang="de-DE" sz="1300" dirty="0" err="1">
                <a:cs typeface="Calibri Light"/>
              </a:rPr>
              <a:t>Achmea</a:t>
            </a:r>
            <a:endParaRPr lang="de-DE" sz="1300" dirty="0">
              <a:cs typeface="Calibri Light"/>
            </a:endParaRPr>
          </a:p>
          <a:p>
            <a:pPr>
              <a:lnSpc>
                <a:spcPct val="100000"/>
              </a:lnSpc>
              <a:spcAft>
                <a:spcPts val="300"/>
              </a:spcAft>
              <a:buClr>
                <a:srgbClr val="A01441"/>
              </a:buClr>
              <a:defRPr/>
            </a:pPr>
            <a:r>
              <a:rPr lang="en-GB" sz="1300" dirty="0">
                <a:cs typeface="Calibri Light"/>
              </a:rPr>
              <a:t>ADAC</a:t>
            </a:r>
          </a:p>
          <a:p>
            <a:pPr>
              <a:lnSpc>
                <a:spcPct val="100000"/>
              </a:lnSpc>
              <a:spcAft>
                <a:spcPts val="300"/>
              </a:spcAft>
              <a:buClr>
                <a:srgbClr val="A01441"/>
              </a:buClr>
              <a:defRPr/>
            </a:pPr>
            <a:r>
              <a:rPr lang="en-GB" sz="1300" dirty="0">
                <a:cs typeface="Calibri Light"/>
              </a:rPr>
              <a:t>Canada Life</a:t>
            </a:r>
            <a:endParaRPr lang="de-DE" sz="1300" dirty="0">
              <a:cs typeface="Calibri Light"/>
            </a:endParaRPr>
          </a:p>
          <a:p>
            <a:pPr>
              <a:lnSpc>
                <a:spcPct val="100000"/>
              </a:lnSpc>
              <a:spcAft>
                <a:spcPts val="300"/>
              </a:spcAft>
              <a:buClr>
                <a:srgbClr val="A01441"/>
              </a:buClr>
              <a:defRPr/>
            </a:pPr>
            <a:r>
              <a:rPr lang="en-GB" sz="1300" dirty="0">
                <a:cs typeface="Calibri Light"/>
              </a:rPr>
              <a:t>AIG</a:t>
            </a:r>
            <a:endParaRPr lang="de-DE" sz="1300" dirty="0">
              <a:cs typeface="Calibri Light"/>
            </a:endParaRPr>
          </a:p>
          <a:p>
            <a:pPr>
              <a:lnSpc>
                <a:spcPct val="100000"/>
              </a:lnSpc>
              <a:spcAft>
                <a:spcPts val="300"/>
              </a:spcAft>
              <a:buClr>
                <a:srgbClr val="A01441"/>
              </a:buClr>
              <a:defRPr/>
            </a:pPr>
            <a:r>
              <a:rPr lang="en-GB" sz="1300" dirty="0">
                <a:cs typeface="Calibri Light"/>
              </a:rPr>
              <a:t>Allianz</a:t>
            </a:r>
            <a:endParaRPr lang="de-DE" sz="1300" dirty="0">
              <a:cs typeface="Calibri Light"/>
            </a:endParaRPr>
          </a:p>
          <a:p>
            <a:pPr>
              <a:lnSpc>
                <a:spcPct val="100000"/>
              </a:lnSpc>
              <a:spcAft>
                <a:spcPts val="300"/>
              </a:spcAft>
              <a:buClr>
                <a:srgbClr val="A01441"/>
              </a:buClr>
              <a:defRPr/>
            </a:pPr>
            <a:r>
              <a:rPr lang="en-GB" sz="1300" dirty="0">
                <a:cs typeface="Calibri Light"/>
              </a:rPr>
              <a:t>AOK Systems</a:t>
            </a:r>
            <a:endParaRPr lang="de-DE" sz="1300" dirty="0">
              <a:cs typeface="Calibri Light"/>
            </a:endParaRPr>
          </a:p>
          <a:p>
            <a:pPr>
              <a:lnSpc>
                <a:spcPct val="100000"/>
              </a:lnSpc>
              <a:spcAft>
                <a:spcPts val="300"/>
              </a:spcAft>
              <a:buClr>
                <a:srgbClr val="A01441"/>
              </a:buClr>
              <a:defRPr/>
            </a:pPr>
            <a:r>
              <a:rPr lang="en-GB" sz="1300" dirty="0">
                <a:cs typeface="Calibri Light"/>
              </a:rPr>
              <a:t>AXA</a:t>
            </a:r>
            <a:endParaRPr lang="de-DE"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r>
              <a:rPr lang="en-GB" sz="1300" dirty="0">
                <a:cs typeface="Calibri Light"/>
              </a:rPr>
              <a:t>Concordia</a:t>
            </a:r>
            <a:endParaRPr lang="de-DE" sz="1300" dirty="0">
              <a:cs typeface="Calibri Light"/>
            </a:endParaRPr>
          </a:p>
          <a:p>
            <a:pPr>
              <a:lnSpc>
                <a:spcPct val="100000"/>
              </a:lnSpc>
              <a:spcAft>
                <a:spcPts val="300"/>
              </a:spcAft>
              <a:buClr>
                <a:srgbClr val="A01441"/>
              </a:buClr>
              <a:defRPr/>
            </a:pPr>
            <a:r>
              <a:rPr lang="en-GB" sz="1300" dirty="0">
                <a:cs typeface="Calibri Light"/>
              </a:rPr>
              <a:t>DEVK</a:t>
            </a:r>
            <a:endParaRPr lang="de-DE" sz="1300" dirty="0">
              <a:cs typeface="Calibri Light"/>
            </a:endParaRPr>
          </a:p>
          <a:p>
            <a:pPr>
              <a:lnSpc>
                <a:spcPct val="100000"/>
              </a:lnSpc>
              <a:spcAft>
                <a:spcPts val="300"/>
              </a:spcAft>
              <a:buClr>
                <a:srgbClr val="A01441"/>
              </a:buClr>
              <a:defRPr/>
            </a:pPr>
            <a:r>
              <a:rPr lang="en-GB" sz="1300" dirty="0">
                <a:cs typeface="Calibri Light"/>
              </a:rPr>
              <a:t>ERGO</a:t>
            </a:r>
            <a:endParaRPr lang="de-DE" sz="1300" dirty="0">
              <a:cs typeface="Calibri Light"/>
            </a:endParaRPr>
          </a:p>
          <a:p>
            <a:pPr>
              <a:lnSpc>
                <a:spcPct val="100000"/>
              </a:lnSpc>
              <a:spcAft>
                <a:spcPts val="300"/>
              </a:spcAft>
              <a:buClr>
                <a:srgbClr val="A01441"/>
              </a:buClr>
              <a:defRPr/>
            </a:pPr>
            <a:r>
              <a:rPr lang="en-GB" sz="1300" dirty="0">
                <a:cs typeface="Calibri Light"/>
              </a:rPr>
              <a:t>Gen Re</a:t>
            </a:r>
            <a:endParaRPr lang="de-DE" sz="1300" dirty="0">
              <a:cs typeface="Calibri Light"/>
            </a:endParaRPr>
          </a:p>
          <a:p>
            <a:pPr>
              <a:lnSpc>
                <a:spcPct val="100000"/>
              </a:lnSpc>
              <a:spcAft>
                <a:spcPts val="300"/>
              </a:spcAft>
              <a:buClr>
                <a:srgbClr val="A01441"/>
              </a:buClr>
              <a:defRPr/>
            </a:pPr>
            <a:r>
              <a:rPr lang="en-GB" sz="1300" dirty="0">
                <a:cs typeface="Calibri Light"/>
              </a:rPr>
              <a:t>Generali</a:t>
            </a:r>
            <a:endParaRPr lang="de-DE" sz="1300" dirty="0">
              <a:cs typeface="Calibri Light"/>
            </a:endParaRPr>
          </a:p>
          <a:p>
            <a:pPr>
              <a:lnSpc>
                <a:spcPct val="100000"/>
              </a:lnSpc>
              <a:spcAft>
                <a:spcPts val="300"/>
              </a:spcAft>
              <a:buClr>
                <a:srgbClr val="A01441"/>
              </a:buClr>
              <a:defRPr/>
            </a:pPr>
            <a:r>
              <a:rPr lang="en-GB" sz="1300" dirty="0" err="1">
                <a:cs typeface="Calibri Light"/>
              </a:rPr>
              <a:t>Gothaer</a:t>
            </a:r>
            <a:endParaRPr lang="de-DE" sz="1300" dirty="0">
              <a:cs typeface="Calibri Light"/>
            </a:endParaRPr>
          </a:p>
          <a:p>
            <a:pPr>
              <a:lnSpc>
                <a:spcPct val="100000"/>
              </a:lnSpc>
              <a:spcAft>
                <a:spcPts val="300"/>
              </a:spcAft>
              <a:buClr>
                <a:srgbClr val="A01441"/>
              </a:buClr>
              <a:defRPr/>
            </a:pPr>
            <a:r>
              <a:rPr lang="en-GB" sz="1300" dirty="0">
                <a:cs typeface="Calibri Light"/>
              </a:rPr>
              <a:t>HUK-COBURG</a:t>
            </a: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r>
              <a:rPr lang="en-GB" sz="1300" dirty="0">
                <a:cs typeface="Calibri Light"/>
              </a:rPr>
              <a:t>MSIG</a:t>
            </a:r>
            <a:endParaRPr lang="de-DE" sz="1300" dirty="0">
              <a:cs typeface="Calibri Light"/>
            </a:endParaRPr>
          </a:p>
          <a:p>
            <a:pPr>
              <a:lnSpc>
                <a:spcPct val="100000"/>
              </a:lnSpc>
              <a:spcAft>
                <a:spcPts val="300"/>
              </a:spcAft>
              <a:buClr>
                <a:srgbClr val="A01441"/>
              </a:buClr>
              <a:defRPr/>
            </a:pPr>
            <a:r>
              <a:rPr lang="en-GB" sz="1300" dirty="0">
                <a:cs typeface="Calibri Light"/>
              </a:rPr>
              <a:t>Munich Re</a:t>
            </a:r>
            <a:endParaRPr lang="de-DE" sz="1300" dirty="0">
              <a:cs typeface="Calibri Light"/>
            </a:endParaRPr>
          </a:p>
          <a:p>
            <a:pPr>
              <a:lnSpc>
                <a:spcPct val="100000"/>
              </a:lnSpc>
              <a:spcAft>
                <a:spcPts val="300"/>
              </a:spcAft>
              <a:buClr>
                <a:srgbClr val="A01441"/>
              </a:buClr>
              <a:defRPr/>
            </a:pPr>
            <a:r>
              <a:rPr lang="en-GB" sz="1300" dirty="0">
                <a:cs typeface="Calibri Light"/>
              </a:rPr>
              <a:t>Pacific Life Re</a:t>
            </a:r>
          </a:p>
          <a:p>
            <a:pPr>
              <a:lnSpc>
                <a:spcPct val="100000"/>
              </a:lnSpc>
              <a:spcAft>
                <a:spcPts val="300"/>
              </a:spcAft>
              <a:buClr>
                <a:srgbClr val="A01441"/>
              </a:buClr>
              <a:defRPr/>
            </a:pPr>
            <a:r>
              <a:rPr lang="en-GB" sz="1300" dirty="0">
                <a:cs typeface="Calibri Light"/>
              </a:rPr>
              <a:t>Provinzial</a:t>
            </a:r>
            <a:endParaRPr lang="de-DE" sz="1300" dirty="0">
              <a:cs typeface="Calibri Light"/>
            </a:endParaRPr>
          </a:p>
          <a:p>
            <a:pPr>
              <a:lnSpc>
                <a:spcPct val="100000"/>
              </a:lnSpc>
              <a:spcAft>
                <a:spcPts val="300"/>
              </a:spcAft>
              <a:buClr>
                <a:srgbClr val="A01441"/>
              </a:buClr>
              <a:defRPr/>
            </a:pPr>
            <a:r>
              <a:rPr lang="en-GB" sz="1300" dirty="0">
                <a:cs typeface="Calibri Light"/>
              </a:rPr>
              <a:t>R+V</a:t>
            </a:r>
            <a:endParaRPr lang="de-DE" sz="1300" dirty="0">
              <a:cs typeface="Calibri Light"/>
            </a:endParaRPr>
          </a:p>
          <a:p>
            <a:pPr>
              <a:lnSpc>
                <a:spcPct val="100000"/>
              </a:lnSpc>
              <a:spcAft>
                <a:spcPts val="300"/>
              </a:spcAft>
              <a:buClr>
                <a:srgbClr val="A01441"/>
              </a:buClr>
              <a:defRPr/>
            </a:pPr>
            <a:r>
              <a:rPr lang="en-GB" sz="1300" dirty="0">
                <a:cs typeface="Calibri Light"/>
              </a:rPr>
              <a:t>Swiss Re</a:t>
            </a:r>
            <a:endParaRPr lang="de-DE" sz="1300" dirty="0">
              <a:cs typeface="Calibri Light"/>
            </a:endParaRPr>
          </a:p>
          <a:p>
            <a:pPr>
              <a:lnSpc>
                <a:spcPct val="100000"/>
              </a:lnSpc>
              <a:spcAft>
                <a:spcPts val="300"/>
              </a:spcAft>
              <a:buClr>
                <a:srgbClr val="A01441"/>
              </a:buClr>
              <a:defRPr/>
            </a:pPr>
            <a:r>
              <a:rPr lang="en-GB" sz="1300" dirty="0">
                <a:cs typeface="Calibri Light"/>
              </a:rPr>
              <a:t>Tokio Marine</a:t>
            </a:r>
            <a:endParaRPr lang="de-DE" sz="1300" dirty="0">
              <a:cs typeface="Calibri Light"/>
            </a:endParaRPr>
          </a:p>
          <a:p>
            <a:pPr>
              <a:lnSpc>
                <a:spcPct val="100000"/>
              </a:lnSpc>
              <a:spcAft>
                <a:spcPts val="300"/>
              </a:spcAft>
              <a:buClr>
                <a:srgbClr val="A01441"/>
              </a:buClr>
              <a:defRPr/>
            </a:pPr>
            <a:endParaRPr lang="de-DE" sz="1300" dirty="0">
              <a:cs typeface="Calibri Light"/>
            </a:endParaRPr>
          </a:p>
          <a:p>
            <a:pPr>
              <a:lnSpc>
                <a:spcPct val="100000"/>
              </a:lnSpc>
              <a:spcAft>
                <a:spcPts val="300"/>
              </a:spcAft>
              <a:buClr>
                <a:srgbClr val="A01441"/>
              </a:buClr>
              <a:defRPr/>
            </a:pPr>
            <a:endParaRPr lang="de-DE" sz="1300" dirty="0">
              <a:cs typeface="Calibri Light"/>
            </a:endParaRPr>
          </a:p>
          <a:p>
            <a:pPr>
              <a:lnSpc>
                <a:spcPct val="100000"/>
              </a:lnSpc>
              <a:spcAft>
                <a:spcPts val="300"/>
              </a:spcAft>
              <a:buClr>
                <a:srgbClr val="A01441"/>
              </a:buClr>
              <a:defRPr/>
            </a:pPr>
            <a:endParaRPr lang="de-DE" sz="1300" dirty="0">
              <a:cs typeface="Calibri Light"/>
            </a:endParaRPr>
          </a:p>
          <a:p>
            <a:pPr>
              <a:lnSpc>
                <a:spcPct val="100000"/>
              </a:lnSpc>
              <a:spcAft>
                <a:spcPts val="300"/>
              </a:spcAft>
              <a:buClr>
                <a:srgbClr val="A01441"/>
              </a:buClr>
              <a:defRPr/>
            </a:pPr>
            <a:endParaRPr lang="de-DE" sz="1300" dirty="0">
              <a:cs typeface="Calibri Light"/>
            </a:endParaRPr>
          </a:p>
          <a:p>
            <a:pPr>
              <a:lnSpc>
                <a:spcPct val="100000"/>
              </a:lnSpc>
              <a:spcAft>
                <a:spcPts val="300"/>
              </a:spcAft>
              <a:buClr>
                <a:srgbClr val="A01441"/>
              </a:buClr>
              <a:defRPr/>
            </a:pPr>
            <a:r>
              <a:rPr lang="de-DE" sz="1300" dirty="0">
                <a:cs typeface="Calibri Light"/>
              </a:rPr>
              <a:t>UNIQA</a:t>
            </a:r>
          </a:p>
          <a:p>
            <a:pPr>
              <a:lnSpc>
                <a:spcPct val="95000"/>
              </a:lnSpc>
              <a:spcAft>
                <a:spcPts val="300"/>
              </a:spcAft>
              <a:buClr>
                <a:srgbClr val="A01441"/>
              </a:buClr>
              <a:defRPr/>
            </a:pPr>
            <a:r>
              <a:rPr lang="de-DE" sz="1300" dirty="0">
                <a:cs typeface="Calibri Light"/>
              </a:rPr>
              <a:t>Versicherungs-kammer Bayern</a:t>
            </a:r>
          </a:p>
          <a:p>
            <a:pPr>
              <a:lnSpc>
                <a:spcPct val="100000"/>
              </a:lnSpc>
              <a:spcBef>
                <a:spcPts val="500"/>
              </a:spcBef>
              <a:spcAft>
                <a:spcPts val="300"/>
              </a:spcAft>
              <a:buClr>
                <a:srgbClr val="A01441"/>
              </a:buClr>
              <a:defRPr/>
            </a:pPr>
            <a:r>
              <a:rPr lang="de-DE" sz="1300" dirty="0">
                <a:cs typeface="Calibri Light"/>
              </a:rPr>
              <a:t>VIG</a:t>
            </a:r>
          </a:p>
          <a:p>
            <a:pPr>
              <a:lnSpc>
                <a:spcPct val="100000"/>
              </a:lnSpc>
              <a:spcAft>
                <a:spcPts val="300"/>
              </a:spcAft>
              <a:buClr>
                <a:srgbClr val="A01441"/>
              </a:buClr>
              <a:defRPr/>
            </a:pPr>
            <a:r>
              <a:rPr lang="de-DE" sz="1300" dirty="0" err="1">
                <a:cs typeface="Calibri Light"/>
              </a:rPr>
              <a:t>Viridium</a:t>
            </a:r>
            <a:endParaRPr lang="de-DE" sz="1300" dirty="0">
              <a:cs typeface="Calibri Light"/>
            </a:endParaRPr>
          </a:p>
          <a:p>
            <a:pPr>
              <a:lnSpc>
                <a:spcPct val="95000"/>
              </a:lnSpc>
              <a:spcAft>
                <a:spcPts val="300"/>
              </a:spcAft>
              <a:buClr>
                <a:srgbClr val="A01441"/>
              </a:buClr>
              <a:defRPr/>
            </a:pPr>
            <a:r>
              <a:rPr lang="de-DE" sz="1300" dirty="0">
                <a:cs typeface="Calibri Light"/>
              </a:rPr>
              <a:t>Zuger</a:t>
            </a:r>
            <a:br>
              <a:rPr lang="de-DE" sz="1300" dirty="0">
                <a:cs typeface="Calibri Light"/>
              </a:rPr>
            </a:br>
            <a:r>
              <a:rPr lang="de-DE" sz="1300" dirty="0">
                <a:cs typeface="Calibri Light"/>
              </a:rPr>
              <a:t>Kantonalbank</a:t>
            </a:r>
          </a:p>
          <a:p>
            <a:pPr>
              <a:lnSpc>
                <a:spcPct val="100000"/>
              </a:lnSpc>
              <a:spcBef>
                <a:spcPts val="300"/>
              </a:spcBef>
              <a:spcAft>
                <a:spcPts val="300"/>
              </a:spcAft>
              <a:buClr>
                <a:srgbClr val="A01441"/>
              </a:buClr>
              <a:defRPr/>
            </a:pPr>
            <a:r>
              <a:rPr lang="de-DE" sz="1300" dirty="0" err="1">
                <a:cs typeface="Calibri Light"/>
              </a:rPr>
              <a:t>Zurich</a:t>
            </a:r>
            <a:endParaRPr lang="de-DE" sz="1300" dirty="0">
              <a:cs typeface="Calibri Light"/>
            </a:endParaRPr>
          </a:p>
          <a:p>
            <a:pPr>
              <a:lnSpc>
                <a:spcPct val="100000"/>
              </a:lnSpc>
              <a:spcAft>
                <a:spcPts val="300"/>
              </a:spcAft>
              <a:defRPr/>
            </a:pPr>
            <a:endParaRPr lang="de-DE" sz="1300" dirty="0">
              <a:cs typeface="Calibri Light"/>
            </a:endParaRPr>
          </a:p>
          <a:p>
            <a:pPr>
              <a:lnSpc>
                <a:spcPct val="100000"/>
              </a:lnSpc>
              <a:spcAft>
                <a:spcPts val="300"/>
              </a:spcAft>
              <a:defRPr/>
            </a:pPr>
            <a:endParaRPr lang="de-DE" sz="1300" dirty="0">
              <a:cs typeface="Calibri Light"/>
            </a:endParaRPr>
          </a:p>
          <a:p>
            <a:pPr>
              <a:lnSpc>
                <a:spcPct val="100000"/>
              </a:lnSpc>
              <a:spcAft>
                <a:spcPts val="300"/>
              </a:spcAft>
              <a:defRPr/>
            </a:pPr>
            <a:endParaRPr lang="de-DE" sz="1300" dirty="0">
              <a:cs typeface="Calibri Light" panose="020F0302020204030204" pitchFamily="34" charset="0"/>
            </a:endParaRPr>
          </a:p>
        </p:txBody>
      </p:sp>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platzhalter 21">
            <a:extLst>
              <a:ext uri="{FF2B5EF4-FFF2-40B4-BE49-F238E27FC236}">
                <a16:creationId xmlns:a16="http://schemas.microsoft.com/office/drawing/2014/main" id="{FDF276A4-27BE-7F92-9EB3-887375C3BC26}"/>
              </a:ext>
            </a:extLst>
          </p:cNvPr>
          <p:cNvSpPr>
            <a:spLocks noGrp="1"/>
          </p:cNvSpPr>
          <p:nvPr>
            <p:ph type="body" sz="quarter" idx="12"/>
          </p:nvPr>
        </p:nvSpPr>
        <p:spPr/>
        <p:txBody>
          <a:bodyPr/>
          <a:lstStyle/>
          <a:p>
            <a:r>
              <a:rPr lang="de-DE"/>
              <a:t>Unsere Stärken, Ihre Vorteile</a:t>
            </a:r>
          </a:p>
        </p:txBody>
      </p:sp>
      <p:sp>
        <p:nvSpPr>
          <p:cNvPr id="17" name="Titel 16">
            <a:extLst>
              <a:ext uri="{FF2B5EF4-FFF2-40B4-BE49-F238E27FC236}">
                <a16:creationId xmlns:a16="http://schemas.microsoft.com/office/drawing/2014/main" id="{BBB37F78-CAD0-D430-8B65-32FF33699290}"/>
              </a:ext>
            </a:extLst>
          </p:cNvPr>
          <p:cNvSpPr>
            <a:spLocks noGrp="1"/>
          </p:cNvSpPr>
          <p:nvPr>
            <p:ph type="title"/>
          </p:nvPr>
        </p:nvSpPr>
        <p:spPr/>
        <p:txBody>
          <a:bodyPr/>
          <a:lstStyle/>
          <a:p>
            <a:r>
              <a:rPr lang="de-DE" b="1" dirty="0"/>
              <a:t>Nachhaltige Kundenbeziehungen </a:t>
            </a:r>
            <a:r>
              <a:rPr lang="de-DE" dirty="0"/>
              <a:t>sind Ausdruck unseres Erfolgs</a:t>
            </a:r>
            <a:br>
              <a:rPr lang="de-DE" dirty="0"/>
            </a:br>
            <a:endParaRPr lang="de-DE" dirty="0"/>
          </a:p>
        </p:txBody>
      </p:sp>
      <p:sp>
        <p:nvSpPr>
          <p:cNvPr id="14" name="Fußzeilenplatzhalter 1">
            <a:extLst>
              <a:ext uri="{FF2B5EF4-FFF2-40B4-BE49-F238E27FC236}">
                <a16:creationId xmlns:a16="http://schemas.microsoft.com/office/drawing/2014/main" id="{AFE0B67F-A342-3DA2-8B22-A9AC1A0A001D}"/>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dirty="0" smtClean="0"/>
              <a:pPr/>
              <a:t>29</a:t>
            </a:fld>
            <a:endParaRPr lang="de-DE"/>
          </a:p>
        </p:txBody>
      </p:sp>
      <p:cxnSp>
        <p:nvCxnSpPr>
          <p:cNvPr id="13" name="Gerade Verbindung 12">
            <a:extLst>
              <a:ext uri="{FF2B5EF4-FFF2-40B4-BE49-F238E27FC236}">
                <a16:creationId xmlns:a16="http://schemas.microsoft.com/office/drawing/2014/main" id="{3E906B5C-40E0-B6FE-6DFA-BA33C5EBAF03}"/>
              </a:ext>
            </a:extLst>
          </p:cNvPr>
          <p:cNvCxnSpPr>
            <a:cxnSpLocks/>
          </p:cNvCxnSpPr>
          <p:nvPr/>
        </p:nvCxnSpPr>
        <p:spPr>
          <a:xfrm>
            <a:off x="623888" y="2203773"/>
            <a:ext cx="0" cy="90909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4C11EFC9-E696-0C59-9462-E34175BF515B}"/>
              </a:ext>
            </a:extLst>
          </p:cNvPr>
          <p:cNvCxnSpPr>
            <a:cxnSpLocks/>
          </p:cNvCxnSpPr>
          <p:nvPr/>
        </p:nvCxnSpPr>
        <p:spPr>
          <a:xfrm>
            <a:off x="9468505" y="2203773"/>
            <a:ext cx="0" cy="90564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extfeld 1">
            <a:extLst>
              <a:ext uri="{FF2B5EF4-FFF2-40B4-BE49-F238E27FC236}">
                <a16:creationId xmlns:a16="http://schemas.microsoft.com/office/drawing/2014/main" id="{0B24EB63-5D06-8A81-A393-FF792306E654}"/>
              </a:ext>
            </a:extLst>
          </p:cNvPr>
          <p:cNvSpPr txBox="1"/>
          <p:nvPr/>
        </p:nvSpPr>
        <p:spPr>
          <a:xfrm>
            <a:off x="633413" y="1752416"/>
            <a:ext cx="2330244" cy="276999"/>
          </a:xfrm>
          <a:prstGeom prst="rect">
            <a:avLst/>
          </a:prstGeom>
        </p:spPr>
        <p:txBody>
          <a:bodyPr vert="horz" wrap="square" lIns="0" tIns="0" rIns="0" bIns="0" rtlCol="0">
            <a:spAutoFit/>
          </a:bodyPr>
          <a:lstStyle/>
          <a:p>
            <a:pPr algn="l"/>
            <a:r>
              <a:rPr lang="de-DE"/>
              <a:t>Automotive</a:t>
            </a:r>
          </a:p>
        </p:txBody>
      </p:sp>
      <p:sp>
        <p:nvSpPr>
          <p:cNvPr id="3" name="Textfeld 2">
            <a:extLst>
              <a:ext uri="{FF2B5EF4-FFF2-40B4-BE49-F238E27FC236}">
                <a16:creationId xmlns:a16="http://schemas.microsoft.com/office/drawing/2014/main" id="{99DE6848-6F23-5A97-F4C1-58FD758A13A3}"/>
              </a:ext>
            </a:extLst>
          </p:cNvPr>
          <p:cNvSpPr txBox="1"/>
          <p:nvPr/>
        </p:nvSpPr>
        <p:spPr>
          <a:xfrm>
            <a:off x="9469464" y="1752416"/>
            <a:ext cx="2330244" cy="276999"/>
          </a:xfrm>
          <a:prstGeom prst="rect">
            <a:avLst/>
          </a:prstGeom>
        </p:spPr>
        <p:txBody>
          <a:bodyPr vert="horz" wrap="square" lIns="0" tIns="0" rIns="0" bIns="0" rtlCol="0">
            <a:spAutoFit/>
          </a:bodyPr>
          <a:lstStyle/>
          <a:p>
            <a:pPr algn="l"/>
            <a:r>
              <a:rPr lang="de-DE"/>
              <a:t>Public</a:t>
            </a:r>
          </a:p>
        </p:txBody>
      </p:sp>
      <p:sp>
        <p:nvSpPr>
          <p:cNvPr id="4" name="Textfeld 3">
            <a:extLst>
              <a:ext uri="{FF2B5EF4-FFF2-40B4-BE49-F238E27FC236}">
                <a16:creationId xmlns:a16="http://schemas.microsoft.com/office/drawing/2014/main" id="{259B7417-C4E3-39C3-213B-3ED246BDF72C}"/>
              </a:ext>
            </a:extLst>
          </p:cNvPr>
          <p:cNvSpPr txBox="1"/>
          <p:nvPr/>
        </p:nvSpPr>
        <p:spPr>
          <a:xfrm>
            <a:off x="623888" y="3467029"/>
            <a:ext cx="2330244" cy="276999"/>
          </a:xfrm>
          <a:prstGeom prst="rect">
            <a:avLst/>
          </a:prstGeom>
        </p:spPr>
        <p:txBody>
          <a:bodyPr vert="horz" wrap="square" lIns="0" tIns="0" rIns="0" bIns="0" rtlCol="0">
            <a:spAutoFit/>
          </a:bodyPr>
          <a:lstStyle/>
          <a:p>
            <a:pPr algn="l"/>
            <a:r>
              <a:rPr lang="de-DE"/>
              <a:t>Industry</a:t>
            </a:r>
          </a:p>
        </p:txBody>
      </p:sp>
      <p:sp>
        <p:nvSpPr>
          <p:cNvPr id="5" name="Textfeld 4">
            <a:extLst>
              <a:ext uri="{FF2B5EF4-FFF2-40B4-BE49-F238E27FC236}">
                <a16:creationId xmlns:a16="http://schemas.microsoft.com/office/drawing/2014/main" id="{594094D1-39AC-2F64-28A9-BB34EF7D60F9}"/>
              </a:ext>
            </a:extLst>
          </p:cNvPr>
          <p:cNvSpPr txBox="1"/>
          <p:nvPr/>
        </p:nvSpPr>
        <p:spPr>
          <a:xfrm>
            <a:off x="3548367" y="1752416"/>
            <a:ext cx="2330244" cy="276999"/>
          </a:xfrm>
          <a:prstGeom prst="rect">
            <a:avLst/>
          </a:prstGeom>
        </p:spPr>
        <p:txBody>
          <a:bodyPr vert="horz" wrap="square" lIns="0" tIns="0" rIns="0" bIns="0" rtlCol="0">
            <a:spAutoFit/>
          </a:bodyPr>
          <a:lstStyle/>
          <a:p>
            <a:pPr algn="l"/>
            <a:r>
              <a:rPr lang="de-DE"/>
              <a:t>Banking</a:t>
            </a:r>
          </a:p>
        </p:txBody>
      </p:sp>
      <p:sp>
        <p:nvSpPr>
          <p:cNvPr id="6" name="Textfeld 5">
            <a:extLst>
              <a:ext uri="{FF2B5EF4-FFF2-40B4-BE49-F238E27FC236}">
                <a16:creationId xmlns:a16="http://schemas.microsoft.com/office/drawing/2014/main" id="{E9306EB6-664A-1632-74BD-DF9370FC78B4}"/>
              </a:ext>
            </a:extLst>
          </p:cNvPr>
          <p:cNvSpPr txBox="1"/>
          <p:nvPr/>
        </p:nvSpPr>
        <p:spPr>
          <a:xfrm>
            <a:off x="6439282" y="3467029"/>
            <a:ext cx="2330244" cy="276999"/>
          </a:xfrm>
          <a:prstGeom prst="rect">
            <a:avLst/>
          </a:prstGeom>
        </p:spPr>
        <p:txBody>
          <a:bodyPr vert="horz" wrap="square" lIns="0" tIns="0" rIns="0" bIns="0" rtlCol="0">
            <a:spAutoFit/>
          </a:bodyPr>
          <a:lstStyle/>
          <a:p>
            <a:pPr algn="l"/>
            <a:r>
              <a:rPr lang="de-DE"/>
              <a:t>Insurance</a:t>
            </a:r>
          </a:p>
        </p:txBody>
      </p:sp>
      <p:cxnSp>
        <p:nvCxnSpPr>
          <p:cNvPr id="7" name="Gerade Verbindung 12">
            <a:extLst>
              <a:ext uri="{FF2B5EF4-FFF2-40B4-BE49-F238E27FC236}">
                <a16:creationId xmlns:a16="http://schemas.microsoft.com/office/drawing/2014/main" id="{22151F78-36F0-1994-DFE4-0142C3496E10}"/>
              </a:ext>
            </a:extLst>
          </p:cNvPr>
          <p:cNvCxnSpPr>
            <a:cxnSpLocks/>
          </p:cNvCxnSpPr>
          <p:nvPr/>
        </p:nvCxnSpPr>
        <p:spPr>
          <a:xfrm>
            <a:off x="6439282" y="3955889"/>
            <a:ext cx="0" cy="1780007"/>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Gerade Verbindung 18">
            <a:extLst>
              <a:ext uri="{FF2B5EF4-FFF2-40B4-BE49-F238E27FC236}">
                <a16:creationId xmlns:a16="http://schemas.microsoft.com/office/drawing/2014/main" id="{442AA66E-26AB-1E15-3B07-57E935CDFCCF}"/>
              </a:ext>
            </a:extLst>
          </p:cNvPr>
          <p:cNvCxnSpPr>
            <a:cxnSpLocks/>
          </p:cNvCxnSpPr>
          <p:nvPr/>
        </p:nvCxnSpPr>
        <p:spPr>
          <a:xfrm>
            <a:off x="623888" y="3955889"/>
            <a:ext cx="0" cy="164598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Gerade Verbindung 18">
            <a:extLst>
              <a:ext uri="{FF2B5EF4-FFF2-40B4-BE49-F238E27FC236}">
                <a16:creationId xmlns:a16="http://schemas.microsoft.com/office/drawing/2014/main" id="{D04A2930-1FF7-70B6-AA0F-A8E48BD77A93}"/>
              </a:ext>
            </a:extLst>
          </p:cNvPr>
          <p:cNvCxnSpPr>
            <a:cxnSpLocks/>
          </p:cNvCxnSpPr>
          <p:nvPr/>
        </p:nvCxnSpPr>
        <p:spPr>
          <a:xfrm>
            <a:off x="3572094" y="2203773"/>
            <a:ext cx="0" cy="90293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platzhalter 14">
            <a:extLst>
              <a:ext uri="{FF2B5EF4-FFF2-40B4-BE49-F238E27FC236}">
                <a16:creationId xmlns:a16="http://schemas.microsoft.com/office/drawing/2014/main" id="{5D27FF37-523D-D32D-7F7A-6374CE872CB4}"/>
              </a:ext>
            </a:extLst>
          </p:cNvPr>
          <p:cNvSpPr txBox="1">
            <a:spLocks/>
          </p:cNvSpPr>
          <p:nvPr/>
        </p:nvSpPr>
        <p:spPr>
          <a:xfrm>
            <a:off x="3680224" y="2203773"/>
            <a:ext cx="2195513" cy="1104148"/>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Sparkassen-Finanzgruppe</a:t>
            </a:r>
          </a:p>
          <a:p>
            <a:pPr marR="0" lvl="0" algn="l" defTabSz="914400" rtl="0" eaLnBrk="1" fontAlgn="auto" latinLnBrk="0" hangingPunct="1">
              <a:lnSpc>
                <a:spcPct val="95000"/>
              </a:lnSpc>
              <a:spcBef>
                <a:spcPts val="0"/>
              </a:spcBef>
              <a:spcAft>
                <a:spcPts val="300"/>
              </a:spcAft>
              <a:buClr>
                <a:srgbClr val="A01441"/>
              </a:buClr>
              <a:buSzTx/>
              <a:tabLst/>
              <a:defRPr/>
            </a:pPr>
            <a:r>
              <a:rPr lang="de-DE" sz="1300" err="1">
                <a:cs typeface="Calibri Light"/>
              </a:rPr>
              <a:t>Atruvia</a:t>
            </a:r>
            <a:endParaRPr lang="de-DE" sz="1300">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ayern LB</a:t>
            </a:r>
          </a:p>
          <a:p>
            <a:pPr marR="0" lvl="0" algn="l" defTabSz="914400" rtl="0" eaLnBrk="1" fontAlgn="auto" latinLnBrk="0" hangingPunct="1">
              <a:lnSpc>
                <a:spcPct val="95000"/>
              </a:lnSpc>
              <a:spcBef>
                <a:spcPts val="0"/>
              </a:spcBef>
              <a:spcAft>
                <a:spcPts val="300"/>
              </a:spcAft>
              <a:buClr>
                <a:srgbClr val="A01441"/>
              </a:buClr>
              <a:buSzTx/>
              <a:tabLst/>
              <a:defRPr/>
            </a:pPr>
            <a:r>
              <a:rPr lang="de-DE" sz="1300">
                <a:cs typeface="Calibri Light"/>
              </a:rPr>
              <a:t>KfW</a:t>
            </a:r>
            <a:endParaRPr kumimoji="0" lang="de-DE" sz="1300" u="none" strike="noStrike" kern="1200" cap="none" spc="0" normalizeH="0" baseline="0" noProof="0">
              <a:ln>
                <a:noFill/>
              </a:ln>
              <a:effectLst/>
              <a:uLnTx/>
              <a:uFillTx/>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endParaRPr lang="de-DE" sz="1300" u="none" strike="noStrike" kern="1200" cap="none" spc="0" normalizeH="0" baseline="0" noProof="0">
              <a:ln>
                <a:noFill/>
              </a:ln>
              <a:effectLst/>
              <a:uLnTx/>
              <a:uFillTx/>
              <a:cs typeface="Calibri Light"/>
            </a:endParaRPr>
          </a:p>
        </p:txBody>
      </p:sp>
      <p:sp>
        <p:nvSpPr>
          <p:cNvPr id="15" name="Textplatzhalter 14">
            <a:extLst>
              <a:ext uri="{FF2B5EF4-FFF2-40B4-BE49-F238E27FC236}">
                <a16:creationId xmlns:a16="http://schemas.microsoft.com/office/drawing/2014/main" id="{19F58CAB-7CC1-B3B8-491F-B2426211154D}"/>
              </a:ext>
            </a:extLst>
          </p:cNvPr>
          <p:cNvSpPr txBox="1">
            <a:spLocks/>
          </p:cNvSpPr>
          <p:nvPr/>
        </p:nvSpPr>
        <p:spPr>
          <a:xfrm>
            <a:off x="727992" y="2203773"/>
            <a:ext cx="2195513" cy="87562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dirty="0">
                <a:ln>
                  <a:noFill/>
                </a:ln>
                <a:effectLst/>
                <a:uLnTx/>
                <a:uFillTx/>
                <a:cs typeface="Calibri Light"/>
              </a:rPr>
              <a:t>BMW</a:t>
            </a:r>
            <a:endParaRPr lang="de-DE" sz="1300" u="none" strike="noStrike" kern="1200" cap="none" spc="0" normalizeH="0" baseline="0" noProof="0" dirty="0">
              <a:ln>
                <a:noFill/>
              </a:ln>
              <a:effectLst/>
              <a:uLnTx/>
              <a:uFillTx/>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dirty="0">
                <a:ln>
                  <a:noFill/>
                </a:ln>
                <a:effectLst/>
                <a:uLnTx/>
                <a:uFillTx/>
                <a:cs typeface="Calibri Light"/>
              </a:rPr>
              <a:t>VW</a:t>
            </a:r>
          </a:p>
          <a:p>
            <a:pPr marR="0" lvl="0" algn="l" defTabSz="914400" rtl="0" eaLnBrk="1" fontAlgn="auto" latinLnBrk="0" hangingPunct="1">
              <a:lnSpc>
                <a:spcPct val="95000"/>
              </a:lnSpc>
              <a:spcBef>
                <a:spcPts val="0"/>
              </a:spcBef>
              <a:spcAft>
                <a:spcPts val="300"/>
              </a:spcAft>
              <a:buClr>
                <a:srgbClr val="A01441"/>
              </a:buClr>
              <a:buSzTx/>
              <a:tabLst/>
              <a:defRPr/>
            </a:pPr>
            <a:r>
              <a:rPr lang="de-DE" sz="1300" dirty="0">
                <a:cs typeface="Calibri Light"/>
              </a:rPr>
              <a:t>Audi</a:t>
            </a:r>
          </a:p>
          <a:p>
            <a:pPr marR="0" lvl="0" algn="l" defTabSz="914400" rtl="0" eaLnBrk="1" fontAlgn="auto" latinLnBrk="0" hangingPunct="1">
              <a:lnSpc>
                <a:spcPct val="95000"/>
              </a:lnSpc>
              <a:spcBef>
                <a:spcPts val="0"/>
              </a:spcBef>
              <a:spcAft>
                <a:spcPts val="300"/>
              </a:spcAft>
              <a:buClr>
                <a:srgbClr val="A01441"/>
              </a:buClr>
              <a:buSzTx/>
              <a:tabLst/>
              <a:defRPr/>
            </a:pPr>
            <a:r>
              <a:rPr lang="de-DE" sz="1300" u="none" strike="noStrike" kern="1200" cap="none" spc="0" normalizeH="0" baseline="0" noProof="0" dirty="0">
                <a:ln>
                  <a:noFill/>
                </a:ln>
                <a:effectLst/>
                <a:uLnTx/>
                <a:uFillTx/>
                <a:cs typeface="Calibri Light"/>
              </a:rPr>
              <a:t>Daimler</a:t>
            </a:r>
          </a:p>
        </p:txBody>
      </p:sp>
      <p:sp>
        <p:nvSpPr>
          <p:cNvPr id="16" name="Textplatzhalter 14">
            <a:extLst>
              <a:ext uri="{FF2B5EF4-FFF2-40B4-BE49-F238E27FC236}">
                <a16:creationId xmlns:a16="http://schemas.microsoft.com/office/drawing/2014/main" id="{53325D87-3614-6639-1479-5001A5C36FAC}"/>
              </a:ext>
            </a:extLst>
          </p:cNvPr>
          <p:cNvSpPr txBox="1">
            <a:spLocks/>
          </p:cNvSpPr>
          <p:nvPr/>
        </p:nvSpPr>
        <p:spPr>
          <a:xfrm>
            <a:off x="718072" y="3941617"/>
            <a:ext cx="5274000" cy="1631216"/>
          </a:xfrm>
          <a:prstGeom prst="rect">
            <a:avLst/>
          </a:prstGeom>
        </p:spPr>
        <p:txBody>
          <a:bodyPr wrap="square" lIns="0" tIns="0" rIns="0" bIns="0" numCol="4" spcCol="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buClr>
                <a:srgbClr val="A01441"/>
              </a:buClr>
              <a:defRPr/>
            </a:pPr>
            <a:r>
              <a:rPr lang="en-GB" sz="1300" err="1">
                <a:cs typeface="Calibri Light"/>
              </a:rPr>
              <a:t>Brötje</a:t>
            </a:r>
            <a:endParaRPr lang="de-DE" sz="1300">
              <a:cs typeface="Calibri Light"/>
            </a:endParaRPr>
          </a:p>
          <a:p>
            <a:pPr>
              <a:lnSpc>
                <a:spcPct val="100000"/>
              </a:lnSpc>
              <a:spcAft>
                <a:spcPts val="300"/>
              </a:spcAft>
              <a:buClr>
                <a:srgbClr val="A01441"/>
              </a:buClr>
              <a:defRPr/>
            </a:pPr>
            <a:r>
              <a:rPr lang="en-GB" sz="1300">
                <a:cs typeface="Calibri Light"/>
              </a:rPr>
              <a:t>BSH</a:t>
            </a:r>
            <a:endParaRPr lang="de-DE" sz="1300">
              <a:cs typeface="Calibri Light"/>
            </a:endParaRPr>
          </a:p>
          <a:p>
            <a:pPr>
              <a:lnSpc>
                <a:spcPct val="100000"/>
              </a:lnSpc>
              <a:spcAft>
                <a:spcPts val="300"/>
              </a:spcAft>
              <a:buClr>
                <a:srgbClr val="A01441"/>
              </a:buClr>
              <a:defRPr/>
            </a:pPr>
            <a:r>
              <a:rPr lang="en-GB" sz="1300">
                <a:cs typeface="Calibri Light"/>
              </a:rPr>
              <a:t>CVS</a:t>
            </a:r>
            <a:endParaRPr lang="de-DE" sz="1300">
              <a:cs typeface="Calibri Light"/>
            </a:endParaRPr>
          </a:p>
          <a:p>
            <a:pPr>
              <a:lnSpc>
                <a:spcPct val="100000"/>
              </a:lnSpc>
              <a:spcAft>
                <a:spcPts val="300"/>
              </a:spcAft>
              <a:buClr>
                <a:srgbClr val="A01441"/>
              </a:buClr>
              <a:defRPr/>
            </a:pPr>
            <a:r>
              <a:rPr lang="en-GB" sz="1300">
                <a:cs typeface="Calibri Light"/>
              </a:rPr>
              <a:t>Delivery Hero</a:t>
            </a:r>
            <a:endParaRPr lang="de-DE" sz="1300">
              <a:cs typeface="Calibri Light"/>
            </a:endParaRPr>
          </a:p>
          <a:p>
            <a:pPr>
              <a:lnSpc>
                <a:spcPct val="100000"/>
              </a:lnSpc>
              <a:spcAft>
                <a:spcPts val="300"/>
              </a:spcAft>
              <a:buClr>
                <a:srgbClr val="A01441"/>
              </a:buClr>
              <a:defRPr/>
            </a:pPr>
            <a:r>
              <a:rPr lang="en-GB" sz="1300">
                <a:cs typeface="Calibri Light"/>
              </a:rPr>
              <a:t>Dell </a:t>
            </a:r>
            <a:endParaRPr lang="de-DE" sz="1300">
              <a:cs typeface="Calibri Light"/>
            </a:endParaRPr>
          </a:p>
          <a:p>
            <a:pPr>
              <a:lnSpc>
                <a:spcPct val="100000"/>
              </a:lnSpc>
              <a:spcAft>
                <a:spcPts val="300"/>
              </a:spcAft>
              <a:buClr>
                <a:srgbClr val="A01441"/>
              </a:buClr>
              <a:defRPr/>
            </a:pPr>
            <a:r>
              <a:rPr lang="de-DE" sz="1300">
                <a:cs typeface="Calibri Light"/>
              </a:rPr>
              <a:t>Deutsche Bahn</a:t>
            </a:r>
          </a:p>
          <a:p>
            <a:pPr>
              <a:lnSpc>
                <a:spcPct val="100000"/>
              </a:lnSpc>
              <a:spcAft>
                <a:spcPts val="300"/>
              </a:spcAft>
              <a:buClr>
                <a:srgbClr val="A01441"/>
              </a:buClr>
              <a:defRPr/>
            </a:pPr>
            <a:r>
              <a:rPr lang="de-DE" sz="1300">
                <a:cs typeface="Calibri Light"/>
              </a:rPr>
              <a:t>Deutsche Post</a:t>
            </a:r>
          </a:p>
          <a:p>
            <a:pPr>
              <a:lnSpc>
                <a:spcPct val="90000"/>
              </a:lnSpc>
              <a:spcAft>
                <a:spcPts val="300"/>
              </a:spcAft>
              <a:buClr>
                <a:srgbClr val="A01441"/>
              </a:buClr>
              <a:defRPr/>
            </a:pPr>
            <a:r>
              <a:rPr lang="de-DE" sz="1300">
                <a:cs typeface="Calibri Light"/>
              </a:rPr>
              <a:t>Deutsches</a:t>
            </a:r>
            <a:br>
              <a:rPr lang="de-DE" sz="1300">
                <a:cs typeface="Calibri Light"/>
              </a:rPr>
            </a:br>
            <a:r>
              <a:rPr lang="de-DE" sz="1300">
                <a:cs typeface="Calibri Light"/>
              </a:rPr>
              <a:t>Milchkontor</a:t>
            </a:r>
          </a:p>
          <a:p>
            <a:pPr>
              <a:lnSpc>
                <a:spcPct val="100000"/>
              </a:lnSpc>
              <a:spcBef>
                <a:spcPts val="600"/>
              </a:spcBef>
              <a:spcAft>
                <a:spcPts val="300"/>
              </a:spcAft>
              <a:buClr>
                <a:srgbClr val="A01441"/>
              </a:buClr>
              <a:defRPr/>
            </a:pPr>
            <a:r>
              <a:rPr lang="de-DE" sz="1300">
                <a:cs typeface="Calibri Light"/>
              </a:rPr>
              <a:t>Emmi</a:t>
            </a:r>
          </a:p>
          <a:p>
            <a:pPr>
              <a:lnSpc>
                <a:spcPct val="100000"/>
              </a:lnSpc>
              <a:spcAft>
                <a:spcPts val="300"/>
              </a:spcAft>
              <a:buClr>
                <a:srgbClr val="A01441"/>
              </a:buClr>
              <a:defRPr/>
            </a:pPr>
            <a:r>
              <a:rPr lang="de-DE" sz="1300">
                <a:cs typeface="Calibri Light"/>
              </a:rPr>
              <a:t>EnBW</a:t>
            </a:r>
          </a:p>
          <a:p>
            <a:pPr>
              <a:lnSpc>
                <a:spcPct val="100000"/>
              </a:lnSpc>
              <a:spcAft>
                <a:spcPts val="300"/>
              </a:spcAft>
              <a:buClr>
                <a:srgbClr val="A01441"/>
              </a:buClr>
              <a:defRPr/>
            </a:pPr>
            <a:r>
              <a:rPr lang="de-DE" sz="1300">
                <a:cs typeface="Calibri Light"/>
              </a:rPr>
              <a:t>Franz Kiel</a:t>
            </a:r>
          </a:p>
          <a:p>
            <a:pPr>
              <a:lnSpc>
                <a:spcPct val="100000"/>
              </a:lnSpc>
              <a:spcAft>
                <a:spcPts val="300"/>
              </a:spcAft>
              <a:buClr>
                <a:srgbClr val="A01441"/>
              </a:buClr>
              <a:defRPr/>
            </a:pPr>
            <a:r>
              <a:rPr lang="de-DE" sz="1300">
                <a:cs typeface="Calibri Light"/>
              </a:rPr>
              <a:t>Google</a:t>
            </a:r>
          </a:p>
          <a:p>
            <a:pPr>
              <a:lnSpc>
                <a:spcPct val="100000"/>
              </a:lnSpc>
              <a:spcAft>
                <a:spcPts val="300"/>
              </a:spcAft>
              <a:buClr>
                <a:srgbClr val="A01441"/>
              </a:buClr>
              <a:defRPr/>
            </a:pPr>
            <a:r>
              <a:rPr lang="de-DE" sz="1300">
                <a:cs typeface="Calibri Light"/>
              </a:rPr>
              <a:t>Magna</a:t>
            </a:r>
          </a:p>
          <a:p>
            <a:pPr>
              <a:lnSpc>
                <a:spcPct val="100000"/>
              </a:lnSpc>
              <a:spcAft>
                <a:spcPts val="300"/>
              </a:spcAft>
              <a:buClr>
                <a:srgbClr val="A01441"/>
              </a:buClr>
              <a:defRPr/>
            </a:pPr>
            <a:r>
              <a:rPr lang="de-DE" sz="1300">
                <a:cs typeface="Calibri Light"/>
              </a:rPr>
              <a:t>Miele</a:t>
            </a:r>
          </a:p>
          <a:p>
            <a:pPr>
              <a:lnSpc>
                <a:spcPct val="100000"/>
              </a:lnSpc>
              <a:spcAft>
                <a:spcPts val="300"/>
              </a:spcAft>
              <a:buClr>
                <a:srgbClr val="A01441"/>
              </a:buClr>
              <a:defRPr/>
            </a:pPr>
            <a:r>
              <a:rPr lang="en-GB" sz="1300">
                <a:cs typeface="Calibri Light"/>
              </a:rPr>
              <a:t>Red Bull</a:t>
            </a:r>
            <a:endParaRPr lang="de-DE" sz="1300">
              <a:cs typeface="Calibri Light"/>
            </a:endParaRPr>
          </a:p>
          <a:p>
            <a:pPr>
              <a:lnSpc>
                <a:spcPct val="100000"/>
              </a:lnSpc>
              <a:spcAft>
                <a:spcPts val="300"/>
              </a:spcAft>
              <a:buClr>
                <a:srgbClr val="A01441"/>
              </a:buClr>
              <a:defRPr/>
            </a:pPr>
            <a:r>
              <a:rPr lang="en-GB" sz="1300">
                <a:cs typeface="Calibri Light"/>
              </a:rPr>
              <a:t>Roche</a:t>
            </a:r>
          </a:p>
          <a:p>
            <a:pPr>
              <a:lnSpc>
                <a:spcPct val="100000"/>
              </a:lnSpc>
              <a:spcAft>
                <a:spcPts val="300"/>
              </a:spcAft>
              <a:buClr>
                <a:srgbClr val="A01441"/>
              </a:buClr>
              <a:defRPr/>
            </a:pPr>
            <a:r>
              <a:rPr lang="en-GB" sz="1300">
                <a:cs typeface="Calibri Light"/>
              </a:rPr>
              <a:t>RWE</a:t>
            </a:r>
            <a:endParaRPr lang="de-DE" sz="1300">
              <a:cs typeface="Calibri Light"/>
            </a:endParaRPr>
          </a:p>
          <a:p>
            <a:pPr>
              <a:lnSpc>
                <a:spcPct val="100000"/>
              </a:lnSpc>
              <a:spcAft>
                <a:spcPts val="300"/>
              </a:spcAft>
              <a:buClr>
                <a:srgbClr val="A01441"/>
              </a:buClr>
              <a:defRPr/>
            </a:pPr>
            <a:r>
              <a:rPr lang="en-GB" sz="1300">
                <a:cs typeface="Calibri Light"/>
              </a:rPr>
              <a:t>Samsung</a:t>
            </a:r>
            <a:endParaRPr lang="de-DE" sz="1300">
              <a:cs typeface="Calibri Light"/>
            </a:endParaRPr>
          </a:p>
          <a:p>
            <a:pPr>
              <a:lnSpc>
                <a:spcPct val="100000"/>
              </a:lnSpc>
              <a:spcAft>
                <a:spcPts val="300"/>
              </a:spcAft>
              <a:buClr>
                <a:srgbClr val="A01441"/>
              </a:buClr>
              <a:defRPr/>
            </a:pPr>
            <a:r>
              <a:rPr lang="en-GB" sz="1300">
                <a:cs typeface="Calibri Light"/>
              </a:rPr>
              <a:t>SAP</a:t>
            </a:r>
            <a:endParaRPr lang="de-DE" sz="1300">
              <a:cs typeface="Calibri Light"/>
            </a:endParaRPr>
          </a:p>
          <a:p>
            <a:pPr>
              <a:lnSpc>
                <a:spcPct val="100000"/>
              </a:lnSpc>
              <a:spcAft>
                <a:spcPts val="300"/>
              </a:spcAft>
              <a:buClr>
                <a:srgbClr val="A01441"/>
              </a:buClr>
              <a:defRPr/>
            </a:pPr>
            <a:r>
              <a:rPr lang="en-GB" sz="1300">
                <a:cs typeface="Calibri Light"/>
              </a:rPr>
              <a:t>Saputo</a:t>
            </a:r>
            <a:endParaRPr lang="de-DE" sz="1300">
              <a:cs typeface="Calibri Light"/>
            </a:endParaRPr>
          </a:p>
          <a:p>
            <a:pPr>
              <a:lnSpc>
                <a:spcPct val="100000"/>
              </a:lnSpc>
              <a:spcAft>
                <a:spcPts val="300"/>
              </a:spcAft>
              <a:buClr>
                <a:srgbClr val="A01441"/>
              </a:buClr>
              <a:defRPr/>
            </a:pPr>
            <a:r>
              <a:rPr lang="en-GB" sz="1300">
                <a:cs typeface="Calibri Light"/>
              </a:rPr>
              <a:t>Telefónica</a:t>
            </a:r>
            <a:endParaRPr lang="de-DE" sz="1300">
              <a:cs typeface="Calibri Light"/>
            </a:endParaRPr>
          </a:p>
          <a:p>
            <a:pPr>
              <a:lnSpc>
                <a:spcPct val="100000"/>
              </a:lnSpc>
              <a:spcAft>
                <a:spcPts val="300"/>
              </a:spcAft>
              <a:buClr>
                <a:srgbClr val="A01441"/>
              </a:buClr>
              <a:defRPr/>
            </a:pPr>
            <a:r>
              <a:rPr lang="en-GB" sz="1300">
                <a:cs typeface="Calibri Light"/>
              </a:rPr>
              <a:t>Toll Collect</a:t>
            </a:r>
            <a:endParaRPr lang="de-DE" sz="1300">
              <a:cs typeface="Calibri Light"/>
            </a:endParaRPr>
          </a:p>
          <a:p>
            <a:pPr>
              <a:lnSpc>
                <a:spcPct val="100000"/>
              </a:lnSpc>
              <a:spcAft>
                <a:spcPts val="300"/>
              </a:spcAft>
              <a:buClr>
                <a:srgbClr val="A01441"/>
              </a:buClr>
              <a:defRPr/>
            </a:pPr>
            <a:r>
              <a:rPr lang="en-GB" sz="1300">
                <a:cs typeface="Calibri Light"/>
              </a:rPr>
              <a:t>Tyson Food</a:t>
            </a:r>
            <a:endParaRPr lang="de-DE" sz="1300">
              <a:cs typeface="Calibri Light"/>
            </a:endParaRPr>
          </a:p>
          <a:p>
            <a:pPr>
              <a:lnSpc>
                <a:spcPct val="100000"/>
              </a:lnSpc>
              <a:spcAft>
                <a:spcPts val="300"/>
              </a:spcAft>
              <a:buClr>
                <a:srgbClr val="A01441"/>
              </a:buClr>
              <a:defRPr/>
            </a:pPr>
            <a:r>
              <a:rPr lang="en-GB" sz="1300">
                <a:cs typeface="Calibri Light"/>
              </a:rPr>
              <a:t>Verizon</a:t>
            </a:r>
            <a:endParaRPr lang="de-DE" sz="1300">
              <a:cs typeface="Calibri Light"/>
            </a:endParaRPr>
          </a:p>
          <a:p>
            <a:pPr>
              <a:lnSpc>
                <a:spcPct val="100000"/>
              </a:lnSpc>
              <a:spcAft>
                <a:spcPts val="300"/>
              </a:spcAft>
              <a:buClr>
                <a:srgbClr val="A01441"/>
              </a:buClr>
              <a:defRPr/>
            </a:pPr>
            <a:r>
              <a:rPr lang="en-GB" sz="1300">
                <a:cs typeface="Calibri Light"/>
              </a:rPr>
              <a:t>Vodafone</a:t>
            </a:r>
            <a:endParaRPr lang="de-DE" sz="1300">
              <a:cs typeface="Calibri Light"/>
            </a:endParaRPr>
          </a:p>
          <a:p>
            <a:pPr>
              <a:lnSpc>
                <a:spcPct val="100000"/>
              </a:lnSpc>
              <a:spcAft>
                <a:spcPts val="300"/>
              </a:spcAft>
              <a:buClr>
                <a:srgbClr val="A01441"/>
              </a:buClr>
              <a:defRPr/>
            </a:pPr>
            <a:r>
              <a:rPr lang="en-GB" sz="1300">
                <a:cs typeface="Calibri Light"/>
              </a:rPr>
              <a:t>Zalando</a:t>
            </a:r>
            <a:endParaRPr lang="de-DE" sz="1300">
              <a:cs typeface="Calibri Light"/>
            </a:endParaRPr>
          </a:p>
          <a:p>
            <a:pPr>
              <a:lnSpc>
                <a:spcPct val="100000"/>
              </a:lnSpc>
              <a:spcAft>
                <a:spcPts val="300"/>
              </a:spcAft>
              <a:buClr>
                <a:srgbClr val="A01441"/>
              </a:buClr>
              <a:defRPr/>
            </a:pPr>
            <a:endParaRPr lang="de-DE" sz="1300">
              <a:cs typeface="Calibri Light"/>
            </a:endParaRPr>
          </a:p>
        </p:txBody>
      </p:sp>
      <p:sp>
        <p:nvSpPr>
          <p:cNvPr id="20" name="Textplatzhalter 14">
            <a:extLst>
              <a:ext uri="{FF2B5EF4-FFF2-40B4-BE49-F238E27FC236}">
                <a16:creationId xmlns:a16="http://schemas.microsoft.com/office/drawing/2014/main" id="{409E0904-2E0A-0447-0743-9EE056B5C288}"/>
              </a:ext>
            </a:extLst>
          </p:cNvPr>
          <p:cNvSpPr txBox="1">
            <a:spLocks/>
          </p:cNvSpPr>
          <p:nvPr/>
        </p:nvSpPr>
        <p:spPr>
          <a:xfrm>
            <a:off x="9580469" y="2203773"/>
            <a:ext cx="2195513" cy="87562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undesministerium des Innern</a:t>
            </a:r>
            <a:endParaRPr lang="de-DE" sz="1300" u="none" strike="noStrike" kern="1200" cap="none" spc="0" normalizeH="0" baseline="0" noProof="0">
              <a:ln>
                <a:noFill/>
              </a:ln>
              <a:effectLst/>
              <a:uLnTx/>
              <a:uFillTx/>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Stadtwerke München</a:t>
            </a:r>
          </a:p>
          <a:p>
            <a:pPr marR="0" lvl="0" algn="l" defTabSz="914400" rtl="0" eaLnBrk="1" fontAlgn="auto" latinLnBrk="0" hangingPunct="1">
              <a:lnSpc>
                <a:spcPct val="95000"/>
              </a:lnSpc>
              <a:spcBef>
                <a:spcPts val="0"/>
              </a:spcBef>
              <a:spcAft>
                <a:spcPts val="300"/>
              </a:spcAft>
              <a:buClr>
                <a:srgbClr val="A01441"/>
              </a:buClr>
              <a:buSzTx/>
              <a:tabLst/>
              <a:defRPr/>
            </a:pPr>
            <a:r>
              <a:rPr lang="de-DE" sz="1300">
                <a:cs typeface="Calibri Light"/>
              </a:rPr>
              <a:t>ITZ Bund</a:t>
            </a:r>
          </a:p>
          <a:p>
            <a:pPr marR="0" lvl="0" algn="l" defTabSz="914400" rtl="0" eaLnBrk="1" fontAlgn="auto" latinLnBrk="0" hangingPunct="1">
              <a:lnSpc>
                <a:spcPct val="95000"/>
              </a:lnSpc>
              <a:spcBef>
                <a:spcPts val="0"/>
              </a:spcBef>
              <a:spcAft>
                <a:spcPts val="300"/>
              </a:spcAft>
              <a:buClr>
                <a:srgbClr val="A01441"/>
              </a:buClr>
              <a:buSzTx/>
              <a:tabLst/>
              <a:defRPr/>
            </a:pPr>
            <a:r>
              <a:rPr lang="de-DE" sz="1300" u="none" strike="noStrike" kern="1200" cap="none" spc="0" normalizeH="0" baseline="0" noProof="0">
                <a:ln>
                  <a:noFill/>
                </a:ln>
                <a:effectLst/>
                <a:uLnTx/>
                <a:uFillTx/>
                <a:cs typeface="Calibri Light"/>
              </a:rPr>
              <a:t>Bundesverwaltungsamt</a:t>
            </a:r>
          </a:p>
        </p:txBody>
      </p:sp>
      <p:cxnSp>
        <p:nvCxnSpPr>
          <p:cNvPr id="11" name="Gerade Verbindung 18">
            <a:extLst>
              <a:ext uri="{FF2B5EF4-FFF2-40B4-BE49-F238E27FC236}">
                <a16:creationId xmlns:a16="http://schemas.microsoft.com/office/drawing/2014/main" id="{062E1065-9C21-9B3F-4732-BDC815D96FB6}"/>
              </a:ext>
            </a:extLst>
          </p:cNvPr>
          <p:cNvCxnSpPr>
            <a:cxnSpLocks/>
          </p:cNvCxnSpPr>
          <p:nvPr/>
        </p:nvCxnSpPr>
        <p:spPr>
          <a:xfrm>
            <a:off x="6520300" y="2203773"/>
            <a:ext cx="0" cy="90564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F9750EAE-52C4-3464-DC1F-1A0F5289F65B}"/>
              </a:ext>
            </a:extLst>
          </p:cNvPr>
          <p:cNvSpPr txBox="1"/>
          <p:nvPr/>
        </p:nvSpPr>
        <p:spPr>
          <a:xfrm>
            <a:off x="6520299" y="1752416"/>
            <a:ext cx="2330244" cy="276999"/>
          </a:xfrm>
          <a:prstGeom prst="rect">
            <a:avLst/>
          </a:prstGeom>
        </p:spPr>
        <p:txBody>
          <a:bodyPr vert="horz" wrap="square" lIns="0" tIns="0" rIns="0" bIns="0" rtlCol="0">
            <a:spAutoFit/>
          </a:bodyPr>
          <a:lstStyle/>
          <a:p>
            <a:pPr algn="l"/>
            <a:r>
              <a:rPr lang="de-DE" sz="1800">
                <a:effectLst/>
                <a:latin typeface="Segoe UI" panose="020B0502040204020203" pitchFamily="34" charset="0"/>
              </a:rPr>
              <a:t>Defense &amp; Aerospace</a:t>
            </a:r>
            <a:endParaRPr lang="de-DE"/>
          </a:p>
        </p:txBody>
      </p:sp>
      <p:sp>
        <p:nvSpPr>
          <p:cNvPr id="23" name="Textplatzhalter 14">
            <a:extLst>
              <a:ext uri="{FF2B5EF4-FFF2-40B4-BE49-F238E27FC236}">
                <a16:creationId xmlns:a16="http://schemas.microsoft.com/office/drawing/2014/main" id="{C6AA4197-EB8D-8BE7-E793-518B920864C7}"/>
              </a:ext>
            </a:extLst>
          </p:cNvPr>
          <p:cNvSpPr txBox="1">
            <a:spLocks/>
          </p:cNvSpPr>
          <p:nvPr/>
        </p:nvSpPr>
        <p:spPr>
          <a:xfrm>
            <a:off x="6631304" y="2203773"/>
            <a:ext cx="2195513" cy="87562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dirty="0">
                <a:ln>
                  <a:noFill/>
                </a:ln>
                <a:effectLst/>
                <a:uLnTx/>
                <a:uFillTx/>
                <a:cs typeface="Calibri Light"/>
              </a:rPr>
              <a:t>Bundesamt für Ausrüstung,  Informationstechnik und   Nutzung der Bundeswehr</a:t>
            </a:r>
          </a:p>
          <a:p>
            <a:pPr marR="0" lvl="0" algn="l" defTabSz="914400" rtl="0" eaLnBrk="1" fontAlgn="auto" latinLnBrk="0" hangingPunct="1">
              <a:lnSpc>
                <a:spcPct val="95000"/>
              </a:lnSpc>
              <a:spcBef>
                <a:spcPts val="600"/>
              </a:spcBef>
              <a:spcAft>
                <a:spcPts val="300"/>
              </a:spcAft>
              <a:buClr>
                <a:srgbClr val="A01441"/>
              </a:buClr>
              <a:buSzTx/>
              <a:tabLst/>
              <a:defRPr/>
            </a:pPr>
            <a:r>
              <a:rPr kumimoji="0" lang="de-DE" sz="1300" u="none" strike="noStrike" kern="1200" cap="none" spc="0" normalizeH="0" baseline="0" noProof="0" dirty="0">
                <a:ln>
                  <a:noFill/>
                </a:ln>
                <a:effectLst/>
                <a:uLnTx/>
                <a:uFillTx/>
                <a:cs typeface="Calibri Light"/>
              </a:rPr>
              <a:t>BWI</a:t>
            </a:r>
            <a:endParaRPr lang="de-DE" sz="1300" u="none" strike="noStrike" kern="1200" cap="none" spc="0" normalizeH="0" baseline="0" noProof="0" dirty="0">
              <a:ln>
                <a:noFill/>
              </a:ln>
              <a:effectLst/>
              <a:uLnTx/>
              <a:uFillTx/>
              <a:cs typeface="Calibri Light"/>
            </a:endParaRPr>
          </a:p>
        </p:txBody>
      </p:sp>
    </p:spTree>
    <p:extLst>
      <p:ext uri="{BB962C8B-B14F-4D97-AF65-F5344CB8AC3E}">
        <p14:creationId xmlns:p14="http://schemas.microsoft.com/office/powerpoint/2010/main" val="3135532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Bildplatzhalter 28">
            <a:extLst>
              <a:ext uri="{FF2B5EF4-FFF2-40B4-BE49-F238E27FC236}">
                <a16:creationId xmlns:a16="http://schemas.microsoft.com/office/drawing/2014/main" id="{44E3A62E-058B-21E7-D579-0B44ABDA4935}"/>
              </a:ext>
            </a:extLst>
          </p:cNvPr>
          <p:cNvPicPr>
            <a:picLocks noGrp="1" noChangeAspect="1"/>
          </p:cNvPicPr>
          <p:nvPr>
            <p:ph type="pic" sz="quarter" idx="11"/>
          </p:nvPr>
        </p:nvPicPr>
        <p:blipFill>
          <a:blip r:embed="rId4"/>
          <a:srcRect/>
          <a:stretch/>
        </p:blipFill>
        <p:spPr bwMode="gray"/>
      </p:pic>
      <p:sp>
        <p:nvSpPr>
          <p:cNvPr id="5" name="Titel 4">
            <a:extLst>
              <a:ext uri="{FF2B5EF4-FFF2-40B4-BE49-F238E27FC236}">
                <a16:creationId xmlns:a16="http://schemas.microsoft.com/office/drawing/2014/main" id="{009FACD8-4C64-3FF7-D33B-96630C5B0616}"/>
              </a:ext>
            </a:extLst>
          </p:cNvPr>
          <p:cNvSpPr>
            <a:spLocks noGrp="1"/>
          </p:cNvSpPr>
          <p:nvPr>
            <p:ph type="ctrTitle"/>
          </p:nvPr>
        </p:nvSpPr>
        <p:spPr bwMode="gray"/>
        <p:txBody>
          <a:bodyPr vert="horz"/>
          <a:lstStyle/>
          <a:p>
            <a:r>
              <a:rPr lang="de-DE" err="1"/>
              <a:t>Let’s</a:t>
            </a:r>
            <a:r>
              <a:rPr lang="de-DE"/>
              <a:t> </a:t>
            </a:r>
            <a:r>
              <a:rPr lang="de-DE" err="1"/>
              <a:t>talk</a:t>
            </a:r>
            <a:r>
              <a:rPr lang="de-DE"/>
              <a:t> digital!</a:t>
            </a:r>
          </a:p>
        </p:txBody>
      </p:sp>
      <p:sp>
        <p:nvSpPr>
          <p:cNvPr id="10" name="Textplatzhalter 9">
            <a:extLst>
              <a:ext uri="{FF2B5EF4-FFF2-40B4-BE49-F238E27FC236}">
                <a16:creationId xmlns:a16="http://schemas.microsoft.com/office/drawing/2014/main" id="{380FF3E9-2368-3A11-131D-8D4B99ACEB58}"/>
              </a:ext>
            </a:extLst>
          </p:cNvPr>
          <p:cNvSpPr>
            <a:spLocks noGrp="1"/>
          </p:cNvSpPr>
          <p:nvPr>
            <p:ph type="body" sz="quarter" idx="12"/>
          </p:nvPr>
        </p:nvSpPr>
        <p:spPr/>
        <p:txBody>
          <a:bodyPr/>
          <a:lstStyle/>
          <a:p>
            <a:endParaRPr lang="de-DE"/>
          </a:p>
        </p:txBody>
      </p:sp>
      <p:graphicFrame>
        <p:nvGraphicFramePr>
          <p:cNvPr id="4" name="think-cell data - do not delete" hidden="1">
            <a:extLst>
              <a:ext uri="{FF2B5EF4-FFF2-40B4-BE49-F238E27FC236}">
                <a16:creationId xmlns:a16="http://schemas.microsoft.com/office/drawing/2014/main" id="{6C839AAB-A8E4-0464-2FB3-DAC78F7C43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4" name="think-cell data - do not delete" hidden="1">
                        <a:extLst>
                          <a:ext uri="{FF2B5EF4-FFF2-40B4-BE49-F238E27FC236}">
                            <a16:creationId xmlns:a16="http://schemas.microsoft.com/office/drawing/2014/main" id="{6C839AAB-A8E4-0464-2FB3-DAC78F7C43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extplatzhalter 18">
            <a:extLst>
              <a:ext uri="{FF2B5EF4-FFF2-40B4-BE49-F238E27FC236}">
                <a16:creationId xmlns:a16="http://schemas.microsoft.com/office/drawing/2014/main" id="{F33769D4-0898-337E-7C35-BF1D7C6C0448}"/>
              </a:ext>
            </a:extLst>
          </p:cNvPr>
          <p:cNvSpPr txBox="1">
            <a:spLocks/>
          </p:cNvSpPr>
          <p:nvPr/>
        </p:nvSpPr>
        <p:spPr bwMode="gray">
          <a:xfrm>
            <a:off x="2082801" y="4583807"/>
            <a:ext cx="6426200" cy="369332"/>
          </a:xfrm>
          <a:prstGeom prst="rect">
            <a:avLst/>
          </a:prstGeom>
          <a:noFill/>
        </p:spPr>
        <p:txBody>
          <a:bodyPr vert="horz" wrap="square" lIns="0" tIns="0" rIns="0" bIns="0" rtlCol="0" anchor="t">
            <a:noAutofit/>
          </a:bodyPr>
          <a:lstStyle>
            <a:lvl1pPr marL="0" indent="0" algn="l" defTabSz="914400" rtl="0" eaLnBrk="1" latinLnBrk="0" hangingPunct="1">
              <a:lnSpc>
                <a:spcPct val="100000"/>
              </a:lnSpc>
              <a:spcBef>
                <a:spcPts val="0"/>
              </a:spcBef>
              <a:spcAft>
                <a:spcPts val="600"/>
              </a:spcAft>
              <a:buFont typeface="Wingdings" panose="05000000000000000000" pitchFamily="2" charset="2"/>
              <a:buNone/>
              <a:defRPr sz="2400" b="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9pPr>
          </a:lstStyle>
          <a:p>
            <a:r>
              <a:rPr lang="de-DE"/>
              <a:t>Business Transformation nachhaltig denken</a:t>
            </a:r>
          </a:p>
        </p:txBody>
      </p:sp>
      <p:sp>
        <p:nvSpPr>
          <p:cNvPr id="12" name="Textfeld 11">
            <a:extLst>
              <a:ext uri="{FF2B5EF4-FFF2-40B4-BE49-F238E27FC236}">
                <a16:creationId xmlns:a16="http://schemas.microsoft.com/office/drawing/2014/main" id="{302D105A-2358-11B8-0628-E6508DF018B3}"/>
              </a:ext>
            </a:extLst>
          </p:cNvPr>
          <p:cNvSpPr txBox="1"/>
          <p:nvPr/>
        </p:nvSpPr>
        <p:spPr>
          <a:xfrm>
            <a:off x="2082800" y="5779723"/>
            <a:ext cx="3517899" cy="215444"/>
          </a:xfrm>
          <a:prstGeom prst="rect">
            <a:avLst/>
          </a:prstGeom>
        </p:spPr>
        <p:txBody>
          <a:bodyPr vert="horz" wrap="square" lIns="0" tIns="0" rIns="0" bIns="0" rtlCol="0" anchor="t">
            <a:spAutoFit/>
          </a:bodyPr>
          <a:lstStyle/>
          <a:p>
            <a:pPr algn="l"/>
            <a:r>
              <a:rPr lang="de-DE" sz="1400" dirty="0" err="1"/>
              <a:t>msg</a:t>
            </a:r>
            <a:r>
              <a:rPr lang="de-DE" sz="1400" dirty="0"/>
              <a:t>-Unternehmenspräsentation 2026</a:t>
            </a:r>
          </a:p>
        </p:txBody>
      </p:sp>
    </p:spTree>
    <p:extLst>
      <p:ext uri="{BB962C8B-B14F-4D97-AF65-F5344CB8AC3E}">
        <p14:creationId xmlns:p14="http://schemas.microsoft.com/office/powerpoint/2010/main" val="11204239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 name="Rechteck 217">
            <a:extLst>
              <a:ext uri="{FF2B5EF4-FFF2-40B4-BE49-F238E27FC236}">
                <a16:creationId xmlns:a16="http://schemas.microsoft.com/office/drawing/2014/main" id="{2F79F268-1DEF-19AC-0730-86ACEE0236FC}"/>
              </a:ext>
            </a:extLst>
          </p:cNvPr>
          <p:cNvSpPr/>
          <p:nvPr/>
        </p:nvSpPr>
        <p:spPr>
          <a:xfrm>
            <a:off x="598858"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32" name="Rechteck 31">
            <a:extLst>
              <a:ext uri="{FF2B5EF4-FFF2-40B4-BE49-F238E27FC236}">
                <a16:creationId xmlns:a16="http://schemas.microsoft.com/office/drawing/2014/main" id="{472BBB8D-A8E9-BC2E-5F88-B8282E77F15E}"/>
              </a:ext>
            </a:extLst>
          </p:cNvPr>
          <p:cNvSpPr/>
          <p:nvPr/>
        </p:nvSpPr>
        <p:spPr>
          <a:xfrm>
            <a:off x="3531160"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33" name="Rechteck 32">
            <a:extLst>
              <a:ext uri="{FF2B5EF4-FFF2-40B4-BE49-F238E27FC236}">
                <a16:creationId xmlns:a16="http://schemas.microsoft.com/office/drawing/2014/main" id="{FD7CBABB-48BC-0B98-A259-4B1B99149DF6}"/>
              </a:ext>
            </a:extLst>
          </p:cNvPr>
          <p:cNvSpPr/>
          <p:nvPr/>
        </p:nvSpPr>
        <p:spPr>
          <a:xfrm>
            <a:off x="6428663"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34" name="Rechteck 33">
            <a:extLst>
              <a:ext uri="{FF2B5EF4-FFF2-40B4-BE49-F238E27FC236}">
                <a16:creationId xmlns:a16="http://schemas.microsoft.com/office/drawing/2014/main" id="{FC949338-DBEE-4362-9B16-7F993D3FB2F1}"/>
              </a:ext>
            </a:extLst>
          </p:cNvPr>
          <p:cNvSpPr/>
          <p:nvPr/>
        </p:nvSpPr>
        <p:spPr>
          <a:xfrm>
            <a:off x="9326166"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12" name="Kreis: nicht ausgefüllt 11">
            <a:extLst>
              <a:ext uri="{FF2B5EF4-FFF2-40B4-BE49-F238E27FC236}">
                <a16:creationId xmlns:a16="http://schemas.microsoft.com/office/drawing/2014/main" id="{86C251CE-0125-2C6C-4598-75D40BD12DDD}"/>
              </a:ext>
            </a:extLst>
          </p:cNvPr>
          <p:cNvSpPr/>
          <p:nvPr/>
        </p:nvSpPr>
        <p:spPr>
          <a:xfrm>
            <a:off x="4094752" y="2424393"/>
            <a:ext cx="1356318" cy="1356318"/>
          </a:xfrm>
          <a:prstGeom prst="donut">
            <a:avLst>
              <a:gd name="adj" fmla="val 4944"/>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 name="Kreis: nicht ausgefüllt 1">
            <a:extLst>
              <a:ext uri="{FF2B5EF4-FFF2-40B4-BE49-F238E27FC236}">
                <a16:creationId xmlns:a16="http://schemas.microsoft.com/office/drawing/2014/main" id="{11C7DF8F-512F-6B58-5163-CFE3D25D09DE}"/>
              </a:ext>
            </a:extLst>
          </p:cNvPr>
          <p:cNvSpPr/>
          <p:nvPr/>
        </p:nvSpPr>
        <p:spPr>
          <a:xfrm>
            <a:off x="1215266" y="2424393"/>
            <a:ext cx="1356318" cy="1356318"/>
          </a:xfrm>
          <a:prstGeom prst="donut">
            <a:avLst>
              <a:gd name="adj" fmla="val 4944"/>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35" name="Kreis: nicht ausgefüllt 34">
            <a:extLst>
              <a:ext uri="{FF2B5EF4-FFF2-40B4-BE49-F238E27FC236}">
                <a16:creationId xmlns:a16="http://schemas.microsoft.com/office/drawing/2014/main" id="{0832BFD6-C261-60C2-27B6-B396182145CE}"/>
              </a:ext>
            </a:extLst>
          </p:cNvPr>
          <p:cNvSpPr/>
          <p:nvPr/>
        </p:nvSpPr>
        <p:spPr>
          <a:xfrm>
            <a:off x="7000769" y="2424393"/>
            <a:ext cx="1356318" cy="1356318"/>
          </a:xfrm>
          <a:prstGeom prst="donut">
            <a:avLst>
              <a:gd name="adj" fmla="val 4944"/>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36" name="Kreis: nicht ausgefüllt 35">
            <a:extLst>
              <a:ext uri="{FF2B5EF4-FFF2-40B4-BE49-F238E27FC236}">
                <a16:creationId xmlns:a16="http://schemas.microsoft.com/office/drawing/2014/main" id="{B44A8594-F89E-D26F-B438-587CB3782B74}"/>
              </a:ext>
            </a:extLst>
          </p:cNvPr>
          <p:cNvSpPr/>
          <p:nvPr/>
        </p:nvSpPr>
        <p:spPr>
          <a:xfrm>
            <a:off x="9908007" y="2424393"/>
            <a:ext cx="1356318" cy="1356318"/>
          </a:xfrm>
          <a:prstGeom prst="donut">
            <a:avLst>
              <a:gd name="adj" fmla="val 4944"/>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62" name="Grafik 61" descr="Ein Bild, das Kreis, Farbigkeit, Astronomie enthält.&#10;&#10;Automatisch generierte Beschreibung">
            <a:extLst>
              <a:ext uri="{FF2B5EF4-FFF2-40B4-BE49-F238E27FC236}">
                <a16:creationId xmlns:a16="http://schemas.microsoft.com/office/drawing/2014/main" id="{17D71FD3-E564-9E36-D691-148F3B4DB763}"/>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l="11269" t="11269" r="11269" b="11269"/>
          <a:stretch/>
        </p:blipFill>
        <p:spPr>
          <a:xfrm>
            <a:off x="4237858" y="2540412"/>
            <a:ext cx="1076752" cy="1074740"/>
          </a:xfrm>
          <a:prstGeom prst="ellipse">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06" imgH="306" progId="TCLayout.ActiveDocument.1">
                  <p:embed/>
                </p:oleObj>
              </mc:Choice>
              <mc:Fallback>
                <p:oleObj name="think-cell Folie" r:id="rId6"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07F2802C-788C-188B-CC6A-DBD69220451A}"/>
              </a:ext>
            </a:extLst>
          </p:cNvPr>
          <p:cNvSpPr>
            <a:spLocks noGrp="1"/>
          </p:cNvSpPr>
          <p:nvPr>
            <p:ph type="body" sz="quarter" idx="12"/>
          </p:nvPr>
        </p:nvSpPr>
        <p:spPr/>
        <p:txBody>
          <a:bodyPr/>
          <a:lstStyle/>
          <a:p>
            <a:r>
              <a:rPr lang="de-DE"/>
              <a:t>Unsere Stärken, Ihre Vorteile</a:t>
            </a:r>
          </a:p>
        </p:txBody>
      </p:sp>
      <p:sp>
        <p:nvSpPr>
          <p:cNvPr id="3" name="Titel 2">
            <a:extLst>
              <a:ext uri="{FF2B5EF4-FFF2-40B4-BE49-F238E27FC236}">
                <a16:creationId xmlns:a16="http://schemas.microsoft.com/office/drawing/2014/main" id="{1C5966F0-C59B-3F77-9786-B2D9148532F7}"/>
              </a:ext>
            </a:extLst>
          </p:cNvPr>
          <p:cNvSpPr>
            <a:spLocks noGrp="1"/>
          </p:cNvSpPr>
          <p:nvPr>
            <p:ph type="title"/>
          </p:nvPr>
        </p:nvSpPr>
        <p:spPr/>
        <p:txBody>
          <a:bodyPr/>
          <a:lstStyle/>
          <a:p>
            <a:r>
              <a:rPr lang="de-DE" b="1" dirty="0"/>
              <a:t>Exzellente Beratung, ganzheitliche Lösungen und Services</a:t>
            </a:r>
            <a:br>
              <a:rPr lang="de-DE" dirty="0"/>
            </a:br>
            <a:r>
              <a:rPr lang="de-DE" dirty="0"/>
              <a:t>für Ihre digitale Business Transformation</a:t>
            </a:r>
          </a:p>
        </p:txBody>
      </p:sp>
      <p:sp>
        <p:nvSpPr>
          <p:cNvPr id="10" name="Fußzeilenplatzhalter 1">
            <a:extLst>
              <a:ext uri="{FF2B5EF4-FFF2-40B4-BE49-F238E27FC236}">
                <a16:creationId xmlns:a16="http://schemas.microsoft.com/office/drawing/2014/main" id="{B3340D5B-8EDD-212E-F103-0C58A276789D}"/>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30</a:t>
            </a:fld>
            <a:endParaRPr lang="de-DE"/>
          </a:p>
        </p:txBody>
      </p:sp>
      <p:sp>
        <p:nvSpPr>
          <p:cNvPr id="6" name="Textplatzhalter 14">
            <a:extLst>
              <a:ext uri="{FF2B5EF4-FFF2-40B4-BE49-F238E27FC236}">
                <a16:creationId xmlns:a16="http://schemas.microsoft.com/office/drawing/2014/main" id="{886970B6-4F6F-B219-33F0-A4FBA6833061}"/>
              </a:ext>
            </a:extLst>
          </p:cNvPr>
          <p:cNvSpPr txBox="1">
            <a:spLocks/>
          </p:cNvSpPr>
          <p:nvPr/>
        </p:nvSpPr>
        <p:spPr>
          <a:xfrm>
            <a:off x="3182907" y="1791457"/>
            <a:ext cx="6129979" cy="25648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b="1">
                <a:cs typeface="Calibri"/>
              </a:rPr>
              <a:t>Wir haben die passende Lösung für Ihre Anforderung.</a:t>
            </a:r>
            <a:endParaRPr lang="de-DE" b="1"/>
          </a:p>
        </p:txBody>
      </p:sp>
      <p:sp>
        <p:nvSpPr>
          <p:cNvPr id="211" name="Textplatzhalter 14">
            <a:extLst>
              <a:ext uri="{FF2B5EF4-FFF2-40B4-BE49-F238E27FC236}">
                <a16:creationId xmlns:a16="http://schemas.microsoft.com/office/drawing/2014/main" id="{93F6D54B-1FB6-9EA4-D4D6-2DD3D5C116E3}"/>
              </a:ext>
            </a:extLst>
          </p:cNvPr>
          <p:cNvSpPr txBox="1">
            <a:spLocks/>
          </p:cNvSpPr>
          <p:nvPr/>
        </p:nvSpPr>
        <p:spPr>
          <a:xfrm>
            <a:off x="623888" y="4528534"/>
            <a:ext cx="2529769" cy="1384995"/>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a:solidFill>
                  <a:schemeClr val="accent1"/>
                </a:solidFill>
                <a:cs typeface="Calibri"/>
              </a:rPr>
              <a:t>Effizient und </a:t>
            </a:r>
          </a:p>
          <a:p>
            <a:pPr algn="ctr">
              <a:lnSpc>
                <a:spcPct val="100000"/>
              </a:lnSpc>
            </a:pPr>
            <a:r>
              <a:rPr lang="de-DE" b="1">
                <a:solidFill>
                  <a:schemeClr val="accent1"/>
                </a:solidFill>
                <a:cs typeface="Calibri"/>
              </a:rPr>
              <a:t>durchdacht</a:t>
            </a:r>
            <a:br>
              <a:rPr lang="de-DE">
                <a:solidFill>
                  <a:schemeClr val="accent1"/>
                </a:solidFill>
                <a:cs typeface="Calibri"/>
              </a:rPr>
            </a:br>
            <a:endParaRPr lang="de-DE">
              <a:solidFill>
                <a:schemeClr val="accent1"/>
              </a:solidFill>
              <a:cs typeface="Calibri"/>
            </a:endParaRPr>
          </a:p>
          <a:p>
            <a:pPr algn="ctr">
              <a:lnSpc>
                <a:spcPct val="100000"/>
              </a:lnSpc>
            </a:pPr>
            <a:r>
              <a:rPr lang="de-DE" sz="1200">
                <a:cs typeface="Calibri"/>
              </a:rPr>
              <a:t>Branchen-Know-how</a:t>
            </a:r>
            <a:br>
              <a:rPr lang="de-DE" sz="1200">
                <a:cs typeface="Calibri"/>
              </a:rPr>
            </a:br>
            <a:r>
              <a:rPr lang="de-DE" sz="1200">
                <a:cs typeface="Calibri"/>
              </a:rPr>
              <a:t> und IT-Kompetenz </a:t>
            </a:r>
            <a:br>
              <a:rPr lang="de-DE" sz="1200">
                <a:cs typeface="Calibri"/>
              </a:rPr>
            </a:br>
            <a:r>
              <a:rPr lang="de-DE" sz="1200">
                <a:cs typeface="Calibri"/>
              </a:rPr>
              <a:t>aus einer Hand</a:t>
            </a:r>
            <a:endParaRPr lang="de-DE"/>
          </a:p>
        </p:txBody>
      </p:sp>
      <p:sp>
        <p:nvSpPr>
          <p:cNvPr id="4" name="Textplatzhalter 14">
            <a:extLst>
              <a:ext uri="{FF2B5EF4-FFF2-40B4-BE49-F238E27FC236}">
                <a16:creationId xmlns:a16="http://schemas.microsoft.com/office/drawing/2014/main" id="{81DB096A-ACF4-2973-0CC8-8ADE738E0532}"/>
              </a:ext>
            </a:extLst>
          </p:cNvPr>
          <p:cNvSpPr txBox="1">
            <a:spLocks/>
          </p:cNvSpPr>
          <p:nvPr/>
        </p:nvSpPr>
        <p:spPr>
          <a:xfrm>
            <a:off x="3531160" y="4528534"/>
            <a:ext cx="2520000" cy="143783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a:solidFill>
                  <a:schemeClr val="accent1"/>
                </a:solidFill>
                <a:cs typeface="Calibri"/>
              </a:rPr>
              <a:t>Außergewöhnliche </a:t>
            </a:r>
          </a:p>
          <a:p>
            <a:pPr algn="ctr">
              <a:lnSpc>
                <a:spcPct val="100000"/>
              </a:lnSpc>
            </a:pPr>
            <a:r>
              <a:rPr lang="de-DE" b="1">
                <a:solidFill>
                  <a:schemeClr val="accent1"/>
                </a:solidFill>
                <a:cs typeface="Calibri"/>
              </a:rPr>
              <a:t>Unternehmenskultur</a:t>
            </a:r>
            <a:br>
              <a:rPr lang="de-DE" b="1">
                <a:solidFill>
                  <a:schemeClr val="accent1"/>
                </a:solidFill>
                <a:cs typeface="Calibri"/>
              </a:rPr>
            </a:br>
            <a:endParaRPr lang="de-DE" b="1">
              <a:solidFill>
                <a:schemeClr val="accent1"/>
              </a:solidFill>
              <a:cs typeface="Calibri"/>
            </a:endParaRPr>
          </a:p>
          <a:p>
            <a:pPr algn="ctr">
              <a:lnSpc>
                <a:spcPct val="100000"/>
              </a:lnSpc>
            </a:pPr>
            <a:r>
              <a:rPr lang="de-DE" sz="1200">
                <a:cs typeface="Calibri"/>
              </a:rPr>
              <a:t>Ausgezeichnet für </a:t>
            </a:r>
            <a:br>
              <a:rPr lang="de-DE" sz="1200">
                <a:cs typeface="Calibri"/>
              </a:rPr>
            </a:br>
            <a:r>
              <a:rPr lang="de-DE" sz="1200">
                <a:cs typeface="Calibri"/>
              </a:rPr>
              <a:t>höchste Motivation </a:t>
            </a:r>
          </a:p>
          <a:p>
            <a:pPr algn="ctr">
              <a:lnSpc>
                <a:spcPct val="100000"/>
              </a:lnSpc>
            </a:pPr>
            <a:r>
              <a:rPr lang="de-DE" sz="1200">
                <a:cs typeface="Calibri"/>
              </a:rPr>
              <a:t>und beste Ergebnisse </a:t>
            </a:r>
          </a:p>
        </p:txBody>
      </p:sp>
      <p:sp>
        <p:nvSpPr>
          <p:cNvPr id="7" name="Textplatzhalter 14">
            <a:extLst>
              <a:ext uri="{FF2B5EF4-FFF2-40B4-BE49-F238E27FC236}">
                <a16:creationId xmlns:a16="http://schemas.microsoft.com/office/drawing/2014/main" id="{B2896A97-8688-79A7-7AA3-E5DB9BACBE66}"/>
              </a:ext>
            </a:extLst>
          </p:cNvPr>
          <p:cNvSpPr txBox="1">
            <a:spLocks/>
          </p:cNvSpPr>
          <p:nvPr/>
        </p:nvSpPr>
        <p:spPr>
          <a:xfrm>
            <a:off x="6428663" y="4528534"/>
            <a:ext cx="2520000" cy="1355756"/>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a:solidFill>
                  <a:schemeClr val="accent1"/>
                </a:solidFill>
                <a:cs typeface="Calibri"/>
              </a:rPr>
              <a:t>End-</a:t>
            </a:r>
            <a:r>
              <a:rPr lang="de-DE" b="1" err="1">
                <a:solidFill>
                  <a:schemeClr val="accent1"/>
                </a:solidFill>
                <a:cs typeface="Calibri"/>
              </a:rPr>
              <a:t>to</a:t>
            </a:r>
            <a:r>
              <a:rPr lang="de-DE" b="1">
                <a:solidFill>
                  <a:schemeClr val="accent1"/>
                </a:solidFill>
                <a:cs typeface="Calibri"/>
              </a:rPr>
              <a:t>-End-</a:t>
            </a:r>
          </a:p>
          <a:p>
            <a:pPr algn="ctr">
              <a:lnSpc>
                <a:spcPct val="100000"/>
              </a:lnSpc>
            </a:pPr>
            <a:r>
              <a:rPr lang="de-DE" b="1">
                <a:solidFill>
                  <a:schemeClr val="accent1"/>
                </a:solidFill>
                <a:cs typeface="Calibri"/>
              </a:rPr>
              <a:t>Lösungen</a:t>
            </a:r>
          </a:p>
          <a:p>
            <a:pPr algn="ctr">
              <a:lnSpc>
                <a:spcPct val="100000"/>
              </a:lnSpc>
            </a:pPr>
            <a:endParaRPr lang="de-DE" sz="1400">
              <a:cs typeface="Calibri"/>
            </a:endParaRPr>
          </a:p>
          <a:p>
            <a:pPr algn="ctr">
              <a:lnSpc>
                <a:spcPct val="100000"/>
              </a:lnSpc>
            </a:pPr>
            <a:r>
              <a:rPr lang="de-DE" sz="1200">
                <a:cs typeface="Calibri"/>
              </a:rPr>
              <a:t>Betreuung von der Idee </a:t>
            </a:r>
            <a:endParaRPr lang="de-DE" sz="1200">
              <a:ea typeface="Calibri"/>
              <a:cs typeface="Calibri"/>
            </a:endParaRPr>
          </a:p>
          <a:p>
            <a:pPr algn="ctr">
              <a:lnSpc>
                <a:spcPct val="100000"/>
              </a:lnSpc>
            </a:pPr>
            <a:r>
              <a:rPr lang="de-DE" sz="1200">
                <a:cs typeface="Calibri"/>
              </a:rPr>
              <a:t>über die Implementierung </a:t>
            </a:r>
          </a:p>
          <a:p>
            <a:pPr algn="ctr">
              <a:lnSpc>
                <a:spcPct val="100000"/>
              </a:lnSpc>
            </a:pPr>
            <a:r>
              <a:rPr lang="de-DE" sz="1200">
                <a:cs typeface="Calibri"/>
              </a:rPr>
              <a:t>bis zum Betrieb und Wartung</a:t>
            </a:r>
          </a:p>
        </p:txBody>
      </p:sp>
      <p:sp>
        <p:nvSpPr>
          <p:cNvPr id="8" name="Textplatzhalter 14">
            <a:extLst>
              <a:ext uri="{FF2B5EF4-FFF2-40B4-BE49-F238E27FC236}">
                <a16:creationId xmlns:a16="http://schemas.microsoft.com/office/drawing/2014/main" id="{F32577BB-434B-520F-7E5A-A1753B94E54A}"/>
              </a:ext>
            </a:extLst>
          </p:cNvPr>
          <p:cNvSpPr txBox="1">
            <a:spLocks/>
          </p:cNvSpPr>
          <p:nvPr/>
        </p:nvSpPr>
        <p:spPr>
          <a:xfrm>
            <a:off x="9326166" y="4528534"/>
            <a:ext cx="2530872" cy="1355756"/>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a:solidFill>
                  <a:schemeClr val="accent1"/>
                </a:solidFill>
                <a:cs typeface="Calibri"/>
              </a:rPr>
              <a:t>Smartes </a:t>
            </a:r>
          </a:p>
          <a:p>
            <a:pPr algn="ctr">
              <a:lnSpc>
                <a:spcPct val="100000"/>
              </a:lnSpc>
            </a:pPr>
            <a:r>
              <a:rPr lang="de-DE" b="1">
                <a:solidFill>
                  <a:schemeClr val="accent1"/>
                </a:solidFill>
                <a:cs typeface="Calibri"/>
              </a:rPr>
              <a:t>Leistungsportfolio </a:t>
            </a:r>
          </a:p>
          <a:p>
            <a:pPr algn="ctr">
              <a:lnSpc>
                <a:spcPct val="100000"/>
              </a:lnSpc>
            </a:pPr>
            <a:endParaRPr lang="de-DE" sz="1400">
              <a:cs typeface="Calibri"/>
            </a:endParaRPr>
          </a:p>
          <a:p>
            <a:pPr algn="ctr">
              <a:lnSpc>
                <a:spcPct val="100000"/>
              </a:lnSpc>
            </a:pPr>
            <a:r>
              <a:rPr lang="de-DE" sz="1200">
                <a:cs typeface="Calibri"/>
              </a:rPr>
              <a:t>Intelligente Lösungen </a:t>
            </a:r>
          </a:p>
          <a:p>
            <a:pPr algn="ctr">
              <a:lnSpc>
                <a:spcPct val="100000"/>
              </a:lnSpc>
            </a:pPr>
            <a:r>
              <a:rPr lang="de-DE" sz="1200">
                <a:cs typeface="Calibri"/>
              </a:rPr>
              <a:t>und Anwendungen</a:t>
            </a:r>
          </a:p>
          <a:p>
            <a:pPr algn="ctr">
              <a:lnSpc>
                <a:spcPct val="100000"/>
              </a:lnSpc>
            </a:pPr>
            <a:r>
              <a:rPr lang="de-DE" sz="1200">
                <a:cs typeface="Calibri"/>
              </a:rPr>
              <a:t> für Ihre Digitalisierung</a:t>
            </a:r>
          </a:p>
        </p:txBody>
      </p:sp>
      <p:sp>
        <p:nvSpPr>
          <p:cNvPr id="16" name="Textplatzhalter 14">
            <a:extLst>
              <a:ext uri="{FF2B5EF4-FFF2-40B4-BE49-F238E27FC236}">
                <a16:creationId xmlns:a16="http://schemas.microsoft.com/office/drawing/2014/main" id="{B73F310A-2A4F-B287-FD1D-F6A1C1F8F349}"/>
              </a:ext>
            </a:extLst>
          </p:cNvPr>
          <p:cNvSpPr txBox="1">
            <a:spLocks/>
          </p:cNvSpPr>
          <p:nvPr/>
        </p:nvSpPr>
        <p:spPr>
          <a:xfrm>
            <a:off x="1257480" y="2753872"/>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a:solidFill>
                  <a:schemeClr val="accent1"/>
                </a:solidFill>
                <a:cs typeface="Calibri"/>
              </a:rPr>
              <a:t>01</a:t>
            </a:r>
          </a:p>
        </p:txBody>
      </p:sp>
      <p:grpSp>
        <p:nvGrpSpPr>
          <p:cNvPr id="22" name="Gruppieren 21">
            <a:extLst>
              <a:ext uri="{FF2B5EF4-FFF2-40B4-BE49-F238E27FC236}">
                <a16:creationId xmlns:a16="http://schemas.microsoft.com/office/drawing/2014/main" id="{FBED83A8-814B-1DE9-E67D-73B6B6E42856}"/>
              </a:ext>
            </a:extLst>
          </p:cNvPr>
          <p:cNvGrpSpPr/>
          <p:nvPr/>
        </p:nvGrpSpPr>
        <p:grpSpPr>
          <a:xfrm>
            <a:off x="1613113" y="3064155"/>
            <a:ext cx="574314" cy="495098"/>
            <a:chOff x="3566465" y="2508616"/>
            <a:chExt cx="818285" cy="705417"/>
          </a:xfrm>
        </p:grpSpPr>
        <p:sp>
          <p:nvSpPr>
            <p:cNvPr id="23" name="Freihandform: Form 69">
              <a:extLst>
                <a:ext uri="{FF2B5EF4-FFF2-40B4-BE49-F238E27FC236}">
                  <a16:creationId xmlns:a16="http://schemas.microsoft.com/office/drawing/2014/main" id="{5C490C3A-3367-8281-E216-9F77D1D29401}"/>
                </a:ext>
              </a:extLst>
            </p:cNvPr>
            <p:cNvSpPr/>
            <p:nvPr/>
          </p:nvSpPr>
          <p:spPr>
            <a:xfrm>
              <a:off x="4159014" y="2677915"/>
              <a:ext cx="112867" cy="84652"/>
            </a:xfrm>
            <a:custGeom>
              <a:avLst/>
              <a:gdLst>
                <a:gd name="connsiteX0" fmla="*/ 112868 w 112867"/>
                <a:gd name="connsiteY0" fmla="*/ 0 h 84652"/>
                <a:gd name="connsiteX1" fmla="*/ 112868 w 112867"/>
                <a:gd name="connsiteY1" fmla="*/ 84653 h 84652"/>
                <a:gd name="connsiteX2" fmla="*/ 0 w 112867"/>
                <a:gd name="connsiteY2" fmla="*/ 84653 h 84652"/>
              </a:gdLst>
              <a:ahLst/>
              <a:cxnLst>
                <a:cxn ang="0">
                  <a:pos x="connsiteX0" y="connsiteY0"/>
                </a:cxn>
                <a:cxn ang="0">
                  <a:pos x="connsiteX1" y="connsiteY1"/>
                </a:cxn>
                <a:cxn ang="0">
                  <a:pos x="connsiteX2" y="connsiteY2"/>
                </a:cxn>
              </a:cxnLst>
              <a:rect l="l" t="t" r="r" b="b"/>
              <a:pathLst>
                <a:path w="112867" h="84652">
                  <a:moveTo>
                    <a:pt x="112868" y="0"/>
                  </a:moveTo>
                  <a:lnTo>
                    <a:pt x="112868" y="84653"/>
                  </a:lnTo>
                  <a:lnTo>
                    <a:pt x="0" y="84653"/>
                  </a:lnTo>
                </a:path>
              </a:pathLst>
            </a:custGeom>
            <a:noFill/>
            <a:ln w="9525" cap="rnd">
              <a:solidFill>
                <a:schemeClr val="tx2"/>
              </a:solidFill>
              <a:prstDash val="solid"/>
              <a:miter/>
            </a:ln>
          </p:spPr>
          <p:txBody>
            <a:bodyPr rtlCol="0" anchor="ctr"/>
            <a:lstStyle/>
            <a:p>
              <a:endParaRPr lang="de-DE"/>
            </a:p>
          </p:txBody>
        </p:sp>
        <p:sp>
          <p:nvSpPr>
            <p:cNvPr id="24" name="Freihandform: Form 70">
              <a:extLst>
                <a:ext uri="{FF2B5EF4-FFF2-40B4-BE49-F238E27FC236}">
                  <a16:creationId xmlns:a16="http://schemas.microsoft.com/office/drawing/2014/main" id="{BF96BCCC-47C4-D0A6-240C-AF2A67728297}"/>
                </a:ext>
              </a:extLst>
            </p:cNvPr>
            <p:cNvSpPr/>
            <p:nvPr/>
          </p:nvSpPr>
          <p:spPr>
            <a:xfrm>
              <a:off x="4159014" y="2931866"/>
              <a:ext cx="112867" cy="84649"/>
            </a:xfrm>
            <a:custGeom>
              <a:avLst/>
              <a:gdLst>
                <a:gd name="connsiteX0" fmla="*/ 112868 w 112867"/>
                <a:gd name="connsiteY0" fmla="*/ 84649 h 84649"/>
                <a:gd name="connsiteX1" fmla="*/ 112868 w 112867"/>
                <a:gd name="connsiteY1" fmla="*/ 0 h 84649"/>
                <a:gd name="connsiteX2" fmla="*/ 0 w 112867"/>
                <a:gd name="connsiteY2" fmla="*/ 0 h 84649"/>
              </a:gdLst>
              <a:ahLst/>
              <a:cxnLst>
                <a:cxn ang="0">
                  <a:pos x="connsiteX0" y="connsiteY0"/>
                </a:cxn>
                <a:cxn ang="0">
                  <a:pos x="connsiteX1" y="connsiteY1"/>
                </a:cxn>
                <a:cxn ang="0">
                  <a:pos x="connsiteX2" y="connsiteY2"/>
                </a:cxn>
              </a:cxnLst>
              <a:rect l="l" t="t" r="r" b="b"/>
              <a:pathLst>
                <a:path w="112867" h="84649">
                  <a:moveTo>
                    <a:pt x="112868" y="84649"/>
                  </a:moveTo>
                  <a:lnTo>
                    <a:pt x="112868" y="0"/>
                  </a:lnTo>
                  <a:lnTo>
                    <a:pt x="0" y="0"/>
                  </a:lnTo>
                </a:path>
              </a:pathLst>
            </a:custGeom>
            <a:noFill/>
            <a:ln w="9525" cap="rnd">
              <a:solidFill>
                <a:schemeClr val="tx2"/>
              </a:solidFill>
              <a:prstDash val="solid"/>
              <a:miter/>
            </a:ln>
          </p:spPr>
          <p:txBody>
            <a:bodyPr rtlCol="0" anchor="ctr"/>
            <a:lstStyle/>
            <a:p>
              <a:endParaRPr lang="de-DE"/>
            </a:p>
          </p:txBody>
        </p:sp>
        <p:sp>
          <p:nvSpPr>
            <p:cNvPr id="25" name="Freihandform: Form 71">
              <a:extLst>
                <a:ext uri="{FF2B5EF4-FFF2-40B4-BE49-F238E27FC236}">
                  <a16:creationId xmlns:a16="http://schemas.microsoft.com/office/drawing/2014/main" id="{CC1A4C2A-DE36-00E6-3451-920F4C576559}"/>
                </a:ext>
              </a:extLst>
            </p:cNvPr>
            <p:cNvSpPr/>
            <p:nvPr/>
          </p:nvSpPr>
          <p:spPr>
            <a:xfrm>
              <a:off x="4017931" y="3044731"/>
              <a:ext cx="84649" cy="126975"/>
            </a:xfrm>
            <a:custGeom>
              <a:avLst/>
              <a:gdLst>
                <a:gd name="connsiteX0" fmla="*/ 0 w 84649"/>
                <a:gd name="connsiteY0" fmla="*/ 0 h 126975"/>
                <a:gd name="connsiteX1" fmla="*/ 0 w 84649"/>
                <a:gd name="connsiteY1" fmla="*/ 126976 h 126975"/>
                <a:gd name="connsiteX2" fmla="*/ 84649 w 84649"/>
                <a:gd name="connsiteY2" fmla="*/ 126976 h 126975"/>
              </a:gdLst>
              <a:ahLst/>
              <a:cxnLst>
                <a:cxn ang="0">
                  <a:pos x="connsiteX0" y="connsiteY0"/>
                </a:cxn>
                <a:cxn ang="0">
                  <a:pos x="connsiteX1" y="connsiteY1"/>
                </a:cxn>
                <a:cxn ang="0">
                  <a:pos x="connsiteX2" y="connsiteY2"/>
                </a:cxn>
              </a:cxnLst>
              <a:rect l="l" t="t" r="r" b="b"/>
              <a:pathLst>
                <a:path w="84649" h="126975">
                  <a:moveTo>
                    <a:pt x="0" y="0"/>
                  </a:moveTo>
                  <a:lnTo>
                    <a:pt x="0" y="126976"/>
                  </a:lnTo>
                  <a:lnTo>
                    <a:pt x="84649" y="126976"/>
                  </a:lnTo>
                </a:path>
              </a:pathLst>
            </a:custGeom>
            <a:noFill/>
            <a:ln w="9525" cap="rnd">
              <a:solidFill>
                <a:schemeClr val="tx2"/>
              </a:solidFill>
              <a:prstDash val="solid"/>
              <a:miter/>
            </a:ln>
          </p:spPr>
          <p:txBody>
            <a:bodyPr rtlCol="0" anchor="ctr"/>
            <a:lstStyle/>
            <a:p>
              <a:endParaRPr lang="de-DE"/>
            </a:p>
          </p:txBody>
        </p:sp>
        <p:sp>
          <p:nvSpPr>
            <p:cNvPr id="26" name="Freihandform: Form 72">
              <a:extLst>
                <a:ext uri="{FF2B5EF4-FFF2-40B4-BE49-F238E27FC236}">
                  <a16:creationId xmlns:a16="http://schemas.microsoft.com/office/drawing/2014/main" id="{890DC072-F1C6-A51E-D463-533C9379DA94}"/>
                </a:ext>
              </a:extLst>
            </p:cNvPr>
            <p:cNvSpPr/>
            <p:nvPr/>
          </p:nvSpPr>
          <p:spPr>
            <a:xfrm>
              <a:off x="4159014" y="2847217"/>
              <a:ext cx="141083" cy="313"/>
            </a:xfrm>
            <a:custGeom>
              <a:avLst/>
              <a:gdLst>
                <a:gd name="connsiteX0" fmla="*/ 0 w 141083"/>
                <a:gd name="connsiteY0" fmla="*/ 0 h 313"/>
                <a:gd name="connsiteX1" fmla="*/ 141083 w 141083"/>
                <a:gd name="connsiteY1" fmla="*/ 0 h 313"/>
              </a:gdLst>
              <a:ahLst/>
              <a:cxnLst>
                <a:cxn ang="0">
                  <a:pos x="connsiteX0" y="connsiteY0"/>
                </a:cxn>
                <a:cxn ang="0">
                  <a:pos x="connsiteX1" y="connsiteY1"/>
                </a:cxn>
              </a:cxnLst>
              <a:rect l="l" t="t" r="r" b="b"/>
              <a:pathLst>
                <a:path w="141083" h="313">
                  <a:moveTo>
                    <a:pt x="0" y="0"/>
                  </a:moveTo>
                  <a:lnTo>
                    <a:pt x="141083" y="0"/>
                  </a:lnTo>
                </a:path>
              </a:pathLst>
            </a:custGeom>
            <a:ln w="9525" cap="rnd">
              <a:solidFill>
                <a:schemeClr val="tx2"/>
              </a:solidFill>
              <a:prstDash val="solid"/>
              <a:miter/>
            </a:ln>
          </p:spPr>
          <p:txBody>
            <a:bodyPr rtlCol="0" anchor="ctr"/>
            <a:lstStyle/>
            <a:p>
              <a:endParaRPr lang="de-DE"/>
            </a:p>
          </p:txBody>
        </p:sp>
        <p:sp>
          <p:nvSpPr>
            <p:cNvPr id="27" name="Freihandform: Form 77">
              <a:extLst>
                <a:ext uri="{FF2B5EF4-FFF2-40B4-BE49-F238E27FC236}">
                  <a16:creationId xmlns:a16="http://schemas.microsoft.com/office/drawing/2014/main" id="{9C02E7D3-C06B-AA8B-8D96-69920A7AE517}"/>
                </a:ext>
              </a:extLst>
            </p:cNvPr>
            <p:cNvSpPr/>
            <p:nvPr/>
          </p:nvSpPr>
          <p:spPr>
            <a:xfrm>
              <a:off x="3679333" y="2677915"/>
              <a:ext cx="112864" cy="84652"/>
            </a:xfrm>
            <a:custGeom>
              <a:avLst/>
              <a:gdLst>
                <a:gd name="connsiteX0" fmla="*/ 0 w 112864"/>
                <a:gd name="connsiteY0" fmla="*/ 0 h 84652"/>
                <a:gd name="connsiteX1" fmla="*/ 0 w 112864"/>
                <a:gd name="connsiteY1" fmla="*/ 84653 h 84652"/>
                <a:gd name="connsiteX2" fmla="*/ 112865 w 112864"/>
                <a:gd name="connsiteY2" fmla="*/ 84653 h 84652"/>
              </a:gdLst>
              <a:ahLst/>
              <a:cxnLst>
                <a:cxn ang="0">
                  <a:pos x="connsiteX0" y="connsiteY0"/>
                </a:cxn>
                <a:cxn ang="0">
                  <a:pos x="connsiteX1" y="connsiteY1"/>
                </a:cxn>
                <a:cxn ang="0">
                  <a:pos x="connsiteX2" y="connsiteY2"/>
                </a:cxn>
              </a:cxnLst>
              <a:rect l="l" t="t" r="r" b="b"/>
              <a:pathLst>
                <a:path w="112864" h="84652">
                  <a:moveTo>
                    <a:pt x="0" y="0"/>
                  </a:moveTo>
                  <a:lnTo>
                    <a:pt x="0" y="84653"/>
                  </a:lnTo>
                  <a:lnTo>
                    <a:pt x="112865" y="84653"/>
                  </a:lnTo>
                </a:path>
              </a:pathLst>
            </a:custGeom>
            <a:noFill/>
            <a:ln w="9525" cap="rnd">
              <a:solidFill>
                <a:schemeClr val="tx2"/>
              </a:solidFill>
              <a:prstDash val="solid"/>
              <a:miter/>
            </a:ln>
          </p:spPr>
          <p:txBody>
            <a:bodyPr rtlCol="0" anchor="ctr"/>
            <a:lstStyle/>
            <a:p>
              <a:endParaRPr lang="de-DE"/>
            </a:p>
          </p:txBody>
        </p:sp>
        <p:sp>
          <p:nvSpPr>
            <p:cNvPr id="28" name="Freihandform: Form 78">
              <a:extLst>
                <a:ext uri="{FF2B5EF4-FFF2-40B4-BE49-F238E27FC236}">
                  <a16:creationId xmlns:a16="http://schemas.microsoft.com/office/drawing/2014/main" id="{22987D70-FCE6-00CD-4707-0CBE5518F393}"/>
                </a:ext>
              </a:extLst>
            </p:cNvPr>
            <p:cNvSpPr/>
            <p:nvPr/>
          </p:nvSpPr>
          <p:spPr>
            <a:xfrm>
              <a:off x="3679333" y="2931866"/>
              <a:ext cx="112864" cy="84649"/>
            </a:xfrm>
            <a:custGeom>
              <a:avLst/>
              <a:gdLst>
                <a:gd name="connsiteX0" fmla="*/ 0 w 112864"/>
                <a:gd name="connsiteY0" fmla="*/ 84649 h 84649"/>
                <a:gd name="connsiteX1" fmla="*/ 0 w 112864"/>
                <a:gd name="connsiteY1" fmla="*/ 0 h 84649"/>
                <a:gd name="connsiteX2" fmla="*/ 112865 w 112864"/>
                <a:gd name="connsiteY2" fmla="*/ 0 h 84649"/>
              </a:gdLst>
              <a:ahLst/>
              <a:cxnLst>
                <a:cxn ang="0">
                  <a:pos x="connsiteX0" y="connsiteY0"/>
                </a:cxn>
                <a:cxn ang="0">
                  <a:pos x="connsiteX1" y="connsiteY1"/>
                </a:cxn>
                <a:cxn ang="0">
                  <a:pos x="connsiteX2" y="connsiteY2"/>
                </a:cxn>
              </a:cxnLst>
              <a:rect l="l" t="t" r="r" b="b"/>
              <a:pathLst>
                <a:path w="112864" h="84649">
                  <a:moveTo>
                    <a:pt x="0" y="84649"/>
                  </a:moveTo>
                  <a:lnTo>
                    <a:pt x="0" y="0"/>
                  </a:lnTo>
                  <a:lnTo>
                    <a:pt x="112865" y="0"/>
                  </a:lnTo>
                </a:path>
              </a:pathLst>
            </a:custGeom>
            <a:noFill/>
            <a:ln w="9525" cap="rnd">
              <a:solidFill>
                <a:schemeClr val="tx2"/>
              </a:solidFill>
              <a:prstDash val="solid"/>
              <a:miter/>
            </a:ln>
          </p:spPr>
          <p:txBody>
            <a:bodyPr rtlCol="0" anchor="ctr"/>
            <a:lstStyle/>
            <a:p>
              <a:endParaRPr lang="de-DE"/>
            </a:p>
          </p:txBody>
        </p:sp>
        <p:sp>
          <p:nvSpPr>
            <p:cNvPr id="29" name="Freihandform: Form 79">
              <a:extLst>
                <a:ext uri="{FF2B5EF4-FFF2-40B4-BE49-F238E27FC236}">
                  <a16:creationId xmlns:a16="http://schemas.microsoft.com/office/drawing/2014/main" id="{C1D97D7A-2FC4-1BA5-CF63-E715F32E4A3F}"/>
                </a:ext>
              </a:extLst>
            </p:cNvPr>
            <p:cNvSpPr/>
            <p:nvPr/>
          </p:nvSpPr>
          <p:spPr>
            <a:xfrm>
              <a:off x="3848632" y="3044731"/>
              <a:ext cx="84649" cy="126975"/>
            </a:xfrm>
            <a:custGeom>
              <a:avLst/>
              <a:gdLst>
                <a:gd name="connsiteX0" fmla="*/ 84649 w 84649"/>
                <a:gd name="connsiteY0" fmla="*/ 0 h 126975"/>
                <a:gd name="connsiteX1" fmla="*/ 84649 w 84649"/>
                <a:gd name="connsiteY1" fmla="*/ 126976 h 126975"/>
                <a:gd name="connsiteX2" fmla="*/ 0 w 84649"/>
                <a:gd name="connsiteY2" fmla="*/ 126976 h 126975"/>
              </a:gdLst>
              <a:ahLst/>
              <a:cxnLst>
                <a:cxn ang="0">
                  <a:pos x="connsiteX0" y="connsiteY0"/>
                </a:cxn>
                <a:cxn ang="0">
                  <a:pos x="connsiteX1" y="connsiteY1"/>
                </a:cxn>
                <a:cxn ang="0">
                  <a:pos x="connsiteX2" y="connsiteY2"/>
                </a:cxn>
              </a:cxnLst>
              <a:rect l="l" t="t" r="r" b="b"/>
              <a:pathLst>
                <a:path w="84649" h="126975">
                  <a:moveTo>
                    <a:pt x="84649" y="0"/>
                  </a:moveTo>
                  <a:lnTo>
                    <a:pt x="84649" y="126976"/>
                  </a:lnTo>
                  <a:lnTo>
                    <a:pt x="0" y="126976"/>
                  </a:lnTo>
                </a:path>
              </a:pathLst>
            </a:custGeom>
            <a:noFill/>
            <a:ln w="9525" cap="rnd">
              <a:solidFill>
                <a:schemeClr val="tx2"/>
              </a:solidFill>
              <a:prstDash val="solid"/>
              <a:miter/>
            </a:ln>
          </p:spPr>
          <p:txBody>
            <a:bodyPr rtlCol="0" anchor="ctr"/>
            <a:lstStyle/>
            <a:p>
              <a:endParaRPr lang="de-DE"/>
            </a:p>
          </p:txBody>
        </p:sp>
        <p:sp>
          <p:nvSpPr>
            <p:cNvPr id="39" name="Freihandform: Form 81">
              <a:extLst>
                <a:ext uri="{FF2B5EF4-FFF2-40B4-BE49-F238E27FC236}">
                  <a16:creationId xmlns:a16="http://schemas.microsoft.com/office/drawing/2014/main" id="{9BA6EB46-E90B-3CA7-12CD-4EF53E1230BA}"/>
                </a:ext>
              </a:extLst>
            </p:cNvPr>
            <p:cNvSpPr/>
            <p:nvPr/>
          </p:nvSpPr>
          <p:spPr>
            <a:xfrm>
              <a:off x="4017931" y="2550942"/>
              <a:ext cx="84649" cy="126972"/>
            </a:xfrm>
            <a:custGeom>
              <a:avLst/>
              <a:gdLst>
                <a:gd name="connsiteX0" fmla="*/ 0 w 84649"/>
                <a:gd name="connsiteY0" fmla="*/ 126973 h 126972"/>
                <a:gd name="connsiteX1" fmla="*/ 0 w 84649"/>
                <a:gd name="connsiteY1" fmla="*/ 0 h 126972"/>
                <a:gd name="connsiteX2" fmla="*/ 84649 w 84649"/>
                <a:gd name="connsiteY2" fmla="*/ 0 h 126972"/>
              </a:gdLst>
              <a:ahLst/>
              <a:cxnLst>
                <a:cxn ang="0">
                  <a:pos x="connsiteX0" y="connsiteY0"/>
                </a:cxn>
                <a:cxn ang="0">
                  <a:pos x="connsiteX1" y="connsiteY1"/>
                </a:cxn>
                <a:cxn ang="0">
                  <a:pos x="connsiteX2" y="connsiteY2"/>
                </a:cxn>
              </a:cxnLst>
              <a:rect l="l" t="t" r="r" b="b"/>
              <a:pathLst>
                <a:path w="84649" h="126972">
                  <a:moveTo>
                    <a:pt x="0" y="126973"/>
                  </a:moveTo>
                  <a:lnTo>
                    <a:pt x="0" y="0"/>
                  </a:lnTo>
                  <a:lnTo>
                    <a:pt x="84649" y="0"/>
                  </a:lnTo>
                </a:path>
              </a:pathLst>
            </a:custGeom>
            <a:noFill/>
            <a:ln w="9525" cap="rnd">
              <a:solidFill>
                <a:schemeClr val="tx2"/>
              </a:solidFill>
              <a:prstDash val="solid"/>
              <a:miter/>
            </a:ln>
          </p:spPr>
          <p:txBody>
            <a:bodyPr rtlCol="0" anchor="ctr"/>
            <a:lstStyle/>
            <a:p>
              <a:endParaRPr lang="de-DE"/>
            </a:p>
          </p:txBody>
        </p:sp>
        <p:sp>
          <p:nvSpPr>
            <p:cNvPr id="40" name="Freihandform: Form 83">
              <a:extLst>
                <a:ext uri="{FF2B5EF4-FFF2-40B4-BE49-F238E27FC236}">
                  <a16:creationId xmlns:a16="http://schemas.microsoft.com/office/drawing/2014/main" id="{00E37FB0-6789-0A33-3263-B9EFD42014E6}"/>
                </a:ext>
              </a:extLst>
            </p:cNvPr>
            <p:cNvSpPr/>
            <p:nvPr/>
          </p:nvSpPr>
          <p:spPr>
            <a:xfrm>
              <a:off x="3848632" y="2550942"/>
              <a:ext cx="84649" cy="126972"/>
            </a:xfrm>
            <a:custGeom>
              <a:avLst/>
              <a:gdLst>
                <a:gd name="connsiteX0" fmla="*/ 84649 w 84649"/>
                <a:gd name="connsiteY0" fmla="*/ 126973 h 126972"/>
                <a:gd name="connsiteX1" fmla="*/ 84649 w 84649"/>
                <a:gd name="connsiteY1" fmla="*/ 0 h 126972"/>
                <a:gd name="connsiteX2" fmla="*/ 0 w 84649"/>
                <a:gd name="connsiteY2" fmla="*/ 0 h 126972"/>
              </a:gdLst>
              <a:ahLst/>
              <a:cxnLst>
                <a:cxn ang="0">
                  <a:pos x="connsiteX0" y="connsiteY0"/>
                </a:cxn>
                <a:cxn ang="0">
                  <a:pos x="connsiteX1" y="connsiteY1"/>
                </a:cxn>
                <a:cxn ang="0">
                  <a:pos x="connsiteX2" y="connsiteY2"/>
                </a:cxn>
              </a:cxnLst>
              <a:rect l="l" t="t" r="r" b="b"/>
              <a:pathLst>
                <a:path w="84649" h="126972">
                  <a:moveTo>
                    <a:pt x="84649" y="126973"/>
                  </a:moveTo>
                  <a:lnTo>
                    <a:pt x="84649" y="0"/>
                  </a:lnTo>
                  <a:lnTo>
                    <a:pt x="0" y="0"/>
                  </a:lnTo>
                </a:path>
              </a:pathLst>
            </a:custGeom>
            <a:noFill/>
            <a:ln w="9525" cap="rnd">
              <a:solidFill>
                <a:schemeClr val="tx2"/>
              </a:solidFill>
              <a:prstDash val="solid"/>
              <a:miter/>
            </a:ln>
          </p:spPr>
          <p:txBody>
            <a:bodyPr rtlCol="0" anchor="ctr"/>
            <a:lstStyle/>
            <a:p>
              <a:endParaRPr lang="de-DE"/>
            </a:p>
          </p:txBody>
        </p:sp>
        <p:sp>
          <p:nvSpPr>
            <p:cNvPr id="41" name="Freihandform: Form 84">
              <a:extLst>
                <a:ext uri="{FF2B5EF4-FFF2-40B4-BE49-F238E27FC236}">
                  <a16:creationId xmlns:a16="http://schemas.microsoft.com/office/drawing/2014/main" id="{8FF403CD-7EAB-110C-E0C7-A22C4C03C84E}"/>
                </a:ext>
              </a:extLst>
            </p:cNvPr>
            <p:cNvSpPr/>
            <p:nvPr/>
          </p:nvSpPr>
          <p:spPr>
            <a:xfrm>
              <a:off x="3651115" y="2847217"/>
              <a:ext cx="141083" cy="313"/>
            </a:xfrm>
            <a:custGeom>
              <a:avLst/>
              <a:gdLst>
                <a:gd name="connsiteX0" fmla="*/ 141083 w 141083"/>
                <a:gd name="connsiteY0" fmla="*/ 0 h 313"/>
                <a:gd name="connsiteX1" fmla="*/ 0 w 141083"/>
                <a:gd name="connsiteY1" fmla="*/ 0 h 313"/>
              </a:gdLst>
              <a:ahLst/>
              <a:cxnLst>
                <a:cxn ang="0">
                  <a:pos x="connsiteX0" y="connsiteY0"/>
                </a:cxn>
                <a:cxn ang="0">
                  <a:pos x="connsiteX1" y="connsiteY1"/>
                </a:cxn>
              </a:cxnLst>
              <a:rect l="l" t="t" r="r" b="b"/>
              <a:pathLst>
                <a:path w="141083" h="313">
                  <a:moveTo>
                    <a:pt x="141083" y="0"/>
                  </a:moveTo>
                  <a:lnTo>
                    <a:pt x="0" y="0"/>
                  </a:lnTo>
                </a:path>
              </a:pathLst>
            </a:custGeom>
            <a:ln w="9525" cap="rnd">
              <a:solidFill>
                <a:schemeClr val="tx2"/>
              </a:solidFill>
              <a:prstDash val="solid"/>
              <a:miter/>
            </a:ln>
          </p:spPr>
          <p:txBody>
            <a:bodyPr rtlCol="0" anchor="ctr"/>
            <a:lstStyle/>
            <a:p>
              <a:endParaRPr lang="de-DE"/>
            </a:p>
          </p:txBody>
        </p:sp>
        <p:sp>
          <p:nvSpPr>
            <p:cNvPr id="42" name="Freihandform: Form 85">
              <a:extLst>
                <a:ext uri="{FF2B5EF4-FFF2-40B4-BE49-F238E27FC236}">
                  <a16:creationId xmlns:a16="http://schemas.microsoft.com/office/drawing/2014/main" id="{158CBF60-E8BD-7E2E-429B-A36219B92172}"/>
                </a:ext>
              </a:extLst>
            </p:cNvPr>
            <p:cNvSpPr/>
            <p:nvPr/>
          </p:nvSpPr>
          <p:spPr>
            <a:xfrm>
              <a:off x="3792198" y="2677915"/>
              <a:ext cx="366816" cy="366816"/>
            </a:xfrm>
            <a:custGeom>
              <a:avLst/>
              <a:gdLst>
                <a:gd name="connsiteX0" fmla="*/ 338601 w 366816"/>
                <a:gd name="connsiteY0" fmla="*/ 0 h 366816"/>
                <a:gd name="connsiteX1" fmla="*/ 366816 w 366816"/>
                <a:gd name="connsiteY1" fmla="*/ 28215 h 366816"/>
                <a:gd name="connsiteX2" fmla="*/ 366816 w 366816"/>
                <a:gd name="connsiteY2" fmla="*/ 338601 h 366816"/>
                <a:gd name="connsiteX3" fmla="*/ 338601 w 366816"/>
                <a:gd name="connsiteY3" fmla="*/ 366816 h 366816"/>
                <a:gd name="connsiteX4" fmla="*/ 28215 w 366816"/>
                <a:gd name="connsiteY4" fmla="*/ 366816 h 366816"/>
                <a:gd name="connsiteX5" fmla="*/ 0 w 366816"/>
                <a:gd name="connsiteY5" fmla="*/ 338601 h 366816"/>
                <a:gd name="connsiteX6" fmla="*/ 0 w 366816"/>
                <a:gd name="connsiteY6" fmla="*/ 28215 h 366816"/>
                <a:gd name="connsiteX7" fmla="*/ 28215 w 366816"/>
                <a:gd name="connsiteY7" fmla="*/ 0 h 3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6816" h="366816">
                  <a:moveTo>
                    <a:pt x="338601" y="0"/>
                  </a:moveTo>
                  <a:cubicBezTo>
                    <a:pt x="354184" y="0"/>
                    <a:pt x="366816" y="12632"/>
                    <a:pt x="366816" y="28215"/>
                  </a:cubicBezTo>
                  <a:lnTo>
                    <a:pt x="366816" y="338601"/>
                  </a:lnTo>
                  <a:cubicBezTo>
                    <a:pt x="366816" y="354184"/>
                    <a:pt x="354184" y="366816"/>
                    <a:pt x="338601" y="366816"/>
                  </a:cubicBezTo>
                  <a:lnTo>
                    <a:pt x="28215" y="366816"/>
                  </a:lnTo>
                  <a:cubicBezTo>
                    <a:pt x="12632" y="366816"/>
                    <a:pt x="0" y="354184"/>
                    <a:pt x="0" y="338601"/>
                  </a:cubicBezTo>
                  <a:lnTo>
                    <a:pt x="0" y="28215"/>
                  </a:lnTo>
                  <a:cubicBezTo>
                    <a:pt x="0" y="12632"/>
                    <a:pt x="12632" y="0"/>
                    <a:pt x="28215" y="0"/>
                  </a:cubicBezTo>
                  <a:close/>
                </a:path>
              </a:pathLst>
            </a:custGeom>
            <a:noFill/>
            <a:ln w="9525" cap="rnd">
              <a:solidFill>
                <a:schemeClr val="tx2"/>
              </a:solidFill>
              <a:prstDash val="solid"/>
              <a:miter/>
            </a:ln>
          </p:spPr>
          <p:txBody>
            <a:bodyPr rtlCol="0" anchor="ctr"/>
            <a:lstStyle/>
            <a:p>
              <a:endParaRPr lang="de-DE"/>
            </a:p>
          </p:txBody>
        </p:sp>
        <p:grpSp>
          <p:nvGrpSpPr>
            <p:cNvPr id="43" name="Grafik 63">
              <a:extLst>
                <a:ext uri="{FF2B5EF4-FFF2-40B4-BE49-F238E27FC236}">
                  <a16:creationId xmlns:a16="http://schemas.microsoft.com/office/drawing/2014/main" id="{22505499-28D6-78CB-9BC5-E7701E6C1CFB}"/>
                </a:ext>
              </a:extLst>
            </p:cNvPr>
            <p:cNvGrpSpPr/>
            <p:nvPr/>
          </p:nvGrpSpPr>
          <p:grpSpPr>
            <a:xfrm>
              <a:off x="3875816" y="2760004"/>
              <a:ext cx="199580" cy="202638"/>
              <a:chOff x="3878286" y="2754570"/>
              <a:chExt cx="227215" cy="230698"/>
            </a:xfrm>
            <a:solidFill>
              <a:schemeClr val="accent1"/>
            </a:solidFill>
          </p:grpSpPr>
          <p:sp>
            <p:nvSpPr>
              <p:cNvPr id="54" name="Freihandform: Form 87">
                <a:extLst>
                  <a:ext uri="{FF2B5EF4-FFF2-40B4-BE49-F238E27FC236}">
                    <a16:creationId xmlns:a16="http://schemas.microsoft.com/office/drawing/2014/main" id="{52081177-71A7-B964-89C4-6364E734E704}"/>
                  </a:ext>
                </a:extLst>
              </p:cNvPr>
              <p:cNvSpPr/>
              <p:nvPr/>
            </p:nvSpPr>
            <p:spPr>
              <a:xfrm>
                <a:off x="3878286" y="2754570"/>
                <a:ext cx="8555" cy="230698"/>
              </a:xfrm>
              <a:custGeom>
                <a:avLst/>
                <a:gdLst>
                  <a:gd name="connsiteX0" fmla="*/ 8556 w 8555"/>
                  <a:gd name="connsiteY0" fmla="*/ 230699 h 230698"/>
                  <a:gd name="connsiteX1" fmla="*/ 0 w 8555"/>
                  <a:gd name="connsiteY1" fmla="*/ 230699 h 230698"/>
                  <a:gd name="connsiteX2" fmla="*/ 0 w 8555"/>
                  <a:gd name="connsiteY2" fmla="*/ 0 h 230698"/>
                  <a:gd name="connsiteX3" fmla="*/ 8556 w 8555"/>
                  <a:gd name="connsiteY3" fmla="*/ 0 h 230698"/>
                  <a:gd name="connsiteX4" fmla="*/ 8556 w 8555"/>
                  <a:gd name="connsiteY4" fmla="*/ 230699 h 230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5" h="230698">
                    <a:moveTo>
                      <a:pt x="8556" y="230699"/>
                    </a:moveTo>
                    <a:lnTo>
                      <a:pt x="0" y="230699"/>
                    </a:lnTo>
                    <a:lnTo>
                      <a:pt x="0" y="0"/>
                    </a:lnTo>
                    <a:lnTo>
                      <a:pt x="8556" y="0"/>
                    </a:lnTo>
                    <a:lnTo>
                      <a:pt x="8556" y="230699"/>
                    </a:lnTo>
                    <a:close/>
                  </a:path>
                </a:pathLst>
              </a:custGeom>
              <a:grpFill/>
              <a:ln w="12700" cap="rnd">
                <a:solidFill>
                  <a:schemeClr val="accent1"/>
                </a:solidFill>
                <a:prstDash val="solid"/>
                <a:miter/>
              </a:ln>
            </p:spPr>
            <p:txBody>
              <a:bodyPr rtlCol="0" anchor="ctr"/>
              <a:lstStyle/>
              <a:p>
                <a:endParaRPr lang="de-DE"/>
              </a:p>
            </p:txBody>
          </p:sp>
          <p:sp>
            <p:nvSpPr>
              <p:cNvPr id="55" name="Freihandform: Form 88">
                <a:extLst>
                  <a:ext uri="{FF2B5EF4-FFF2-40B4-BE49-F238E27FC236}">
                    <a16:creationId xmlns:a16="http://schemas.microsoft.com/office/drawing/2014/main" id="{F4C1DE63-A2B2-A80B-0DB4-9BF9889797A7}"/>
                  </a:ext>
                </a:extLst>
              </p:cNvPr>
              <p:cNvSpPr/>
              <p:nvPr/>
            </p:nvSpPr>
            <p:spPr>
              <a:xfrm>
                <a:off x="3928990" y="2754570"/>
                <a:ext cx="176512" cy="230698"/>
              </a:xfrm>
              <a:custGeom>
                <a:avLst/>
                <a:gdLst>
                  <a:gd name="connsiteX0" fmla="*/ 176513 w 176512"/>
                  <a:gd name="connsiteY0" fmla="*/ 8556 h 230698"/>
                  <a:gd name="connsiteX1" fmla="*/ 92525 w 176512"/>
                  <a:gd name="connsiteY1" fmla="*/ 8556 h 230698"/>
                  <a:gd name="connsiteX2" fmla="*/ 92525 w 176512"/>
                  <a:gd name="connsiteY2" fmla="*/ 230699 h 230698"/>
                  <a:gd name="connsiteX3" fmla="*/ 83982 w 176512"/>
                  <a:gd name="connsiteY3" fmla="*/ 230699 h 230698"/>
                  <a:gd name="connsiteX4" fmla="*/ 83982 w 176512"/>
                  <a:gd name="connsiteY4" fmla="*/ 8556 h 230698"/>
                  <a:gd name="connsiteX5" fmla="*/ 0 w 176512"/>
                  <a:gd name="connsiteY5" fmla="*/ 8556 h 230698"/>
                  <a:gd name="connsiteX6" fmla="*/ 0 w 176512"/>
                  <a:gd name="connsiteY6" fmla="*/ 0 h 230698"/>
                  <a:gd name="connsiteX7" fmla="*/ 176513 w 176512"/>
                  <a:gd name="connsiteY7" fmla="*/ 0 h 230698"/>
                  <a:gd name="connsiteX8" fmla="*/ 176513 w 176512"/>
                  <a:gd name="connsiteY8" fmla="*/ 8556 h 23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512" h="230698">
                    <a:moveTo>
                      <a:pt x="176513" y="8556"/>
                    </a:moveTo>
                    <a:lnTo>
                      <a:pt x="92525" y="8556"/>
                    </a:lnTo>
                    <a:lnTo>
                      <a:pt x="92525" y="230699"/>
                    </a:lnTo>
                    <a:lnTo>
                      <a:pt x="83982" y="230699"/>
                    </a:lnTo>
                    <a:lnTo>
                      <a:pt x="83982" y="8556"/>
                    </a:lnTo>
                    <a:lnTo>
                      <a:pt x="0" y="8556"/>
                    </a:lnTo>
                    <a:lnTo>
                      <a:pt x="0" y="0"/>
                    </a:lnTo>
                    <a:lnTo>
                      <a:pt x="176513" y="0"/>
                    </a:lnTo>
                    <a:lnTo>
                      <a:pt x="176513" y="8556"/>
                    </a:lnTo>
                    <a:close/>
                  </a:path>
                </a:pathLst>
              </a:custGeom>
              <a:grpFill/>
              <a:ln w="12700" cap="rnd">
                <a:solidFill>
                  <a:schemeClr val="accent1"/>
                </a:solidFill>
                <a:prstDash val="solid"/>
                <a:miter/>
              </a:ln>
            </p:spPr>
            <p:txBody>
              <a:bodyPr rtlCol="0" anchor="ctr"/>
              <a:lstStyle/>
              <a:p>
                <a:endParaRPr lang="de-DE"/>
              </a:p>
            </p:txBody>
          </p:sp>
        </p:grpSp>
        <p:sp>
          <p:nvSpPr>
            <p:cNvPr id="44" name="Freihandform: Form 65">
              <a:extLst>
                <a:ext uri="{FF2B5EF4-FFF2-40B4-BE49-F238E27FC236}">
                  <a16:creationId xmlns:a16="http://schemas.microsoft.com/office/drawing/2014/main" id="{84FE3149-925B-BCF8-A08D-FFFD77D89C6B}"/>
                </a:ext>
              </a:extLst>
            </p:cNvPr>
            <p:cNvSpPr/>
            <p:nvPr/>
          </p:nvSpPr>
          <p:spPr>
            <a:xfrm>
              <a:off x="4300098" y="280489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45" name="Freihandform: Form 66">
              <a:extLst>
                <a:ext uri="{FF2B5EF4-FFF2-40B4-BE49-F238E27FC236}">
                  <a16:creationId xmlns:a16="http://schemas.microsoft.com/office/drawing/2014/main" id="{D90E654E-10DF-9EB1-A16C-374842708C05}"/>
                </a:ext>
              </a:extLst>
            </p:cNvPr>
            <p:cNvSpPr/>
            <p:nvPr/>
          </p:nvSpPr>
          <p:spPr>
            <a:xfrm>
              <a:off x="4229556" y="30165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46" name="Freihandform: Form 67">
              <a:extLst>
                <a:ext uri="{FF2B5EF4-FFF2-40B4-BE49-F238E27FC236}">
                  <a16:creationId xmlns:a16="http://schemas.microsoft.com/office/drawing/2014/main" id="{DF19FFFE-67C0-B591-D8D6-0D49803DE6B8}"/>
                </a:ext>
              </a:extLst>
            </p:cNvPr>
            <p:cNvSpPr/>
            <p:nvPr/>
          </p:nvSpPr>
          <p:spPr>
            <a:xfrm>
              <a:off x="4102580" y="312938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47" name="Freihandform: Form 68">
              <a:extLst>
                <a:ext uri="{FF2B5EF4-FFF2-40B4-BE49-F238E27FC236}">
                  <a16:creationId xmlns:a16="http://schemas.microsoft.com/office/drawing/2014/main" id="{95A449C5-8CA7-11E9-F036-259B29ABD065}"/>
                </a:ext>
              </a:extLst>
            </p:cNvPr>
            <p:cNvSpPr/>
            <p:nvPr/>
          </p:nvSpPr>
          <p:spPr>
            <a:xfrm>
              <a:off x="4229556" y="259326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48" name="Freihandform: Form 73">
              <a:extLst>
                <a:ext uri="{FF2B5EF4-FFF2-40B4-BE49-F238E27FC236}">
                  <a16:creationId xmlns:a16="http://schemas.microsoft.com/office/drawing/2014/main" id="{B49E9448-AA62-64B9-1249-8A10D6520C01}"/>
                </a:ext>
              </a:extLst>
            </p:cNvPr>
            <p:cNvSpPr/>
            <p:nvPr/>
          </p:nvSpPr>
          <p:spPr>
            <a:xfrm>
              <a:off x="3566465" y="280489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49" name="Freihandform: Form 74">
              <a:extLst>
                <a:ext uri="{FF2B5EF4-FFF2-40B4-BE49-F238E27FC236}">
                  <a16:creationId xmlns:a16="http://schemas.microsoft.com/office/drawing/2014/main" id="{E7A68424-1FF1-EFF8-1883-4116974E6BEC}"/>
                </a:ext>
              </a:extLst>
            </p:cNvPr>
            <p:cNvSpPr/>
            <p:nvPr/>
          </p:nvSpPr>
          <p:spPr>
            <a:xfrm>
              <a:off x="3637007" y="30165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50" name="Freihandform: Form 75">
              <a:extLst>
                <a:ext uri="{FF2B5EF4-FFF2-40B4-BE49-F238E27FC236}">
                  <a16:creationId xmlns:a16="http://schemas.microsoft.com/office/drawing/2014/main" id="{517AE0F2-B66D-F0DB-E408-12C7706297C1}"/>
                </a:ext>
              </a:extLst>
            </p:cNvPr>
            <p:cNvSpPr/>
            <p:nvPr/>
          </p:nvSpPr>
          <p:spPr>
            <a:xfrm>
              <a:off x="3763979" y="312938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51" name="Freihandform: Form 76">
              <a:extLst>
                <a:ext uri="{FF2B5EF4-FFF2-40B4-BE49-F238E27FC236}">
                  <a16:creationId xmlns:a16="http://schemas.microsoft.com/office/drawing/2014/main" id="{181FB5AF-93FB-E743-0F0D-C6176DD85930}"/>
                </a:ext>
              </a:extLst>
            </p:cNvPr>
            <p:cNvSpPr/>
            <p:nvPr/>
          </p:nvSpPr>
          <p:spPr>
            <a:xfrm>
              <a:off x="3637007" y="259326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52" name="Freihandform: Form 80">
              <a:extLst>
                <a:ext uri="{FF2B5EF4-FFF2-40B4-BE49-F238E27FC236}">
                  <a16:creationId xmlns:a16="http://schemas.microsoft.com/office/drawing/2014/main" id="{2E3C5782-0CDB-25D2-F5BA-A66FD27AE11E}"/>
                </a:ext>
              </a:extLst>
            </p:cNvPr>
            <p:cNvSpPr/>
            <p:nvPr/>
          </p:nvSpPr>
          <p:spPr>
            <a:xfrm>
              <a:off x="4102580" y="25086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53" name="Freihandform: Form 82">
              <a:extLst>
                <a:ext uri="{FF2B5EF4-FFF2-40B4-BE49-F238E27FC236}">
                  <a16:creationId xmlns:a16="http://schemas.microsoft.com/office/drawing/2014/main" id="{F7DAEC2E-9C99-D313-70C1-E0758933D5A2}"/>
                </a:ext>
              </a:extLst>
            </p:cNvPr>
            <p:cNvSpPr/>
            <p:nvPr/>
          </p:nvSpPr>
          <p:spPr>
            <a:xfrm>
              <a:off x="3763979" y="25086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grpSp>
      <p:sp>
        <p:nvSpPr>
          <p:cNvPr id="17" name="Textplatzhalter 14">
            <a:extLst>
              <a:ext uri="{FF2B5EF4-FFF2-40B4-BE49-F238E27FC236}">
                <a16:creationId xmlns:a16="http://schemas.microsoft.com/office/drawing/2014/main" id="{116992E0-7632-D7AB-96C0-41E03A82CF53}"/>
              </a:ext>
            </a:extLst>
          </p:cNvPr>
          <p:cNvSpPr txBox="1">
            <a:spLocks/>
          </p:cNvSpPr>
          <p:nvPr/>
        </p:nvSpPr>
        <p:spPr>
          <a:xfrm>
            <a:off x="4148986" y="2747416"/>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a:solidFill>
                  <a:schemeClr val="accent1"/>
                </a:solidFill>
                <a:cs typeface="Calibri"/>
              </a:rPr>
              <a:t>02</a:t>
            </a:r>
          </a:p>
        </p:txBody>
      </p:sp>
      <p:grpSp>
        <p:nvGrpSpPr>
          <p:cNvPr id="195" name="Gruppieren 194">
            <a:extLst>
              <a:ext uri="{FF2B5EF4-FFF2-40B4-BE49-F238E27FC236}">
                <a16:creationId xmlns:a16="http://schemas.microsoft.com/office/drawing/2014/main" id="{D574DACE-12D8-5C42-3927-57D728D221E8}"/>
              </a:ext>
            </a:extLst>
          </p:cNvPr>
          <p:cNvGrpSpPr/>
          <p:nvPr/>
        </p:nvGrpSpPr>
        <p:grpSpPr>
          <a:xfrm>
            <a:off x="4521177" y="3044826"/>
            <a:ext cx="519904" cy="478311"/>
            <a:chOff x="10751496" y="2443062"/>
            <a:chExt cx="857526" cy="788923"/>
          </a:xfrm>
        </p:grpSpPr>
        <p:grpSp>
          <p:nvGrpSpPr>
            <p:cNvPr id="196" name="Gruppieren 195">
              <a:extLst>
                <a:ext uri="{FF2B5EF4-FFF2-40B4-BE49-F238E27FC236}">
                  <a16:creationId xmlns:a16="http://schemas.microsoft.com/office/drawing/2014/main" id="{B6F9CE16-241B-BC76-82F4-7D33946A96BE}"/>
                </a:ext>
              </a:extLst>
            </p:cNvPr>
            <p:cNvGrpSpPr/>
            <p:nvPr/>
          </p:nvGrpSpPr>
          <p:grpSpPr>
            <a:xfrm>
              <a:off x="11076576" y="2502173"/>
              <a:ext cx="207345" cy="182949"/>
              <a:chOff x="13155737" y="1102065"/>
              <a:chExt cx="5277707" cy="4656748"/>
            </a:xfrm>
          </p:grpSpPr>
          <p:sp>
            <p:nvSpPr>
              <p:cNvPr id="216" name="Freihandform: Form 150">
                <a:extLst>
                  <a:ext uri="{FF2B5EF4-FFF2-40B4-BE49-F238E27FC236}">
                    <a16:creationId xmlns:a16="http://schemas.microsoft.com/office/drawing/2014/main" id="{F5C45404-FCF5-E0D4-F2B2-6051770C43E3}"/>
                  </a:ext>
                </a:extLst>
              </p:cNvPr>
              <p:cNvSpPr/>
              <p:nvPr/>
            </p:nvSpPr>
            <p:spPr>
              <a:xfrm>
                <a:off x="13155737" y="1102065"/>
                <a:ext cx="5277707" cy="4656748"/>
              </a:xfrm>
              <a:custGeom>
                <a:avLst/>
                <a:gdLst>
                  <a:gd name="connsiteX0" fmla="*/ 4856083 w 5277707"/>
                  <a:gd name="connsiteY0" fmla="*/ 2586490 h 4656748"/>
                  <a:gd name="connsiteX1" fmla="*/ 4856083 w 5277707"/>
                  <a:gd name="connsiteY1" fmla="*/ 443841 h 4656748"/>
                  <a:gd name="connsiteX2" fmla="*/ 2820591 w 5277707"/>
                  <a:gd name="connsiteY2" fmla="*/ 443841 h 4656748"/>
                  <a:gd name="connsiteX3" fmla="*/ 2638758 w 5277707"/>
                  <a:gd name="connsiteY3" fmla="*/ 678156 h 4656748"/>
                  <a:gd name="connsiteX4" fmla="*/ 2457117 w 5277707"/>
                  <a:gd name="connsiteY4" fmla="*/ 443841 h 4656748"/>
                  <a:gd name="connsiteX5" fmla="*/ 421624 w 5277707"/>
                  <a:gd name="connsiteY5" fmla="*/ 443841 h 4656748"/>
                  <a:gd name="connsiteX6" fmla="*/ 421624 w 5277707"/>
                  <a:gd name="connsiteY6" fmla="*/ 2586490 h 4656748"/>
                  <a:gd name="connsiteX7" fmla="*/ 2638854 w 5277707"/>
                  <a:gd name="connsiteY7" fmla="*/ 4656749 h 4656748"/>
                  <a:gd name="connsiteX8" fmla="*/ 4856083 w 5277707"/>
                  <a:gd name="connsiteY8" fmla="*/ 2586490 h 4656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77707" h="4656748">
                    <a:moveTo>
                      <a:pt x="4856083" y="2586490"/>
                    </a:moveTo>
                    <a:cubicBezTo>
                      <a:pt x="5418249" y="1994892"/>
                      <a:pt x="5418249" y="1035344"/>
                      <a:pt x="4856083" y="443841"/>
                    </a:cubicBezTo>
                    <a:cubicBezTo>
                      <a:pt x="4294013" y="-147947"/>
                      <a:pt x="3382566" y="-147947"/>
                      <a:pt x="2820591" y="443841"/>
                    </a:cubicBezTo>
                    <a:cubicBezTo>
                      <a:pt x="2751344" y="516422"/>
                      <a:pt x="2691051" y="595193"/>
                      <a:pt x="2638758" y="678156"/>
                    </a:cubicBezTo>
                    <a:cubicBezTo>
                      <a:pt x="2586657" y="595193"/>
                      <a:pt x="2526268" y="516517"/>
                      <a:pt x="2457117" y="443841"/>
                    </a:cubicBezTo>
                    <a:cubicBezTo>
                      <a:pt x="1895046" y="-147947"/>
                      <a:pt x="983599" y="-147947"/>
                      <a:pt x="421624" y="443841"/>
                    </a:cubicBezTo>
                    <a:cubicBezTo>
                      <a:pt x="-140541" y="1035344"/>
                      <a:pt x="-140541" y="1994987"/>
                      <a:pt x="421624" y="2586490"/>
                    </a:cubicBezTo>
                    <a:lnTo>
                      <a:pt x="2638854" y="4656749"/>
                    </a:lnTo>
                    <a:lnTo>
                      <a:pt x="4856083" y="2586490"/>
                    </a:lnTo>
                    <a:close/>
                  </a:path>
                </a:pathLst>
              </a:custGeom>
              <a:noFill/>
              <a:ln w="19050" cap="rnd">
                <a:solidFill>
                  <a:schemeClr val="accent1"/>
                </a:solidFill>
                <a:prstDash val="solid"/>
                <a:miter/>
              </a:ln>
            </p:spPr>
            <p:txBody>
              <a:bodyPr rtlCol="0" anchor="ctr"/>
              <a:lstStyle/>
              <a:p>
                <a:endParaRPr lang="de-DE"/>
              </a:p>
            </p:txBody>
          </p:sp>
          <p:sp>
            <p:nvSpPr>
              <p:cNvPr id="217" name="Freihandform: Form 151">
                <a:extLst>
                  <a:ext uri="{FF2B5EF4-FFF2-40B4-BE49-F238E27FC236}">
                    <a16:creationId xmlns:a16="http://schemas.microsoft.com/office/drawing/2014/main" id="{AB8E8E24-04DD-287C-BA6F-E65AF1199A24}"/>
                  </a:ext>
                </a:extLst>
              </p:cNvPr>
              <p:cNvSpPr/>
              <p:nvPr/>
            </p:nvSpPr>
            <p:spPr>
              <a:xfrm>
                <a:off x="15173656" y="2499073"/>
                <a:ext cx="1862708" cy="1241869"/>
              </a:xfrm>
              <a:custGeom>
                <a:avLst/>
                <a:gdLst>
                  <a:gd name="connsiteX0" fmla="*/ 1862709 w 1862708"/>
                  <a:gd name="connsiteY0" fmla="*/ 0 h 1241869"/>
                  <a:gd name="connsiteX1" fmla="*/ 1241965 w 1862708"/>
                  <a:gd name="connsiteY1" fmla="*/ 620935 h 1241869"/>
                  <a:gd name="connsiteX2" fmla="*/ 620744 w 1862708"/>
                  <a:gd name="connsiteY2" fmla="*/ 1241870 h 1241869"/>
                  <a:gd name="connsiteX3" fmla="*/ 0 w 1862708"/>
                  <a:gd name="connsiteY3" fmla="*/ 620935 h 1241869"/>
                </a:gdLst>
                <a:ahLst/>
                <a:cxnLst>
                  <a:cxn ang="0">
                    <a:pos x="connsiteX0" y="connsiteY0"/>
                  </a:cxn>
                  <a:cxn ang="0">
                    <a:pos x="connsiteX1" y="connsiteY1"/>
                  </a:cxn>
                  <a:cxn ang="0">
                    <a:pos x="connsiteX2" y="connsiteY2"/>
                  </a:cxn>
                  <a:cxn ang="0">
                    <a:pos x="connsiteX3" y="connsiteY3"/>
                  </a:cxn>
                </a:cxnLst>
                <a:rect l="l" t="t" r="r" b="b"/>
                <a:pathLst>
                  <a:path w="1862708" h="1241869">
                    <a:moveTo>
                      <a:pt x="1862709" y="0"/>
                    </a:moveTo>
                    <a:lnTo>
                      <a:pt x="1241965" y="620935"/>
                    </a:lnTo>
                    <a:lnTo>
                      <a:pt x="620744" y="1241870"/>
                    </a:lnTo>
                    <a:lnTo>
                      <a:pt x="0" y="620935"/>
                    </a:lnTo>
                  </a:path>
                </a:pathLst>
              </a:custGeom>
              <a:noFill/>
              <a:ln w="19050" cap="rnd">
                <a:solidFill>
                  <a:schemeClr val="accent1"/>
                </a:solidFill>
                <a:prstDash val="solid"/>
                <a:miter/>
              </a:ln>
            </p:spPr>
            <p:txBody>
              <a:bodyPr rtlCol="0" anchor="ctr"/>
              <a:lstStyle/>
              <a:p>
                <a:endParaRPr lang="de-DE"/>
              </a:p>
            </p:txBody>
          </p:sp>
        </p:grpSp>
        <p:sp>
          <p:nvSpPr>
            <p:cNvPr id="197" name="Freihandform: Form 156">
              <a:extLst>
                <a:ext uri="{FF2B5EF4-FFF2-40B4-BE49-F238E27FC236}">
                  <a16:creationId xmlns:a16="http://schemas.microsoft.com/office/drawing/2014/main" id="{9422E59D-2C8A-60E4-AD42-D42EA556B2DB}"/>
                </a:ext>
              </a:extLst>
            </p:cNvPr>
            <p:cNvSpPr/>
            <p:nvPr/>
          </p:nvSpPr>
          <p:spPr>
            <a:xfrm>
              <a:off x="11094510" y="3163382"/>
              <a:ext cx="171497" cy="68603"/>
            </a:xfrm>
            <a:custGeom>
              <a:avLst/>
              <a:gdLst>
                <a:gd name="connsiteX0" fmla="*/ 0 w 833151"/>
                <a:gd name="connsiteY0" fmla="*/ 333280 h 333279"/>
                <a:gd name="connsiteX1" fmla="*/ 0 w 833151"/>
                <a:gd name="connsiteY1" fmla="*/ 0 h 333279"/>
                <a:gd name="connsiteX2" fmla="*/ 833152 w 833151"/>
                <a:gd name="connsiteY2" fmla="*/ 0 h 333279"/>
                <a:gd name="connsiteX3" fmla="*/ 833152 w 833151"/>
                <a:gd name="connsiteY3" fmla="*/ 333280 h 333279"/>
              </a:gdLst>
              <a:ahLst/>
              <a:cxnLst>
                <a:cxn ang="0">
                  <a:pos x="connsiteX0" y="connsiteY0"/>
                </a:cxn>
                <a:cxn ang="0">
                  <a:pos x="connsiteX1" y="connsiteY1"/>
                </a:cxn>
                <a:cxn ang="0">
                  <a:pos x="connsiteX2" y="connsiteY2"/>
                </a:cxn>
                <a:cxn ang="0">
                  <a:pos x="connsiteX3" y="connsiteY3"/>
                </a:cxn>
              </a:cxnLst>
              <a:rect l="l" t="t" r="r" b="b"/>
              <a:pathLst>
                <a:path w="833151" h="333279">
                  <a:moveTo>
                    <a:pt x="0" y="333280"/>
                  </a:moveTo>
                  <a:lnTo>
                    <a:pt x="0" y="0"/>
                  </a:lnTo>
                  <a:lnTo>
                    <a:pt x="833152" y="0"/>
                  </a:lnTo>
                  <a:lnTo>
                    <a:pt x="833152" y="333280"/>
                  </a:lnTo>
                </a:path>
              </a:pathLst>
            </a:custGeom>
            <a:noFill/>
            <a:ln w="9525" cap="rnd">
              <a:solidFill>
                <a:schemeClr val="tx2"/>
              </a:solidFill>
              <a:prstDash val="solid"/>
              <a:round/>
            </a:ln>
          </p:spPr>
          <p:txBody>
            <a:bodyPr rtlCol="0" anchor="ctr"/>
            <a:lstStyle/>
            <a:p>
              <a:endParaRPr lang="de-DE"/>
            </a:p>
          </p:txBody>
        </p:sp>
        <p:sp>
          <p:nvSpPr>
            <p:cNvPr id="198" name="Freihandform: Form 158">
              <a:extLst>
                <a:ext uri="{FF2B5EF4-FFF2-40B4-BE49-F238E27FC236}">
                  <a16:creationId xmlns:a16="http://schemas.microsoft.com/office/drawing/2014/main" id="{D5789B0D-4856-C9DC-1D13-F21BD344F073}"/>
                </a:ext>
              </a:extLst>
            </p:cNvPr>
            <p:cNvSpPr/>
            <p:nvPr/>
          </p:nvSpPr>
          <p:spPr>
            <a:xfrm>
              <a:off x="10802943" y="2614559"/>
              <a:ext cx="171517" cy="617426"/>
            </a:xfrm>
            <a:custGeom>
              <a:avLst/>
              <a:gdLst>
                <a:gd name="connsiteX0" fmla="*/ 0 w 833246"/>
                <a:gd name="connsiteY0" fmla="*/ 2999518 h 2999517"/>
                <a:gd name="connsiteX1" fmla="*/ 0 w 833246"/>
                <a:gd name="connsiteY1" fmla="*/ 0 h 2999517"/>
                <a:gd name="connsiteX2" fmla="*/ 833247 w 833246"/>
                <a:gd name="connsiteY2" fmla="*/ 0 h 2999517"/>
              </a:gdLst>
              <a:ahLst/>
              <a:cxnLst>
                <a:cxn ang="0">
                  <a:pos x="connsiteX0" y="connsiteY0"/>
                </a:cxn>
                <a:cxn ang="0">
                  <a:pos x="connsiteX1" y="connsiteY1"/>
                </a:cxn>
                <a:cxn ang="0">
                  <a:pos x="connsiteX2" y="connsiteY2"/>
                </a:cxn>
              </a:cxnLst>
              <a:rect l="l" t="t" r="r" b="b"/>
              <a:pathLst>
                <a:path w="833246" h="2999517">
                  <a:moveTo>
                    <a:pt x="0" y="2999518"/>
                  </a:moveTo>
                  <a:lnTo>
                    <a:pt x="0" y="0"/>
                  </a:lnTo>
                  <a:lnTo>
                    <a:pt x="833247" y="0"/>
                  </a:lnTo>
                </a:path>
              </a:pathLst>
            </a:custGeom>
            <a:noFill/>
            <a:ln w="9525" cap="rnd">
              <a:solidFill>
                <a:schemeClr val="tx2"/>
              </a:solidFill>
              <a:prstDash val="solid"/>
              <a:round/>
            </a:ln>
          </p:spPr>
          <p:txBody>
            <a:bodyPr rtlCol="0" anchor="ctr"/>
            <a:lstStyle/>
            <a:p>
              <a:endParaRPr lang="de-DE"/>
            </a:p>
          </p:txBody>
        </p:sp>
        <p:sp>
          <p:nvSpPr>
            <p:cNvPr id="199" name="Freihandform: Form 159">
              <a:extLst>
                <a:ext uri="{FF2B5EF4-FFF2-40B4-BE49-F238E27FC236}">
                  <a16:creationId xmlns:a16="http://schemas.microsoft.com/office/drawing/2014/main" id="{97BD717E-22EE-FC58-9868-82789EC5FE9F}"/>
                </a:ext>
              </a:extLst>
            </p:cNvPr>
            <p:cNvSpPr/>
            <p:nvPr/>
          </p:nvSpPr>
          <p:spPr>
            <a:xfrm>
              <a:off x="11386058" y="2614559"/>
              <a:ext cx="171517" cy="617426"/>
            </a:xfrm>
            <a:custGeom>
              <a:avLst/>
              <a:gdLst>
                <a:gd name="connsiteX0" fmla="*/ 833247 w 833246"/>
                <a:gd name="connsiteY0" fmla="*/ 2999518 h 2999517"/>
                <a:gd name="connsiteX1" fmla="*/ 833247 w 833246"/>
                <a:gd name="connsiteY1" fmla="*/ 0 h 2999517"/>
                <a:gd name="connsiteX2" fmla="*/ 0 w 833246"/>
                <a:gd name="connsiteY2" fmla="*/ 0 h 2999517"/>
              </a:gdLst>
              <a:ahLst/>
              <a:cxnLst>
                <a:cxn ang="0">
                  <a:pos x="connsiteX0" y="connsiteY0"/>
                </a:cxn>
                <a:cxn ang="0">
                  <a:pos x="connsiteX1" y="connsiteY1"/>
                </a:cxn>
                <a:cxn ang="0">
                  <a:pos x="connsiteX2" y="connsiteY2"/>
                </a:cxn>
              </a:cxnLst>
              <a:rect l="l" t="t" r="r" b="b"/>
              <a:pathLst>
                <a:path w="833246" h="2999517">
                  <a:moveTo>
                    <a:pt x="833247" y="2999518"/>
                  </a:moveTo>
                  <a:lnTo>
                    <a:pt x="833247" y="0"/>
                  </a:lnTo>
                  <a:lnTo>
                    <a:pt x="0" y="0"/>
                  </a:lnTo>
                </a:path>
              </a:pathLst>
            </a:custGeom>
            <a:noFill/>
            <a:ln w="9525" cap="rnd">
              <a:solidFill>
                <a:schemeClr val="tx2"/>
              </a:solidFill>
              <a:prstDash val="solid"/>
              <a:round/>
            </a:ln>
          </p:spPr>
          <p:txBody>
            <a:bodyPr rtlCol="0" anchor="ctr"/>
            <a:lstStyle/>
            <a:p>
              <a:endParaRPr lang="de-DE"/>
            </a:p>
          </p:txBody>
        </p:sp>
        <p:sp>
          <p:nvSpPr>
            <p:cNvPr id="200" name="Freihandform: Form 160">
              <a:extLst>
                <a:ext uri="{FF2B5EF4-FFF2-40B4-BE49-F238E27FC236}">
                  <a16:creationId xmlns:a16="http://schemas.microsoft.com/office/drawing/2014/main" id="{A1FA0A23-F4AC-E304-84E0-8ED8081B8209}"/>
                </a:ext>
              </a:extLst>
            </p:cNvPr>
            <p:cNvSpPr/>
            <p:nvPr/>
          </p:nvSpPr>
          <p:spPr>
            <a:xfrm>
              <a:off x="11043043" y="3060468"/>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01" name="Freihandform: Form 161">
              <a:extLst>
                <a:ext uri="{FF2B5EF4-FFF2-40B4-BE49-F238E27FC236}">
                  <a16:creationId xmlns:a16="http://schemas.microsoft.com/office/drawing/2014/main" id="{D8FA0731-D0C3-267C-6295-317473E181EE}"/>
                </a:ext>
              </a:extLst>
            </p:cNvPr>
            <p:cNvSpPr/>
            <p:nvPr/>
          </p:nvSpPr>
          <p:spPr>
            <a:xfrm>
              <a:off x="11043043" y="2957574"/>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02" name="Freihandform: Form 162">
              <a:extLst>
                <a:ext uri="{FF2B5EF4-FFF2-40B4-BE49-F238E27FC236}">
                  <a16:creationId xmlns:a16="http://schemas.microsoft.com/office/drawing/2014/main" id="{18FD9F0B-65F4-6A7B-935C-7C490DF23A80}"/>
                </a:ext>
              </a:extLst>
            </p:cNvPr>
            <p:cNvSpPr/>
            <p:nvPr/>
          </p:nvSpPr>
          <p:spPr>
            <a:xfrm>
              <a:off x="10871546" y="3129071"/>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03" name="Freihandform: Form 163">
              <a:extLst>
                <a:ext uri="{FF2B5EF4-FFF2-40B4-BE49-F238E27FC236}">
                  <a16:creationId xmlns:a16="http://schemas.microsoft.com/office/drawing/2014/main" id="{8A06A377-2908-EFA2-FA9B-816BEC6AD15B}"/>
                </a:ext>
              </a:extLst>
            </p:cNvPr>
            <p:cNvSpPr/>
            <p:nvPr/>
          </p:nvSpPr>
          <p:spPr>
            <a:xfrm>
              <a:off x="11454661" y="3129071"/>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04" name="Freihandform: Form 164">
              <a:extLst>
                <a:ext uri="{FF2B5EF4-FFF2-40B4-BE49-F238E27FC236}">
                  <a16:creationId xmlns:a16="http://schemas.microsoft.com/office/drawing/2014/main" id="{2A14CD5C-338A-925B-0982-0F19B5B6A178}"/>
                </a:ext>
              </a:extLst>
            </p:cNvPr>
            <p:cNvSpPr/>
            <p:nvPr/>
          </p:nvSpPr>
          <p:spPr>
            <a:xfrm>
              <a:off x="10871546" y="3026176"/>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05" name="Freihandform: Form 165">
              <a:extLst>
                <a:ext uri="{FF2B5EF4-FFF2-40B4-BE49-F238E27FC236}">
                  <a16:creationId xmlns:a16="http://schemas.microsoft.com/office/drawing/2014/main" id="{01FD763E-E239-6903-F191-477E96074F4D}"/>
                </a:ext>
              </a:extLst>
            </p:cNvPr>
            <p:cNvSpPr/>
            <p:nvPr/>
          </p:nvSpPr>
          <p:spPr>
            <a:xfrm>
              <a:off x="11454661" y="3026176"/>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06" name="Freihandform: Form 166">
              <a:extLst>
                <a:ext uri="{FF2B5EF4-FFF2-40B4-BE49-F238E27FC236}">
                  <a16:creationId xmlns:a16="http://schemas.microsoft.com/office/drawing/2014/main" id="{A9F27F5B-4AAD-E606-93C6-2C3C28733252}"/>
                </a:ext>
              </a:extLst>
            </p:cNvPr>
            <p:cNvSpPr/>
            <p:nvPr/>
          </p:nvSpPr>
          <p:spPr>
            <a:xfrm>
              <a:off x="10871546" y="2923282"/>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07" name="Freihandform: Form 167">
              <a:extLst>
                <a:ext uri="{FF2B5EF4-FFF2-40B4-BE49-F238E27FC236}">
                  <a16:creationId xmlns:a16="http://schemas.microsoft.com/office/drawing/2014/main" id="{12FCA0A0-6F24-9333-F89B-D666639BCCEF}"/>
                </a:ext>
              </a:extLst>
            </p:cNvPr>
            <p:cNvSpPr/>
            <p:nvPr/>
          </p:nvSpPr>
          <p:spPr>
            <a:xfrm>
              <a:off x="11454661" y="2923282"/>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08" name="Freihandform: Form 168">
              <a:extLst>
                <a:ext uri="{FF2B5EF4-FFF2-40B4-BE49-F238E27FC236}">
                  <a16:creationId xmlns:a16="http://schemas.microsoft.com/office/drawing/2014/main" id="{BE446A63-165A-A8D4-49C7-1022A2CC0B75}"/>
                </a:ext>
              </a:extLst>
            </p:cNvPr>
            <p:cNvSpPr/>
            <p:nvPr/>
          </p:nvSpPr>
          <p:spPr>
            <a:xfrm>
              <a:off x="10871546" y="2820368"/>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09" name="Freihandform: Form 169">
              <a:extLst>
                <a:ext uri="{FF2B5EF4-FFF2-40B4-BE49-F238E27FC236}">
                  <a16:creationId xmlns:a16="http://schemas.microsoft.com/office/drawing/2014/main" id="{6BD348C9-C7A4-2513-71A8-7AF773ADB30A}"/>
                </a:ext>
              </a:extLst>
            </p:cNvPr>
            <p:cNvSpPr/>
            <p:nvPr/>
          </p:nvSpPr>
          <p:spPr>
            <a:xfrm>
              <a:off x="11454661" y="2820368"/>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10" name="Freihandform: Form 170">
              <a:extLst>
                <a:ext uri="{FF2B5EF4-FFF2-40B4-BE49-F238E27FC236}">
                  <a16:creationId xmlns:a16="http://schemas.microsoft.com/office/drawing/2014/main" id="{8B6F4558-C547-015F-0CE7-A0C931850A02}"/>
                </a:ext>
              </a:extLst>
            </p:cNvPr>
            <p:cNvSpPr/>
            <p:nvPr/>
          </p:nvSpPr>
          <p:spPr>
            <a:xfrm>
              <a:off x="10871546" y="2717473"/>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12" name="Freihandform: Form 171">
              <a:extLst>
                <a:ext uri="{FF2B5EF4-FFF2-40B4-BE49-F238E27FC236}">
                  <a16:creationId xmlns:a16="http://schemas.microsoft.com/office/drawing/2014/main" id="{D3CE566B-29D2-62E8-D9F4-306A21B9E8B1}"/>
                </a:ext>
              </a:extLst>
            </p:cNvPr>
            <p:cNvSpPr/>
            <p:nvPr/>
          </p:nvSpPr>
          <p:spPr>
            <a:xfrm>
              <a:off x="11454661" y="2717473"/>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13" name="Freihandform: Form 172">
              <a:extLst>
                <a:ext uri="{FF2B5EF4-FFF2-40B4-BE49-F238E27FC236}">
                  <a16:creationId xmlns:a16="http://schemas.microsoft.com/office/drawing/2014/main" id="{463B465C-9596-A592-98BE-77CBF9F39B34}"/>
                </a:ext>
              </a:extLst>
            </p:cNvPr>
            <p:cNvSpPr/>
            <p:nvPr/>
          </p:nvSpPr>
          <p:spPr>
            <a:xfrm>
              <a:off x="11043043" y="2854679"/>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14" name="Freihandform: Form 173">
              <a:extLst>
                <a:ext uri="{FF2B5EF4-FFF2-40B4-BE49-F238E27FC236}">
                  <a16:creationId xmlns:a16="http://schemas.microsoft.com/office/drawing/2014/main" id="{F807732B-A8F7-DC78-E229-6B4E0C29A883}"/>
                </a:ext>
              </a:extLst>
            </p:cNvPr>
            <p:cNvSpPr/>
            <p:nvPr/>
          </p:nvSpPr>
          <p:spPr>
            <a:xfrm>
              <a:off x="11043043" y="2751765"/>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15" name="Freihandform: Form 157">
              <a:extLst>
                <a:ext uri="{FF2B5EF4-FFF2-40B4-BE49-F238E27FC236}">
                  <a16:creationId xmlns:a16="http://schemas.microsoft.com/office/drawing/2014/main" id="{F8368EF4-A5BF-61B9-0F07-738934960E61}"/>
                </a:ext>
              </a:extLst>
            </p:cNvPr>
            <p:cNvSpPr/>
            <p:nvPr/>
          </p:nvSpPr>
          <p:spPr>
            <a:xfrm>
              <a:off x="10751496" y="2443062"/>
              <a:ext cx="857526" cy="788923"/>
            </a:xfrm>
            <a:custGeom>
              <a:avLst/>
              <a:gdLst>
                <a:gd name="connsiteX0" fmla="*/ 4165949 w 4165949"/>
                <a:gd name="connsiteY0" fmla="*/ 3832669 h 3832669"/>
                <a:gd name="connsiteX1" fmla="*/ 3082766 w 4165949"/>
                <a:gd name="connsiteY1" fmla="*/ 3832669 h 3832669"/>
                <a:gd name="connsiteX2" fmla="*/ 3082766 w 4165949"/>
                <a:gd name="connsiteY2" fmla="*/ 0 h 3832669"/>
                <a:gd name="connsiteX3" fmla="*/ 1083183 w 4165949"/>
                <a:gd name="connsiteY3" fmla="*/ 0 h 3832669"/>
                <a:gd name="connsiteX4" fmla="*/ 1083183 w 4165949"/>
                <a:gd name="connsiteY4" fmla="*/ 3832669 h 3832669"/>
                <a:gd name="connsiteX5" fmla="*/ 0 w 4165949"/>
                <a:gd name="connsiteY5" fmla="*/ 3832669 h 383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5949" h="3832669">
                  <a:moveTo>
                    <a:pt x="4165949" y="3832669"/>
                  </a:moveTo>
                  <a:lnTo>
                    <a:pt x="3082766" y="3832669"/>
                  </a:lnTo>
                  <a:lnTo>
                    <a:pt x="3082766" y="0"/>
                  </a:lnTo>
                  <a:lnTo>
                    <a:pt x="1083183" y="0"/>
                  </a:lnTo>
                  <a:lnTo>
                    <a:pt x="1083183" y="3832669"/>
                  </a:lnTo>
                  <a:lnTo>
                    <a:pt x="0" y="3832669"/>
                  </a:lnTo>
                </a:path>
              </a:pathLst>
            </a:custGeom>
            <a:noFill/>
            <a:ln w="19050" cap="rnd">
              <a:solidFill>
                <a:schemeClr val="accent1"/>
              </a:solidFill>
              <a:prstDash val="solid"/>
              <a:round/>
            </a:ln>
          </p:spPr>
          <p:txBody>
            <a:bodyPr rtlCol="0" anchor="ctr"/>
            <a:lstStyle/>
            <a:p>
              <a:endParaRPr lang="de-DE"/>
            </a:p>
          </p:txBody>
        </p:sp>
      </p:grpSp>
      <p:sp>
        <p:nvSpPr>
          <p:cNvPr id="19" name="Textplatzhalter 14">
            <a:extLst>
              <a:ext uri="{FF2B5EF4-FFF2-40B4-BE49-F238E27FC236}">
                <a16:creationId xmlns:a16="http://schemas.microsoft.com/office/drawing/2014/main" id="{7343C910-B48E-3B65-D094-DF495CC3FC46}"/>
              </a:ext>
            </a:extLst>
          </p:cNvPr>
          <p:cNvSpPr txBox="1">
            <a:spLocks/>
          </p:cNvSpPr>
          <p:nvPr/>
        </p:nvSpPr>
        <p:spPr>
          <a:xfrm>
            <a:off x="9958585" y="2747416"/>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a:solidFill>
                  <a:schemeClr val="accent1"/>
                </a:solidFill>
                <a:cs typeface="Calibri"/>
              </a:rPr>
              <a:t>04</a:t>
            </a:r>
          </a:p>
        </p:txBody>
      </p:sp>
      <p:grpSp>
        <p:nvGrpSpPr>
          <p:cNvPr id="238" name="Gruppieren 237">
            <a:extLst>
              <a:ext uri="{FF2B5EF4-FFF2-40B4-BE49-F238E27FC236}">
                <a16:creationId xmlns:a16="http://schemas.microsoft.com/office/drawing/2014/main" id="{451ABD6B-75A7-202F-B153-99625E4779DC}"/>
              </a:ext>
            </a:extLst>
          </p:cNvPr>
          <p:cNvGrpSpPr/>
          <p:nvPr/>
        </p:nvGrpSpPr>
        <p:grpSpPr>
          <a:xfrm>
            <a:off x="10309590" y="2999263"/>
            <a:ext cx="524094" cy="618470"/>
            <a:chOff x="7384023" y="4080510"/>
            <a:chExt cx="644463" cy="760515"/>
          </a:xfrm>
        </p:grpSpPr>
        <p:sp>
          <p:nvSpPr>
            <p:cNvPr id="239" name="Freihandform: Form 180">
              <a:extLst>
                <a:ext uri="{FF2B5EF4-FFF2-40B4-BE49-F238E27FC236}">
                  <a16:creationId xmlns:a16="http://schemas.microsoft.com/office/drawing/2014/main" id="{99095F15-08CA-02A4-0F87-6E77663EA7C4}"/>
                </a:ext>
              </a:extLst>
            </p:cNvPr>
            <p:cNvSpPr/>
            <p:nvPr/>
          </p:nvSpPr>
          <p:spPr>
            <a:xfrm>
              <a:off x="7409799" y="4609014"/>
              <a:ext cx="618687" cy="232011"/>
            </a:xfrm>
            <a:custGeom>
              <a:avLst/>
              <a:gdLst>
                <a:gd name="connsiteX0" fmla="*/ 0 w 10743028"/>
                <a:gd name="connsiteY0" fmla="*/ 2685864 h 4028690"/>
                <a:gd name="connsiteX1" fmla="*/ 1003649 w 10743028"/>
                <a:gd name="connsiteY1" fmla="*/ 2685864 h 4028690"/>
                <a:gd name="connsiteX2" fmla="*/ 1666875 w 10743028"/>
                <a:gd name="connsiteY2" fmla="*/ 2786353 h 4028690"/>
                <a:gd name="connsiteX3" fmla="*/ 5506974 w 10743028"/>
                <a:gd name="connsiteY3" fmla="*/ 3977740 h 4028690"/>
                <a:gd name="connsiteX4" fmla="*/ 6582251 w 10743028"/>
                <a:gd name="connsiteY4" fmla="*/ 3826292 h 4028690"/>
                <a:gd name="connsiteX5" fmla="*/ 10421874 w 10743028"/>
                <a:gd name="connsiteY5" fmla="*/ 1251780 h 4028690"/>
                <a:gd name="connsiteX6" fmla="*/ 10573988 w 10743028"/>
                <a:gd name="connsiteY6" fmla="*/ 225080 h 4028690"/>
                <a:gd name="connsiteX7" fmla="*/ 9729026 w 10743028"/>
                <a:gd name="connsiteY7" fmla="*/ 81157 h 4028690"/>
                <a:gd name="connsiteX8" fmla="*/ 8040434 w 10743028"/>
                <a:gd name="connsiteY8" fmla="*/ 981175 h 402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3028" h="4028690">
                  <a:moveTo>
                    <a:pt x="0" y="2685864"/>
                  </a:moveTo>
                  <a:lnTo>
                    <a:pt x="1003649" y="2685864"/>
                  </a:lnTo>
                  <a:cubicBezTo>
                    <a:pt x="1228535" y="2685864"/>
                    <a:pt x="1452086" y="2719773"/>
                    <a:pt x="1666875" y="2786353"/>
                  </a:cubicBezTo>
                  <a:lnTo>
                    <a:pt x="5506974" y="3977740"/>
                  </a:lnTo>
                  <a:cubicBezTo>
                    <a:pt x="5870734" y="4080896"/>
                    <a:pt x="6261164" y="4025936"/>
                    <a:pt x="6582251" y="3826292"/>
                  </a:cubicBezTo>
                  <a:lnTo>
                    <a:pt x="10421874" y="1251780"/>
                  </a:lnTo>
                  <a:cubicBezTo>
                    <a:pt x="10771346" y="1034610"/>
                    <a:pt x="10856119" y="551311"/>
                    <a:pt x="10573988" y="225080"/>
                  </a:cubicBezTo>
                  <a:cubicBezTo>
                    <a:pt x="10366629" y="-14759"/>
                    <a:pt x="10011347" y="-63242"/>
                    <a:pt x="9729026" y="81157"/>
                  </a:cubicBezTo>
                  <a:lnTo>
                    <a:pt x="8040434" y="981175"/>
                  </a:lnTo>
                </a:path>
              </a:pathLst>
            </a:custGeom>
            <a:noFill/>
            <a:ln w="9525" cap="rnd">
              <a:solidFill>
                <a:schemeClr val="tx2"/>
              </a:solidFill>
              <a:prstDash val="solid"/>
              <a:miter/>
            </a:ln>
          </p:spPr>
          <p:txBody>
            <a:bodyPr rtlCol="0" anchor="ctr"/>
            <a:lstStyle/>
            <a:p>
              <a:endParaRPr lang="de-DE"/>
            </a:p>
          </p:txBody>
        </p:sp>
        <p:sp>
          <p:nvSpPr>
            <p:cNvPr id="240" name="Freihandform: Form 181">
              <a:extLst>
                <a:ext uri="{FF2B5EF4-FFF2-40B4-BE49-F238E27FC236}">
                  <a16:creationId xmlns:a16="http://schemas.microsoft.com/office/drawing/2014/main" id="{0E7BCB8F-CE35-2E53-A518-759C7F5D9925}"/>
                </a:ext>
              </a:extLst>
            </p:cNvPr>
            <p:cNvSpPr/>
            <p:nvPr/>
          </p:nvSpPr>
          <p:spPr>
            <a:xfrm>
              <a:off x="7384023" y="4583244"/>
              <a:ext cx="489792" cy="128891"/>
            </a:xfrm>
            <a:custGeom>
              <a:avLst/>
              <a:gdLst>
                <a:gd name="connsiteX0" fmla="*/ 4476274 w 8504867"/>
                <a:gd name="connsiteY0" fmla="*/ 2238089 h 2238089"/>
                <a:gd name="connsiteX1" fmla="*/ 7795451 w 8504867"/>
                <a:gd name="connsiteY1" fmla="*/ 2238089 h 2238089"/>
                <a:gd name="connsiteX2" fmla="*/ 8503920 w 8504867"/>
                <a:gd name="connsiteY2" fmla="*/ 1602772 h 2238089"/>
                <a:gd name="connsiteX3" fmla="*/ 7833455 w 8504867"/>
                <a:gd name="connsiteY3" fmla="*/ 895255 h 2238089"/>
                <a:gd name="connsiteX4" fmla="*/ 5554314 w 8504867"/>
                <a:gd name="connsiteY4" fmla="*/ 895255 h 2238089"/>
                <a:gd name="connsiteX5" fmla="*/ 4942618 w 8504867"/>
                <a:gd name="connsiteY5" fmla="*/ 652177 h 2238089"/>
                <a:gd name="connsiteX6" fmla="*/ 3133344 w 8504867"/>
                <a:gd name="connsiteY6" fmla="*/ 0 h 2238089"/>
                <a:gd name="connsiteX7" fmla="*/ 1753362 w 8504867"/>
                <a:gd name="connsiteY7" fmla="*/ 340805 h 2238089"/>
                <a:gd name="connsiteX8" fmla="*/ 1331595 w 8504867"/>
                <a:gd name="connsiteY8" fmla="*/ 447580 h 2238089"/>
                <a:gd name="connsiteX9" fmla="*/ 0 w 8504867"/>
                <a:gd name="connsiteY9" fmla="*/ 447580 h 223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04867" h="2238089">
                  <a:moveTo>
                    <a:pt x="4476274" y="2238089"/>
                  </a:moveTo>
                  <a:lnTo>
                    <a:pt x="7795451" y="2238089"/>
                  </a:lnTo>
                  <a:cubicBezTo>
                    <a:pt x="8159020" y="2238089"/>
                    <a:pt x="8484965" y="1965865"/>
                    <a:pt x="8503920" y="1602772"/>
                  </a:cubicBezTo>
                  <a:cubicBezTo>
                    <a:pt x="8524208" y="1215581"/>
                    <a:pt x="8216170" y="895255"/>
                    <a:pt x="7833455" y="895255"/>
                  </a:cubicBezTo>
                  <a:lnTo>
                    <a:pt x="5554314" y="895255"/>
                  </a:lnTo>
                  <a:cubicBezTo>
                    <a:pt x="5326666" y="895255"/>
                    <a:pt x="5105591" y="811149"/>
                    <a:pt x="4942618" y="652177"/>
                  </a:cubicBezTo>
                  <a:cubicBezTo>
                    <a:pt x="4537996" y="257461"/>
                    <a:pt x="3881247" y="0"/>
                    <a:pt x="3133344" y="0"/>
                  </a:cubicBezTo>
                  <a:cubicBezTo>
                    <a:pt x="2608898" y="0"/>
                    <a:pt x="2131981" y="128588"/>
                    <a:pt x="1753362" y="340805"/>
                  </a:cubicBezTo>
                  <a:cubicBezTo>
                    <a:pt x="1624775" y="412909"/>
                    <a:pt x="1479042" y="447580"/>
                    <a:pt x="1331595" y="447580"/>
                  </a:cubicBezTo>
                  <a:lnTo>
                    <a:pt x="0" y="447580"/>
                  </a:lnTo>
                </a:path>
              </a:pathLst>
            </a:custGeom>
            <a:noFill/>
            <a:ln w="9525" cap="rnd">
              <a:solidFill>
                <a:schemeClr val="tx2"/>
              </a:solidFill>
              <a:prstDash val="solid"/>
              <a:miter/>
            </a:ln>
          </p:spPr>
          <p:txBody>
            <a:bodyPr rtlCol="0" anchor="ctr"/>
            <a:lstStyle/>
            <a:p>
              <a:endParaRPr lang="de-DE"/>
            </a:p>
          </p:txBody>
        </p:sp>
        <p:grpSp>
          <p:nvGrpSpPr>
            <p:cNvPr id="241" name="Gruppieren 240">
              <a:extLst>
                <a:ext uri="{FF2B5EF4-FFF2-40B4-BE49-F238E27FC236}">
                  <a16:creationId xmlns:a16="http://schemas.microsoft.com/office/drawing/2014/main" id="{4B870B4B-A750-D518-59F2-940B6990140A}"/>
                </a:ext>
              </a:extLst>
            </p:cNvPr>
            <p:cNvGrpSpPr/>
            <p:nvPr/>
          </p:nvGrpSpPr>
          <p:grpSpPr>
            <a:xfrm>
              <a:off x="7599449" y="4080510"/>
              <a:ext cx="405602" cy="476142"/>
              <a:chOff x="355659" y="-3379803"/>
              <a:chExt cx="2535932" cy="2976970"/>
            </a:xfrm>
          </p:grpSpPr>
          <p:grpSp>
            <p:nvGrpSpPr>
              <p:cNvPr id="242" name="Grafik 11">
                <a:extLst>
                  <a:ext uri="{FF2B5EF4-FFF2-40B4-BE49-F238E27FC236}">
                    <a16:creationId xmlns:a16="http://schemas.microsoft.com/office/drawing/2014/main" id="{DF183C54-C23E-FD7D-2B63-CCD8A37E462F}"/>
                  </a:ext>
                </a:extLst>
              </p:cNvPr>
              <p:cNvGrpSpPr/>
              <p:nvPr/>
            </p:nvGrpSpPr>
            <p:grpSpPr>
              <a:xfrm>
                <a:off x="355659" y="-3379803"/>
                <a:ext cx="2535932" cy="1901950"/>
                <a:chOff x="1403853" y="-1643198"/>
                <a:chExt cx="438149" cy="328612"/>
              </a:xfrm>
            </p:grpSpPr>
            <p:sp>
              <p:nvSpPr>
                <p:cNvPr id="251" name="Freihandform: Form 15">
                  <a:extLst>
                    <a:ext uri="{FF2B5EF4-FFF2-40B4-BE49-F238E27FC236}">
                      <a16:creationId xmlns:a16="http://schemas.microsoft.com/office/drawing/2014/main" id="{00166426-6C57-9C4D-F2FC-B3203D61E11D}"/>
                    </a:ext>
                  </a:extLst>
                </p:cNvPr>
                <p:cNvSpPr/>
                <p:nvPr/>
              </p:nvSpPr>
              <p:spPr>
                <a:xfrm>
                  <a:off x="1713415" y="-1613848"/>
                  <a:ext cx="19050" cy="32995"/>
                </a:xfrm>
                <a:custGeom>
                  <a:avLst/>
                  <a:gdLst>
                    <a:gd name="connsiteX0" fmla="*/ 0 w 19050"/>
                    <a:gd name="connsiteY0" fmla="*/ 32996 h 32995"/>
                    <a:gd name="connsiteX1" fmla="*/ 19050 w 19050"/>
                    <a:gd name="connsiteY1" fmla="*/ 0 h 32995"/>
                  </a:gdLst>
                  <a:ahLst/>
                  <a:cxnLst>
                    <a:cxn ang="0">
                      <a:pos x="connsiteX0" y="connsiteY0"/>
                    </a:cxn>
                    <a:cxn ang="0">
                      <a:pos x="connsiteX1" y="connsiteY1"/>
                    </a:cxn>
                  </a:cxnLst>
                  <a:rect l="l" t="t" r="r" b="b"/>
                  <a:pathLst>
                    <a:path w="19050" h="32995">
                      <a:moveTo>
                        <a:pt x="0" y="32996"/>
                      </a:moveTo>
                      <a:lnTo>
                        <a:pt x="19050" y="0"/>
                      </a:lnTo>
                    </a:path>
                  </a:pathLst>
                </a:custGeom>
                <a:ln w="15875" cap="rnd">
                  <a:solidFill>
                    <a:schemeClr val="accent1"/>
                  </a:solidFill>
                  <a:prstDash val="solid"/>
                  <a:miter/>
                </a:ln>
              </p:spPr>
              <p:txBody>
                <a:bodyPr rtlCol="0" anchor="ctr"/>
                <a:lstStyle/>
                <a:p>
                  <a:endParaRPr lang="de-DE"/>
                </a:p>
              </p:txBody>
            </p:sp>
            <p:sp>
              <p:nvSpPr>
                <p:cNvPr id="252" name="Freihandform: Form 16">
                  <a:extLst>
                    <a:ext uri="{FF2B5EF4-FFF2-40B4-BE49-F238E27FC236}">
                      <a16:creationId xmlns:a16="http://schemas.microsoft.com/office/drawing/2014/main" id="{166100CC-E127-7989-8C62-C3DBFE84EFAC}"/>
                    </a:ext>
                  </a:extLst>
                </p:cNvPr>
                <p:cNvSpPr/>
                <p:nvPr/>
              </p:nvSpPr>
              <p:spPr>
                <a:xfrm>
                  <a:off x="1433203" y="-1333636"/>
                  <a:ext cx="32995" cy="19050"/>
                </a:xfrm>
                <a:custGeom>
                  <a:avLst/>
                  <a:gdLst>
                    <a:gd name="connsiteX0" fmla="*/ 0 w 32995"/>
                    <a:gd name="connsiteY0" fmla="*/ 19050 h 19050"/>
                    <a:gd name="connsiteX1" fmla="*/ 32996 w 32995"/>
                    <a:gd name="connsiteY1" fmla="*/ 0 h 19050"/>
                  </a:gdLst>
                  <a:ahLst/>
                  <a:cxnLst>
                    <a:cxn ang="0">
                      <a:pos x="connsiteX0" y="connsiteY0"/>
                    </a:cxn>
                    <a:cxn ang="0">
                      <a:pos x="connsiteX1" y="connsiteY1"/>
                    </a:cxn>
                  </a:cxnLst>
                  <a:rect l="l" t="t" r="r" b="b"/>
                  <a:pathLst>
                    <a:path w="32995" h="19050">
                      <a:moveTo>
                        <a:pt x="0" y="19050"/>
                      </a:moveTo>
                      <a:lnTo>
                        <a:pt x="32996" y="0"/>
                      </a:lnTo>
                    </a:path>
                  </a:pathLst>
                </a:custGeom>
                <a:ln w="15875" cap="rnd">
                  <a:solidFill>
                    <a:schemeClr val="accent1"/>
                  </a:solidFill>
                  <a:prstDash val="solid"/>
                  <a:miter/>
                </a:ln>
              </p:spPr>
              <p:txBody>
                <a:bodyPr rtlCol="0" anchor="ctr"/>
                <a:lstStyle/>
                <a:p>
                  <a:endParaRPr lang="de-DE"/>
                </a:p>
              </p:txBody>
            </p:sp>
            <p:sp>
              <p:nvSpPr>
                <p:cNvPr id="253" name="Freihandform: Form 17">
                  <a:extLst>
                    <a:ext uri="{FF2B5EF4-FFF2-40B4-BE49-F238E27FC236}">
                      <a16:creationId xmlns:a16="http://schemas.microsoft.com/office/drawing/2014/main" id="{5A35FA3A-6FA5-4284-9137-4C8489B67A2F}"/>
                    </a:ext>
                  </a:extLst>
                </p:cNvPr>
                <p:cNvSpPr/>
                <p:nvPr/>
              </p:nvSpPr>
              <p:spPr>
                <a:xfrm>
                  <a:off x="1779657" y="-1533661"/>
                  <a:ext cx="32995" cy="19050"/>
                </a:xfrm>
                <a:custGeom>
                  <a:avLst/>
                  <a:gdLst>
                    <a:gd name="connsiteX0" fmla="*/ 0 w 32995"/>
                    <a:gd name="connsiteY0" fmla="*/ 19050 h 19050"/>
                    <a:gd name="connsiteX1" fmla="*/ 32996 w 32995"/>
                    <a:gd name="connsiteY1" fmla="*/ 0 h 19050"/>
                  </a:gdLst>
                  <a:ahLst/>
                  <a:cxnLst>
                    <a:cxn ang="0">
                      <a:pos x="connsiteX0" y="connsiteY0"/>
                    </a:cxn>
                    <a:cxn ang="0">
                      <a:pos x="connsiteX1" y="connsiteY1"/>
                    </a:cxn>
                  </a:cxnLst>
                  <a:rect l="l" t="t" r="r" b="b"/>
                  <a:pathLst>
                    <a:path w="32995" h="19050">
                      <a:moveTo>
                        <a:pt x="0" y="19050"/>
                      </a:moveTo>
                      <a:lnTo>
                        <a:pt x="32996" y="0"/>
                      </a:lnTo>
                    </a:path>
                  </a:pathLst>
                </a:custGeom>
                <a:ln w="15875" cap="rnd">
                  <a:solidFill>
                    <a:schemeClr val="accent1"/>
                  </a:solidFill>
                  <a:prstDash val="solid"/>
                  <a:miter/>
                </a:ln>
              </p:spPr>
              <p:txBody>
                <a:bodyPr rtlCol="0" anchor="ctr"/>
                <a:lstStyle/>
                <a:p>
                  <a:endParaRPr lang="de-DE"/>
                </a:p>
              </p:txBody>
            </p:sp>
            <p:sp>
              <p:nvSpPr>
                <p:cNvPr id="254" name="Freihandform: Form 18">
                  <a:extLst>
                    <a:ext uri="{FF2B5EF4-FFF2-40B4-BE49-F238E27FC236}">
                      <a16:creationId xmlns:a16="http://schemas.microsoft.com/office/drawing/2014/main" id="{1505D293-6B84-46DC-6701-EB0A50C5249A}"/>
                    </a:ext>
                  </a:extLst>
                </p:cNvPr>
                <p:cNvSpPr/>
                <p:nvPr/>
              </p:nvSpPr>
              <p:spPr>
                <a:xfrm>
                  <a:off x="1403853" y="-1424123"/>
                  <a:ext cx="38100" cy="9525"/>
                </a:xfrm>
                <a:custGeom>
                  <a:avLst/>
                  <a:gdLst>
                    <a:gd name="connsiteX0" fmla="*/ 0 w 38100"/>
                    <a:gd name="connsiteY0" fmla="*/ 0 h 9525"/>
                    <a:gd name="connsiteX1" fmla="*/ 38100 w 38100"/>
                    <a:gd name="connsiteY1" fmla="*/ 0 h 9525"/>
                  </a:gdLst>
                  <a:ahLst/>
                  <a:cxnLst>
                    <a:cxn ang="0">
                      <a:pos x="connsiteX0" y="connsiteY0"/>
                    </a:cxn>
                    <a:cxn ang="0">
                      <a:pos x="connsiteX1" y="connsiteY1"/>
                    </a:cxn>
                  </a:cxnLst>
                  <a:rect l="l" t="t" r="r" b="b"/>
                  <a:pathLst>
                    <a:path w="38100" h="9525">
                      <a:moveTo>
                        <a:pt x="0" y="0"/>
                      </a:moveTo>
                      <a:lnTo>
                        <a:pt x="38100" y="0"/>
                      </a:lnTo>
                    </a:path>
                  </a:pathLst>
                </a:custGeom>
                <a:ln w="15875" cap="rnd">
                  <a:solidFill>
                    <a:schemeClr val="accent1"/>
                  </a:solidFill>
                  <a:prstDash val="solid"/>
                  <a:miter/>
                </a:ln>
              </p:spPr>
              <p:txBody>
                <a:bodyPr rtlCol="0" anchor="ctr"/>
                <a:lstStyle/>
                <a:p>
                  <a:endParaRPr lang="de-DE"/>
                </a:p>
              </p:txBody>
            </p:sp>
            <p:sp>
              <p:nvSpPr>
                <p:cNvPr id="255" name="Freihandform: Form 19">
                  <a:extLst>
                    <a:ext uri="{FF2B5EF4-FFF2-40B4-BE49-F238E27FC236}">
                      <a16:creationId xmlns:a16="http://schemas.microsoft.com/office/drawing/2014/main" id="{C7A535A0-8D73-FEC8-5274-458280F70872}"/>
                    </a:ext>
                  </a:extLst>
                </p:cNvPr>
                <p:cNvSpPr/>
                <p:nvPr/>
              </p:nvSpPr>
              <p:spPr>
                <a:xfrm>
                  <a:off x="1803903" y="-1424123"/>
                  <a:ext cx="38100" cy="9525"/>
                </a:xfrm>
                <a:custGeom>
                  <a:avLst/>
                  <a:gdLst>
                    <a:gd name="connsiteX0" fmla="*/ 0 w 38100"/>
                    <a:gd name="connsiteY0" fmla="*/ 0 h 9525"/>
                    <a:gd name="connsiteX1" fmla="*/ 38100 w 38100"/>
                    <a:gd name="connsiteY1" fmla="*/ 0 h 9525"/>
                  </a:gdLst>
                  <a:ahLst/>
                  <a:cxnLst>
                    <a:cxn ang="0">
                      <a:pos x="connsiteX0" y="connsiteY0"/>
                    </a:cxn>
                    <a:cxn ang="0">
                      <a:pos x="connsiteX1" y="connsiteY1"/>
                    </a:cxn>
                  </a:cxnLst>
                  <a:rect l="l" t="t" r="r" b="b"/>
                  <a:pathLst>
                    <a:path w="38100" h="9525">
                      <a:moveTo>
                        <a:pt x="0" y="0"/>
                      </a:moveTo>
                      <a:lnTo>
                        <a:pt x="38100" y="0"/>
                      </a:lnTo>
                    </a:path>
                  </a:pathLst>
                </a:custGeom>
                <a:ln w="15875" cap="rnd">
                  <a:solidFill>
                    <a:schemeClr val="accent1"/>
                  </a:solidFill>
                  <a:prstDash val="solid"/>
                  <a:miter/>
                </a:ln>
              </p:spPr>
              <p:txBody>
                <a:bodyPr rtlCol="0" anchor="ctr"/>
                <a:lstStyle/>
                <a:p>
                  <a:endParaRPr lang="de-DE"/>
                </a:p>
              </p:txBody>
            </p:sp>
            <p:sp>
              <p:nvSpPr>
                <p:cNvPr id="256" name="Freihandform: Form 20">
                  <a:extLst>
                    <a:ext uri="{FF2B5EF4-FFF2-40B4-BE49-F238E27FC236}">
                      <a16:creationId xmlns:a16="http://schemas.microsoft.com/office/drawing/2014/main" id="{FB3E51C8-CE2A-2A53-388E-F718C729C0A4}"/>
                    </a:ext>
                  </a:extLst>
                </p:cNvPr>
                <p:cNvSpPr/>
                <p:nvPr/>
              </p:nvSpPr>
              <p:spPr>
                <a:xfrm>
                  <a:off x="1433203" y="-1533661"/>
                  <a:ext cx="32995" cy="19050"/>
                </a:xfrm>
                <a:custGeom>
                  <a:avLst/>
                  <a:gdLst>
                    <a:gd name="connsiteX0" fmla="*/ 0 w 32995"/>
                    <a:gd name="connsiteY0" fmla="*/ 0 h 19050"/>
                    <a:gd name="connsiteX1" fmla="*/ 32996 w 32995"/>
                    <a:gd name="connsiteY1" fmla="*/ 19050 h 19050"/>
                  </a:gdLst>
                  <a:ahLst/>
                  <a:cxnLst>
                    <a:cxn ang="0">
                      <a:pos x="connsiteX0" y="connsiteY0"/>
                    </a:cxn>
                    <a:cxn ang="0">
                      <a:pos x="connsiteX1" y="connsiteY1"/>
                    </a:cxn>
                  </a:cxnLst>
                  <a:rect l="l" t="t" r="r" b="b"/>
                  <a:pathLst>
                    <a:path w="32995" h="19050">
                      <a:moveTo>
                        <a:pt x="0" y="0"/>
                      </a:moveTo>
                      <a:lnTo>
                        <a:pt x="32996" y="19050"/>
                      </a:lnTo>
                    </a:path>
                  </a:pathLst>
                </a:custGeom>
                <a:ln w="15875" cap="rnd">
                  <a:solidFill>
                    <a:schemeClr val="accent1"/>
                  </a:solidFill>
                  <a:prstDash val="solid"/>
                  <a:miter/>
                </a:ln>
              </p:spPr>
              <p:txBody>
                <a:bodyPr rtlCol="0" anchor="ctr"/>
                <a:lstStyle/>
                <a:p>
                  <a:endParaRPr lang="de-DE"/>
                </a:p>
              </p:txBody>
            </p:sp>
            <p:sp>
              <p:nvSpPr>
                <p:cNvPr id="257" name="Freihandform: Form 21">
                  <a:extLst>
                    <a:ext uri="{FF2B5EF4-FFF2-40B4-BE49-F238E27FC236}">
                      <a16:creationId xmlns:a16="http://schemas.microsoft.com/office/drawing/2014/main" id="{AD954AD8-66DF-AD6B-7087-8BBD59F4F21B}"/>
                    </a:ext>
                  </a:extLst>
                </p:cNvPr>
                <p:cNvSpPr/>
                <p:nvPr/>
              </p:nvSpPr>
              <p:spPr>
                <a:xfrm>
                  <a:off x="1779657" y="-1333636"/>
                  <a:ext cx="32995" cy="19050"/>
                </a:xfrm>
                <a:custGeom>
                  <a:avLst/>
                  <a:gdLst>
                    <a:gd name="connsiteX0" fmla="*/ 0 w 32995"/>
                    <a:gd name="connsiteY0" fmla="*/ 0 h 19050"/>
                    <a:gd name="connsiteX1" fmla="*/ 32996 w 32995"/>
                    <a:gd name="connsiteY1" fmla="*/ 19050 h 19050"/>
                  </a:gdLst>
                  <a:ahLst/>
                  <a:cxnLst>
                    <a:cxn ang="0">
                      <a:pos x="connsiteX0" y="connsiteY0"/>
                    </a:cxn>
                    <a:cxn ang="0">
                      <a:pos x="connsiteX1" y="connsiteY1"/>
                    </a:cxn>
                  </a:cxnLst>
                  <a:rect l="l" t="t" r="r" b="b"/>
                  <a:pathLst>
                    <a:path w="32995" h="19050">
                      <a:moveTo>
                        <a:pt x="0" y="0"/>
                      </a:moveTo>
                      <a:lnTo>
                        <a:pt x="32996" y="19050"/>
                      </a:lnTo>
                    </a:path>
                  </a:pathLst>
                </a:custGeom>
                <a:ln w="15875" cap="rnd">
                  <a:solidFill>
                    <a:schemeClr val="accent1"/>
                  </a:solidFill>
                  <a:prstDash val="solid"/>
                  <a:miter/>
                </a:ln>
              </p:spPr>
              <p:txBody>
                <a:bodyPr rtlCol="0" anchor="ctr"/>
                <a:lstStyle/>
                <a:p>
                  <a:endParaRPr lang="de-DE"/>
                </a:p>
              </p:txBody>
            </p:sp>
            <p:sp>
              <p:nvSpPr>
                <p:cNvPr id="258" name="Freihandform: Form 22">
                  <a:extLst>
                    <a:ext uri="{FF2B5EF4-FFF2-40B4-BE49-F238E27FC236}">
                      <a16:creationId xmlns:a16="http://schemas.microsoft.com/office/drawing/2014/main" id="{3DA69BA7-11F1-6E8E-4289-8EA10FBF1532}"/>
                    </a:ext>
                  </a:extLst>
                </p:cNvPr>
                <p:cNvSpPr/>
                <p:nvPr/>
              </p:nvSpPr>
              <p:spPr>
                <a:xfrm>
                  <a:off x="1513390" y="-1613848"/>
                  <a:ext cx="19050" cy="32995"/>
                </a:xfrm>
                <a:custGeom>
                  <a:avLst/>
                  <a:gdLst>
                    <a:gd name="connsiteX0" fmla="*/ 0 w 19050"/>
                    <a:gd name="connsiteY0" fmla="*/ 0 h 32995"/>
                    <a:gd name="connsiteX1" fmla="*/ 19050 w 19050"/>
                    <a:gd name="connsiteY1" fmla="*/ 32996 h 32995"/>
                  </a:gdLst>
                  <a:ahLst/>
                  <a:cxnLst>
                    <a:cxn ang="0">
                      <a:pos x="connsiteX0" y="connsiteY0"/>
                    </a:cxn>
                    <a:cxn ang="0">
                      <a:pos x="connsiteX1" y="connsiteY1"/>
                    </a:cxn>
                  </a:cxnLst>
                  <a:rect l="l" t="t" r="r" b="b"/>
                  <a:pathLst>
                    <a:path w="19050" h="32995">
                      <a:moveTo>
                        <a:pt x="0" y="0"/>
                      </a:moveTo>
                      <a:lnTo>
                        <a:pt x="19050" y="32996"/>
                      </a:lnTo>
                    </a:path>
                  </a:pathLst>
                </a:custGeom>
                <a:ln w="15875" cap="rnd">
                  <a:solidFill>
                    <a:schemeClr val="accent1"/>
                  </a:solidFill>
                  <a:prstDash val="solid"/>
                  <a:miter/>
                </a:ln>
              </p:spPr>
              <p:txBody>
                <a:bodyPr rtlCol="0" anchor="ctr"/>
                <a:lstStyle/>
                <a:p>
                  <a:endParaRPr lang="de-DE"/>
                </a:p>
              </p:txBody>
            </p:sp>
            <p:sp>
              <p:nvSpPr>
                <p:cNvPr id="259" name="Freihandform: Form 23">
                  <a:extLst>
                    <a:ext uri="{FF2B5EF4-FFF2-40B4-BE49-F238E27FC236}">
                      <a16:creationId xmlns:a16="http://schemas.microsoft.com/office/drawing/2014/main" id="{A06908C9-7D65-1C30-A4B8-441C256F53E5}"/>
                    </a:ext>
                  </a:extLst>
                </p:cNvPr>
                <p:cNvSpPr/>
                <p:nvPr/>
              </p:nvSpPr>
              <p:spPr>
                <a:xfrm>
                  <a:off x="1622928" y="-1643198"/>
                  <a:ext cx="9525" cy="38100"/>
                </a:xfrm>
                <a:custGeom>
                  <a:avLst/>
                  <a:gdLst>
                    <a:gd name="connsiteX0" fmla="*/ 0 w 9525"/>
                    <a:gd name="connsiteY0" fmla="*/ 0 h 38100"/>
                    <a:gd name="connsiteX1" fmla="*/ 0 w 9525"/>
                    <a:gd name="connsiteY1" fmla="*/ 38100 h 38100"/>
                  </a:gdLst>
                  <a:ahLst/>
                  <a:cxnLst>
                    <a:cxn ang="0">
                      <a:pos x="connsiteX0" y="connsiteY0"/>
                    </a:cxn>
                    <a:cxn ang="0">
                      <a:pos x="connsiteX1" y="connsiteY1"/>
                    </a:cxn>
                  </a:cxnLst>
                  <a:rect l="l" t="t" r="r" b="b"/>
                  <a:pathLst>
                    <a:path w="9525" h="38100">
                      <a:moveTo>
                        <a:pt x="0" y="0"/>
                      </a:moveTo>
                      <a:lnTo>
                        <a:pt x="0" y="38100"/>
                      </a:lnTo>
                    </a:path>
                  </a:pathLst>
                </a:custGeom>
                <a:ln w="15875" cap="rnd">
                  <a:solidFill>
                    <a:schemeClr val="accent1"/>
                  </a:solidFill>
                  <a:prstDash val="solid"/>
                  <a:miter/>
                </a:ln>
              </p:spPr>
              <p:txBody>
                <a:bodyPr rtlCol="0" anchor="ctr"/>
                <a:lstStyle/>
                <a:p>
                  <a:endParaRPr lang="de-DE"/>
                </a:p>
              </p:txBody>
            </p:sp>
          </p:grpSp>
          <p:grpSp>
            <p:nvGrpSpPr>
              <p:cNvPr id="243" name="Gruppieren 242">
                <a:extLst>
                  <a:ext uri="{FF2B5EF4-FFF2-40B4-BE49-F238E27FC236}">
                    <a16:creationId xmlns:a16="http://schemas.microsoft.com/office/drawing/2014/main" id="{E19C04E2-BD10-5143-F3B2-ECEFBD75FC88}"/>
                  </a:ext>
                </a:extLst>
              </p:cNvPr>
              <p:cNvGrpSpPr/>
              <p:nvPr/>
            </p:nvGrpSpPr>
            <p:grpSpPr>
              <a:xfrm>
                <a:off x="796692" y="-2938770"/>
                <a:ext cx="1653867" cy="2535937"/>
                <a:chOff x="796692" y="-2938770"/>
                <a:chExt cx="1653867" cy="2535937"/>
              </a:xfrm>
            </p:grpSpPr>
            <p:sp>
              <p:nvSpPr>
                <p:cNvPr id="244" name="Freihandform: Form 8">
                  <a:extLst>
                    <a:ext uri="{FF2B5EF4-FFF2-40B4-BE49-F238E27FC236}">
                      <a16:creationId xmlns:a16="http://schemas.microsoft.com/office/drawing/2014/main" id="{E98DA217-70C7-5087-4FD4-6173DA0403E1}"/>
                    </a:ext>
                  </a:extLst>
                </p:cNvPr>
                <p:cNvSpPr/>
                <p:nvPr/>
              </p:nvSpPr>
              <p:spPr>
                <a:xfrm>
                  <a:off x="796692" y="-2938770"/>
                  <a:ext cx="1653867" cy="1984647"/>
                </a:xfrm>
                <a:custGeom>
                  <a:avLst/>
                  <a:gdLst>
                    <a:gd name="connsiteX0" fmla="*/ 285750 w 285749"/>
                    <a:gd name="connsiteY0" fmla="*/ 142875 h 342900"/>
                    <a:gd name="connsiteX1" fmla="*/ 142875 w 285749"/>
                    <a:gd name="connsiteY1" fmla="*/ 0 h 342900"/>
                    <a:gd name="connsiteX2" fmla="*/ 0 w 285749"/>
                    <a:gd name="connsiteY2" fmla="*/ 142875 h 342900"/>
                    <a:gd name="connsiteX3" fmla="*/ 46037 w 285749"/>
                    <a:gd name="connsiteY3" fmla="*/ 247849 h 342900"/>
                    <a:gd name="connsiteX4" fmla="*/ 76200 w 285749"/>
                    <a:gd name="connsiteY4" fmla="*/ 317314 h 342900"/>
                    <a:gd name="connsiteX5" fmla="*/ 76200 w 285749"/>
                    <a:gd name="connsiteY5" fmla="*/ 323850 h 342900"/>
                    <a:gd name="connsiteX6" fmla="*/ 95250 w 285749"/>
                    <a:gd name="connsiteY6" fmla="*/ 342900 h 342900"/>
                    <a:gd name="connsiteX7" fmla="*/ 190500 w 285749"/>
                    <a:gd name="connsiteY7" fmla="*/ 342900 h 342900"/>
                    <a:gd name="connsiteX8" fmla="*/ 209550 w 285749"/>
                    <a:gd name="connsiteY8" fmla="*/ 323850 h 342900"/>
                    <a:gd name="connsiteX9" fmla="*/ 209550 w 285749"/>
                    <a:gd name="connsiteY9" fmla="*/ 317314 h 342900"/>
                    <a:gd name="connsiteX10" fmla="*/ 239713 w 285749"/>
                    <a:gd name="connsiteY10" fmla="*/ 247849 h 342900"/>
                    <a:gd name="connsiteX11" fmla="*/ 285750 w 285749"/>
                    <a:gd name="connsiteY11" fmla="*/ 14287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749" h="342900">
                      <a:moveTo>
                        <a:pt x="285750" y="142875"/>
                      </a:moveTo>
                      <a:cubicBezTo>
                        <a:pt x="285750" y="63967"/>
                        <a:pt x="221783" y="0"/>
                        <a:pt x="142875" y="0"/>
                      </a:cubicBezTo>
                      <a:cubicBezTo>
                        <a:pt x="63967" y="0"/>
                        <a:pt x="0" y="63967"/>
                        <a:pt x="0" y="142875"/>
                      </a:cubicBezTo>
                      <a:cubicBezTo>
                        <a:pt x="0" y="184404"/>
                        <a:pt x="17737" y="221761"/>
                        <a:pt x="46037" y="247849"/>
                      </a:cubicBezTo>
                      <a:cubicBezTo>
                        <a:pt x="65401" y="265701"/>
                        <a:pt x="76200" y="290976"/>
                        <a:pt x="76200" y="317314"/>
                      </a:cubicBezTo>
                      <a:lnTo>
                        <a:pt x="76200" y="323850"/>
                      </a:lnTo>
                      <a:cubicBezTo>
                        <a:pt x="76200" y="334371"/>
                        <a:pt x="84729" y="342900"/>
                        <a:pt x="95250" y="342900"/>
                      </a:cubicBezTo>
                      <a:lnTo>
                        <a:pt x="190500" y="342900"/>
                      </a:lnTo>
                      <a:cubicBezTo>
                        <a:pt x="201021" y="342900"/>
                        <a:pt x="209550" y="334371"/>
                        <a:pt x="209550" y="323850"/>
                      </a:cubicBezTo>
                      <a:lnTo>
                        <a:pt x="209550" y="317314"/>
                      </a:lnTo>
                      <a:cubicBezTo>
                        <a:pt x="209550" y="290976"/>
                        <a:pt x="220349" y="265701"/>
                        <a:pt x="239713" y="247849"/>
                      </a:cubicBezTo>
                      <a:cubicBezTo>
                        <a:pt x="268012" y="221761"/>
                        <a:pt x="285750" y="184404"/>
                        <a:pt x="285750" y="142875"/>
                      </a:cubicBezTo>
                      <a:close/>
                    </a:path>
                  </a:pathLst>
                </a:custGeom>
                <a:noFill/>
                <a:ln w="15875" cap="rnd">
                  <a:solidFill>
                    <a:schemeClr val="accent1"/>
                  </a:solidFill>
                  <a:prstDash val="solid"/>
                  <a:miter/>
                </a:ln>
              </p:spPr>
              <p:txBody>
                <a:bodyPr rtlCol="0" anchor="ctr"/>
                <a:lstStyle/>
                <a:p>
                  <a:endParaRPr lang="de-DE"/>
                </a:p>
              </p:txBody>
            </p:sp>
            <p:sp>
              <p:nvSpPr>
                <p:cNvPr id="245" name="Freihandform: Form 9">
                  <a:extLst>
                    <a:ext uri="{FF2B5EF4-FFF2-40B4-BE49-F238E27FC236}">
                      <a16:creationId xmlns:a16="http://schemas.microsoft.com/office/drawing/2014/main" id="{E50CDA8A-B882-16E8-2D40-7F914D49C275}"/>
                    </a:ext>
                  </a:extLst>
                </p:cNvPr>
                <p:cNvSpPr/>
                <p:nvPr/>
              </p:nvSpPr>
              <p:spPr>
                <a:xfrm>
                  <a:off x="1347982" y="-954124"/>
                  <a:ext cx="551291" cy="441033"/>
                </a:xfrm>
                <a:custGeom>
                  <a:avLst/>
                  <a:gdLst>
                    <a:gd name="connsiteX0" fmla="*/ 95250 w 95250"/>
                    <a:gd name="connsiteY0" fmla="*/ 0 h 76200"/>
                    <a:gd name="connsiteX1" fmla="*/ 95250 w 95250"/>
                    <a:gd name="connsiteY1" fmla="*/ 57150 h 76200"/>
                    <a:gd name="connsiteX2" fmla="*/ 76200 w 95250"/>
                    <a:gd name="connsiteY2" fmla="*/ 76200 h 76200"/>
                    <a:gd name="connsiteX3" fmla="*/ 19050 w 95250"/>
                    <a:gd name="connsiteY3" fmla="*/ 76200 h 76200"/>
                    <a:gd name="connsiteX4" fmla="*/ 0 w 95250"/>
                    <a:gd name="connsiteY4" fmla="*/ 57150 h 76200"/>
                    <a:gd name="connsiteX5" fmla="*/ 0 w 95250"/>
                    <a:gd name="connsiteY5"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76200">
                      <a:moveTo>
                        <a:pt x="95250" y="0"/>
                      </a:moveTo>
                      <a:lnTo>
                        <a:pt x="95250" y="57150"/>
                      </a:lnTo>
                      <a:cubicBezTo>
                        <a:pt x="95250" y="67671"/>
                        <a:pt x="86721" y="76200"/>
                        <a:pt x="76200" y="76200"/>
                      </a:cubicBezTo>
                      <a:lnTo>
                        <a:pt x="19050" y="76200"/>
                      </a:lnTo>
                      <a:cubicBezTo>
                        <a:pt x="8529" y="76200"/>
                        <a:pt x="0" y="67671"/>
                        <a:pt x="0" y="57150"/>
                      </a:cubicBezTo>
                      <a:lnTo>
                        <a:pt x="0" y="0"/>
                      </a:lnTo>
                    </a:path>
                  </a:pathLst>
                </a:custGeom>
                <a:noFill/>
                <a:ln w="15875" cap="rnd">
                  <a:solidFill>
                    <a:schemeClr val="accent1"/>
                  </a:solidFill>
                  <a:prstDash val="solid"/>
                  <a:miter/>
                </a:ln>
              </p:spPr>
              <p:txBody>
                <a:bodyPr rtlCol="0" anchor="ctr"/>
                <a:lstStyle/>
                <a:p>
                  <a:endParaRPr lang="de-DE"/>
                </a:p>
              </p:txBody>
            </p:sp>
            <p:sp>
              <p:nvSpPr>
                <p:cNvPr id="246" name="Freihandform: Form 10">
                  <a:extLst>
                    <a:ext uri="{FF2B5EF4-FFF2-40B4-BE49-F238E27FC236}">
                      <a16:creationId xmlns:a16="http://schemas.microsoft.com/office/drawing/2014/main" id="{72C74EAC-06F3-9AC7-D37C-E561D6E5457B}"/>
                    </a:ext>
                  </a:extLst>
                </p:cNvPr>
                <p:cNvSpPr/>
                <p:nvPr/>
              </p:nvSpPr>
              <p:spPr>
                <a:xfrm>
                  <a:off x="1513370" y="-513091"/>
                  <a:ext cx="220516" cy="110258"/>
                </a:xfrm>
                <a:custGeom>
                  <a:avLst/>
                  <a:gdLst>
                    <a:gd name="connsiteX0" fmla="*/ 38100 w 38100"/>
                    <a:gd name="connsiteY0" fmla="*/ 0 h 19050"/>
                    <a:gd name="connsiteX1" fmla="*/ 19050 w 38100"/>
                    <a:gd name="connsiteY1" fmla="*/ 19050 h 19050"/>
                    <a:gd name="connsiteX2" fmla="*/ 0 w 38100"/>
                    <a:gd name="connsiteY2" fmla="*/ 0 h 19050"/>
                  </a:gdLst>
                  <a:ahLst/>
                  <a:cxnLst>
                    <a:cxn ang="0">
                      <a:pos x="connsiteX0" y="connsiteY0"/>
                    </a:cxn>
                    <a:cxn ang="0">
                      <a:pos x="connsiteX1" y="connsiteY1"/>
                    </a:cxn>
                    <a:cxn ang="0">
                      <a:pos x="connsiteX2" y="connsiteY2"/>
                    </a:cxn>
                  </a:cxnLst>
                  <a:rect l="l" t="t" r="r" b="b"/>
                  <a:pathLst>
                    <a:path w="38100" h="19050">
                      <a:moveTo>
                        <a:pt x="38100" y="0"/>
                      </a:moveTo>
                      <a:cubicBezTo>
                        <a:pt x="38100" y="10521"/>
                        <a:pt x="29571" y="19050"/>
                        <a:pt x="19050" y="19050"/>
                      </a:cubicBezTo>
                      <a:cubicBezTo>
                        <a:pt x="8529" y="19050"/>
                        <a:pt x="0" y="10521"/>
                        <a:pt x="0" y="0"/>
                      </a:cubicBezTo>
                    </a:path>
                  </a:pathLst>
                </a:custGeom>
                <a:noFill/>
                <a:ln w="15875" cap="rnd">
                  <a:solidFill>
                    <a:schemeClr val="accent1"/>
                  </a:solidFill>
                  <a:prstDash val="solid"/>
                  <a:miter/>
                </a:ln>
              </p:spPr>
              <p:txBody>
                <a:bodyPr rtlCol="0" anchor="ctr"/>
                <a:lstStyle/>
                <a:p>
                  <a:endParaRPr lang="de-DE"/>
                </a:p>
              </p:txBody>
            </p:sp>
            <p:sp>
              <p:nvSpPr>
                <p:cNvPr id="247" name="Freihandform: Form 11">
                  <a:extLst>
                    <a:ext uri="{FF2B5EF4-FFF2-40B4-BE49-F238E27FC236}">
                      <a16:creationId xmlns:a16="http://schemas.microsoft.com/office/drawing/2014/main" id="{1C57F6E9-7AAE-4618-D3BE-1884F3673F32}"/>
                    </a:ext>
                  </a:extLst>
                </p:cNvPr>
                <p:cNvSpPr/>
                <p:nvPr/>
              </p:nvSpPr>
              <p:spPr>
                <a:xfrm>
                  <a:off x="804852" y="-2001576"/>
                  <a:ext cx="818770" cy="275645"/>
                </a:xfrm>
                <a:custGeom>
                  <a:avLst/>
                  <a:gdLst>
                    <a:gd name="connsiteX0" fmla="*/ 0 w 141464"/>
                    <a:gd name="connsiteY0" fmla="*/ 0 h 47625"/>
                    <a:gd name="connsiteX1" fmla="*/ 53631 w 141464"/>
                    <a:gd name="connsiteY1" fmla="*/ 0 h 47625"/>
                    <a:gd name="connsiteX2" fmla="*/ 46214 w 141464"/>
                    <a:gd name="connsiteY2" fmla="*/ 19050 h 47625"/>
                    <a:gd name="connsiteX3" fmla="*/ 74789 w 141464"/>
                    <a:gd name="connsiteY3" fmla="*/ 47625 h 47625"/>
                    <a:gd name="connsiteX4" fmla="*/ 103364 w 141464"/>
                    <a:gd name="connsiteY4" fmla="*/ 19050 h 47625"/>
                    <a:gd name="connsiteX5" fmla="*/ 95948 w 141464"/>
                    <a:gd name="connsiteY5" fmla="*/ 0 h 47625"/>
                    <a:gd name="connsiteX6" fmla="*/ 141464 w 141464"/>
                    <a:gd name="connsiteY6" fmla="*/ 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64" h="47625">
                      <a:moveTo>
                        <a:pt x="0" y="0"/>
                      </a:moveTo>
                      <a:lnTo>
                        <a:pt x="53631" y="0"/>
                      </a:lnTo>
                      <a:cubicBezTo>
                        <a:pt x="49069" y="5064"/>
                        <a:pt x="46214" y="11699"/>
                        <a:pt x="46214" y="19050"/>
                      </a:cubicBezTo>
                      <a:cubicBezTo>
                        <a:pt x="46214" y="34832"/>
                        <a:pt x="59007" y="47625"/>
                        <a:pt x="74789" y="47625"/>
                      </a:cubicBezTo>
                      <a:cubicBezTo>
                        <a:pt x="90571" y="47625"/>
                        <a:pt x="103364" y="34832"/>
                        <a:pt x="103364" y="19050"/>
                      </a:cubicBezTo>
                      <a:cubicBezTo>
                        <a:pt x="103364" y="11699"/>
                        <a:pt x="100510" y="5064"/>
                        <a:pt x="95948" y="0"/>
                      </a:cubicBezTo>
                      <a:lnTo>
                        <a:pt x="141464" y="0"/>
                      </a:lnTo>
                    </a:path>
                  </a:pathLst>
                </a:custGeom>
                <a:noFill/>
                <a:ln w="15875" cap="rnd">
                  <a:solidFill>
                    <a:schemeClr val="accent1"/>
                  </a:solidFill>
                  <a:prstDash val="solid"/>
                  <a:miter/>
                </a:ln>
              </p:spPr>
              <p:txBody>
                <a:bodyPr rtlCol="0" anchor="ctr"/>
                <a:lstStyle/>
                <a:p>
                  <a:endParaRPr lang="de-DE"/>
                </a:p>
              </p:txBody>
            </p:sp>
            <p:sp>
              <p:nvSpPr>
                <p:cNvPr id="248" name="Freihandform: Form 12">
                  <a:extLst>
                    <a:ext uri="{FF2B5EF4-FFF2-40B4-BE49-F238E27FC236}">
                      <a16:creationId xmlns:a16="http://schemas.microsoft.com/office/drawing/2014/main" id="{13AFA564-CD1E-9887-F915-EDDE9A1D5AF3}"/>
                    </a:ext>
                  </a:extLst>
                </p:cNvPr>
                <p:cNvSpPr/>
                <p:nvPr/>
              </p:nvSpPr>
              <p:spPr>
                <a:xfrm>
                  <a:off x="1623628" y="-2277222"/>
                  <a:ext cx="818770" cy="275645"/>
                </a:xfrm>
                <a:custGeom>
                  <a:avLst/>
                  <a:gdLst>
                    <a:gd name="connsiteX0" fmla="*/ 141464 w 141464"/>
                    <a:gd name="connsiteY0" fmla="*/ 47625 h 47625"/>
                    <a:gd name="connsiteX1" fmla="*/ 87834 w 141464"/>
                    <a:gd name="connsiteY1" fmla="*/ 47625 h 47625"/>
                    <a:gd name="connsiteX2" fmla="*/ 95250 w 141464"/>
                    <a:gd name="connsiteY2" fmla="*/ 28575 h 47625"/>
                    <a:gd name="connsiteX3" fmla="*/ 66675 w 141464"/>
                    <a:gd name="connsiteY3" fmla="*/ 0 h 47625"/>
                    <a:gd name="connsiteX4" fmla="*/ 38100 w 141464"/>
                    <a:gd name="connsiteY4" fmla="*/ 28575 h 47625"/>
                    <a:gd name="connsiteX5" fmla="*/ 45516 w 141464"/>
                    <a:gd name="connsiteY5" fmla="*/ 47625 h 47625"/>
                    <a:gd name="connsiteX6" fmla="*/ 0 w 141464"/>
                    <a:gd name="connsiteY6"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64" h="47625">
                      <a:moveTo>
                        <a:pt x="141464" y="47625"/>
                      </a:moveTo>
                      <a:lnTo>
                        <a:pt x="87834" y="47625"/>
                      </a:lnTo>
                      <a:cubicBezTo>
                        <a:pt x="92395" y="42562"/>
                        <a:pt x="95250" y="35927"/>
                        <a:pt x="95250" y="28575"/>
                      </a:cubicBezTo>
                      <a:cubicBezTo>
                        <a:pt x="95250" y="12794"/>
                        <a:pt x="82457" y="0"/>
                        <a:pt x="66675" y="0"/>
                      </a:cubicBezTo>
                      <a:cubicBezTo>
                        <a:pt x="50893" y="0"/>
                        <a:pt x="38100" y="12794"/>
                        <a:pt x="38100" y="28575"/>
                      </a:cubicBezTo>
                      <a:cubicBezTo>
                        <a:pt x="38100" y="35927"/>
                        <a:pt x="40955" y="42562"/>
                        <a:pt x="45516" y="47625"/>
                      </a:cubicBezTo>
                      <a:lnTo>
                        <a:pt x="0" y="47625"/>
                      </a:lnTo>
                    </a:path>
                  </a:pathLst>
                </a:custGeom>
                <a:noFill/>
                <a:ln w="15875" cap="rnd">
                  <a:solidFill>
                    <a:schemeClr val="accent1"/>
                  </a:solidFill>
                  <a:prstDash val="solid"/>
                  <a:miter/>
                </a:ln>
              </p:spPr>
              <p:txBody>
                <a:bodyPr rtlCol="0" anchor="ctr"/>
                <a:lstStyle/>
                <a:p>
                  <a:endParaRPr lang="de-DE"/>
                </a:p>
              </p:txBody>
            </p:sp>
            <p:sp>
              <p:nvSpPr>
                <p:cNvPr id="249" name="Freihandform: Form 13">
                  <a:extLst>
                    <a:ext uri="{FF2B5EF4-FFF2-40B4-BE49-F238E27FC236}">
                      <a16:creationId xmlns:a16="http://schemas.microsoft.com/office/drawing/2014/main" id="{B24082D0-EA09-C764-382E-15E3F2F3CE3D}"/>
                    </a:ext>
                  </a:extLst>
                </p:cNvPr>
                <p:cNvSpPr/>
                <p:nvPr/>
              </p:nvSpPr>
              <p:spPr>
                <a:xfrm>
                  <a:off x="1347982" y="-2938770"/>
                  <a:ext cx="275645" cy="937194"/>
                </a:xfrm>
                <a:custGeom>
                  <a:avLst/>
                  <a:gdLst>
                    <a:gd name="connsiteX0" fmla="*/ 47625 w 47625"/>
                    <a:gd name="connsiteY0" fmla="*/ 0 h 161925"/>
                    <a:gd name="connsiteX1" fmla="*/ 47625 w 47625"/>
                    <a:gd name="connsiteY1" fmla="*/ 64566 h 161925"/>
                    <a:gd name="connsiteX2" fmla="*/ 28575 w 47625"/>
                    <a:gd name="connsiteY2" fmla="*/ 57150 h 161925"/>
                    <a:gd name="connsiteX3" fmla="*/ 0 w 47625"/>
                    <a:gd name="connsiteY3" fmla="*/ 85725 h 161925"/>
                    <a:gd name="connsiteX4" fmla="*/ 28575 w 47625"/>
                    <a:gd name="connsiteY4" fmla="*/ 114300 h 161925"/>
                    <a:gd name="connsiteX5" fmla="*/ 47625 w 47625"/>
                    <a:gd name="connsiteY5" fmla="*/ 106885 h 161925"/>
                    <a:gd name="connsiteX6" fmla="*/ 47625 w 47625"/>
                    <a:gd name="connsiteY6" fmla="*/ 1619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161925">
                      <a:moveTo>
                        <a:pt x="47625" y="0"/>
                      </a:moveTo>
                      <a:lnTo>
                        <a:pt x="47625" y="64566"/>
                      </a:lnTo>
                      <a:cubicBezTo>
                        <a:pt x="42562" y="60005"/>
                        <a:pt x="35926" y="57150"/>
                        <a:pt x="28575" y="57150"/>
                      </a:cubicBezTo>
                      <a:cubicBezTo>
                        <a:pt x="12793" y="57150"/>
                        <a:pt x="0" y="69944"/>
                        <a:pt x="0" y="85725"/>
                      </a:cubicBezTo>
                      <a:cubicBezTo>
                        <a:pt x="0" y="101507"/>
                        <a:pt x="12793" y="114300"/>
                        <a:pt x="28575" y="114300"/>
                      </a:cubicBezTo>
                      <a:cubicBezTo>
                        <a:pt x="35926" y="114300"/>
                        <a:pt x="42562" y="111445"/>
                        <a:pt x="47625" y="106885"/>
                      </a:cubicBezTo>
                      <a:lnTo>
                        <a:pt x="47625" y="161925"/>
                      </a:lnTo>
                    </a:path>
                  </a:pathLst>
                </a:custGeom>
                <a:noFill/>
                <a:ln w="15875" cap="rnd">
                  <a:solidFill>
                    <a:schemeClr val="accent1"/>
                  </a:solidFill>
                  <a:prstDash val="solid"/>
                  <a:miter/>
                </a:ln>
              </p:spPr>
              <p:txBody>
                <a:bodyPr rtlCol="0" anchor="ctr"/>
                <a:lstStyle/>
                <a:p>
                  <a:endParaRPr lang="de-DE"/>
                </a:p>
              </p:txBody>
            </p:sp>
            <p:sp>
              <p:nvSpPr>
                <p:cNvPr id="250" name="Freihandform: Form 14">
                  <a:extLst>
                    <a:ext uri="{FF2B5EF4-FFF2-40B4-BE49-F238E27FC236}">
                      <a16:creationId xmlns:a16="http://schemas.microsoft.com/office/drawing/2014/main" id="{2A8369F3-AF0B-6007-31AD-2E752FF10595}"/>
                    </a:ext>
                  </a:extLst>
                </p:cNvPr>
                <p:cNvSpPr/>
                <p:nvPr/>
              </p:nvSpPr>
              <p:spPr>
                <a:xfrm>
                  <a:off x="1623628" y="-2001576"/>
                  <a:ext cx="275645" cy="1047452"/>
                </a:xfrm>
                <a:custGeom>
                  <a:avLst/>
                  <a:gdLst>
                    <a:gd name="connsiteX0" fmla="*/ 0 w 47625"/>
                    <a:gd name="connsiteY0" fmla="*/ 180975 h 180975"/>
                    <a:gd name="connsiteX1" fmla="*/ 0 w 47625"/>
                    <a:gd name="connsiteY1" fmla="*/ 97360 h 180975"/>
                    <a:gd name="connsiteX2" fmla="*/ 19050 w 47625"/>
                    <a:gd name="connsiteY2" fmla="*/ 104775 h 180975"/>
                    <a:gd name="connsiteX3" fmla="*/ 47625 w 47625"/>
                    <a:gd name="connsiteY3" fmla="*/ 76200 h 180975"/>
                    <a:gd name="connsiteX4" fmla="*/ 19050 w 47625"/>
                    <a:gd name="connsiteY4" fmla="*/ 47625 h 180975"/>
                    <a:gd name="connsiteX5" fmla="*/ 0 w 47625"/>
                    <a:gd name="connsiteY5" fmla="*/ 55041 h 180975"/>
                    <a:gd name="connsiteX6" fmla="*/ 0 w 47625"/>
                    <a:gd name="connsiteY6" fmla="*/ 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180975">
                      <a:moveTo>
                        <a:pt x="0" y="180975"/>
                      </a:moveTo>
                      <a:lnTo>
                        <a:pt x="0" y="97360"/>
                      </a:lnTo>
                      <a:cubicBezTo>
                        <a:pt x="5063" y="101920"/>
                        <a:pt x="11698" y="104775"/>
                        <a:pt x="19050" y="104775"/>
                      </a:cubicBezTo>
                      <a:cubicBezTo>
                        <a:pt x="34832" y="104775"/>
                        <a:pt x="47625" y="91982"/>
                        <a:pt x="47625" y="76200"/>
                      </a:cubicBezTo>
                      <a:cubicBezTo>
                        <a:pt x="47625" y="60419"/>
                        <a:pt x="34832" y="47625"/>
                        <a:pt x="19050" y="47625"/>
                      </a:cubicBezTo>
                      <a:cubicBezTo>
                        <a:pt x="11698" y="47625"/>
                        <a:pt x="5063" y="50480"/>
                        <a:pt x="0" y="55041"/>
                      </a:cubicBezTo>
                      <a:lnTo>
                        <a:pt x="0" y="0"/>
                      </a:lnTo>
                    </a:path>
                  </a:pathLst>
                </a:custGeom>
                <a:noFill/>
                <a:ln w="15875" cap="rnd">
                  <a:solidFill>
                    <a:schemeClr val="accent1"/>
                  </a:solidFill>
                  <a:prstDash val="solid"/>
                  <a:miter/>
                </a:ln>
              </p:spPr>
              <p:txBody>
                <a:bodyPr rtlCol="0" anchor="ctr"/>
                <a:lstStyle/>
                <a:p>
                  <a:endParaRPr lang="de-DE"/>
                </a:p>
              </p:txBody>
            </p:sp>
          </p:grpSp>
        </p:grpSp>
      </p:grpSp>
      <p:sp>
        <p:nvSpPr>
          <p:cNvPr id="18" name="Textplatzhalter 14">
            <a:extLst>
              <a:ext uri="{FF2B5EF4-FFF2-40B4-BE49-F238E27FC236}">
                <a16:creationId xmlns:a16="http://schemas.microsoft.com/office/drawing/2014/main" id="{BAB4389A-64BA-F764-A6D8-0086DE7B4842}"/>
              </a:ext>
            </a:extLst>
          </p:cNvPr>
          <p:cNvSpPr txBox="1">
            <a:spLocks/>
          </p:cNvSpPr>
          <p:nvPr/>
        </p:nvSpPr>
        <p:spPr>
          <a:xfrm>
            <a:off x="7027847" y="2753142"/>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a:solidFill>
                  <a:schemeClr val="accent1"/>
                </a:solidFill>
                <a:cs typeface="Calibri"/>
              </a:rPr>
              <a:t>03</a:t>
            </a:r>
          </a:p>
        </p:txBody>
      </p:sp>
      <p:grpSp>
        <p:nvGrpSpPr>
          <p:cNvPr id="260" name="Gruppieren 259">
            <a:extLst>
              <a:ext uri="{FF2B5EF4-FFF2-40B4-BE49-F238E27FC236}">
                <a16:creationId xmlns:a16="http://schemas.microsoft.com/office/drawing/2014/main" id="{611FB7DC-F848-D66D-C620-D811414C85B7}"/>
              </a:ext>
            </a:extLst>
          </p:cNvPr>
          <p:cNvGrpSpPr/>
          <p:nvPr/>
        </p:nvGrpSpPr>
        <p:grpSpPr>
          <a:xfrm>
            <a:off x="7419012" y="3033755"/>
            <a:ext cx="488161" cy="474553"/>
            <a:chOff x="3679334" y="5016520"/>
            <a:chExt cx="1556037" cy="1512661"/>
          </a:xfrm>
        </p:grpSpPr>
        <p:grpSp>
          <p:nvGrpSpPr>
            <p:cNvPr id="261" name="Gruppieren 260">
              <a:extLst>
                <a:ext uri="{FF2B5EF4-FFF2-40B4-BE49-F238E27FC236}">
                  <a16:creationId xmlns:a16="http://schemas.microsoft.com/office/drawing/2014/main" id="{ECA99781-A69A-8A7F-20F0-ECD1BC323643}"/>
                </a:ext>
              </a:extLst>
            </p:cNvPr>
            <p:cNvGrpSpPr/>
            <p:nvPr/>
          </p:nvGrpSpPr>
          <p:grpSpPr>
            <a:xfrm>
              <a:off x="4598913" y="6006054"/>
              <a:ext cx="376085" cy="501420"/>
              <a:chOff x="560035" y="4880730"/>
              <a:chExt cx="1333309" cy="1777650"/>
            </a:xfrm>
          </p:grpSpPr>
          <p:sp>
            <p:nvSpPr>
              <p:cNvPr id="269" name="Freihandform: Form 205">
                <a:extLst>
                  <a:ext uri="{FF2B5EF4-FFF2-40B4-BE49-F238E27FC236}">
                    <a16:creationId xmlns:a16="http://schemas.microsoft.com/office/drawing/2014/main" id="{BA1A468E-2281-2E5F-4AB9-B8C65A0A2F06}"/>
                  </a:ext>
                </a:extLst>
              </p:cNvPr>
              <p:cNvSpPr/>
              <p:nvPr/>
            </p:nvSpPr>
            <p:spPr>
              <a:xfrm>
                <a:off x="1004471" y="5325166"/>
                <a:ext cx="444436" cy="444436"/>
              </a:xfrm>
              <a:custGeom>
                <a:avLst/>
                <a:gdLst>
                  <a:gd name="connsiteX0" fmla="*/ 444436 w 444436"/>
                  <a:gd name="connsiteY0" fmla="*/ 222218 h 444436"/>
                  <a:gd name="connsiteX1" fmla="*/ 222218 w 444436"/>
                  <a:gd name="connsiteY1" fmla="*/ 444437 h 444436"/>
                  <a:gd name="connsiteX2" fmla="*/ 0 w 444436"/>
                  <a:gd name="connsiteY2" fmla="*/ 222218 h 444436"/>
                  <a:gd name="connsiteX3" fmla="*/ 222218 w 444436"/>
                  <a:gd name="connsiteY3" fmla="*/ 0 h 444436"/>
                  <a:gd name="connsiteX4" fmla="*/ 444436 w 444436"/>
                  <a:gd name="connsiteY4" fmla="*/ 222218 h 444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436" h="444436">
                    <a:moveTo>
                      <a:pt x="444436" y="222218"/>
                    </a:moveTo>
                    <a:cubicBezTo>
                      <a:pt x="444436" y="344946"/>
                      <a:pt x="344946" y="444437"/>
                      <a:pt x="222218" y="444437"/>
                    </a:cubicBezTo>
                    <a:cubicBezTo>
                      <a:pt x="99490" y="444437"/>
                      <a:pt x="0" y="344946"/>
                      <a:pt x="0" y="222218"/>
                    </a:cubicBezTo>
                    <a:cubicBezTo>
                      <a:pt x="0" y="99491"/>
                      <a:pt x="99490" y="0"/>
                      <a:pt x="222218" y="0"/>
                    </a:cubicBezTo>
                    <a:cubicBezTo>
                      <a:pt x="344946" y="0"/>
                      <a:pt x="444436" y="99491"/>
                      <a:pt x="444436" y="222218"/>
                    </a:cubicBezTo>
                    <a:close/>
                  </a:path>
                </a:pathLst>
              </a:custGeom>
              <a:noFill/>
              <a:ln w="9525" cap="rnd">
                <a:solidFill>
                  <a:srgbClr val="706F6F"/>
                </a:solidFill>
                <a:prstDash val="solid"/>
                <a:round/>
              </a:ln>
            </p:spPr>
            <p:txBody>
              <a:bodyPr rtlCol="0" anchor="ctr"/>
              <a:lstStyle/>
              <a:p>
                <a:endParaRPr lang="de-DE"/>
              </a:p>
            </p:txBody>
          </p:sp>
          <p:sp>
            <p:nvSpPr>
              <p:cNvPr id="270" name="Freihandform: Form 206">
                <a:extLst>
                  <a:ext uri="{FF2B5EF4-FFF2-40B4-BE49-F238E27FC236}">
                    <a16:creationId xmlns:a16="http://schemas.microsoft.com/office/drawing/2014/main" id="{E74D7332-6B61-F29D-6213-FD208AFE4898}"/>
                  </a:ext>
                </a:extLst>
              </p:cNvPr>
              <p:cNvSpPr/>
              <p:nvPr/>
            </p:nvSpPr>
            <p:spPr>
              <a:xfrm>
                <a:off x="560035" y="4880730"/>
                <a:ext cx="1333309" cy="1777650"/>
              </a:xfrm>
              <a:custGeom>
                <a:avLst/>
                <a:gdLst>
                  <a:gd name="connsiteX0" fmla="*/ 666655 w 1333309"/>
                  <a:gd name="connsiteY0" fmla="*/ 1777651 h 1777650"/>
                  <a:gd name="connsiteX1" fmla="*/ 0 w 1333309"/>
                  <a:gd name="connsiteY1" fmla="*/ 666655 h 1777650"/>
                  <a:gd name="connsiteX2" fmla="*/ 666655 w 1333309"/>
                  <a:gd name="connsiteY2" fmla="*/ 0 h 1777650"/>
                  <a:gd name="connsiteX3" fmla="*/ 1333309 w 1333309"/>
                  <a:gd name="connsiteY3" fmla="*/ 666655 h 1777650"/>
                  <a:gd name="connsiteX4" fmla="*/ 666655 w 1333309"/>
                  <a:gd name="connsiteY4" fmla="*/ 1777651 h 177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309" h="1777650">
                    <a:moveTo>
                      <a:pt x="666655" y="1777651"/>
                    </a:moveTo>
                    <a:cubicBezTo>
                      <a:pt x="666655" y="1777651"/>
                      <a:pt x="0" y="1122807"/>
                      <a:pt x="0" y="666655"/>
                    </a:cubicBezTo>
                    <a:cubicBezTo>
                      <a:pt x="0" y="298323"/>
                      <a:pt x="298323" y="0"/>
                      <a:pt x="666655" y="0"/>
                    </a:cubicBezTo>
                    <a:cubicBezTo>
                      <a:pt x="1034987" y="0"/>
                      <a:pt x="1333309" y="298323"/>
                      <a:pt x="1333309" y="666655"/>
                    </a:cubicBezTo>
                    <a:cubicBezTo>
                      <a:pt x="1333309" y="1122902"/>
                      <a:pt x="666655" y="1777651"/>
                      <a:pt x="666655" y="1777651"/>
                    </a:cubicBezTo>
                    <a:close/>
                  </a:path>
                </a:pathLst>
              </a:custGeom>
              <a:noFill/>
              <a:ln w="9525" cap="rnd">
                <a:solidFill>
                  <a:srgbClr val="706F6F"/>
                </a:solidFill>
                <a:prstDash val="solid"/>
                <a:round/>
              </a:ln>
            </p:spPr>
            <p:txBody>
              <a:bodyPr rtlCol="0" anchor="ctr"/>
              <a:lstStyle/>
              <a:p>
                <a:endParaRPr lang="de-DE"/>
              </a:p>
            </p:txBody>
          </p:sp>
        </p:grpSp>
        <p:sp>
          <p:nvSpPr>
            <p:cNvPr id="262" name="Freihandform: Form 219">
              <a:extLst>
                <a:ext uri="{FF2B5EF4-FFF2-40B4-BE49-F238E27FC236}">
                  <a16:creationId xmlns:a16="http://schemas.microsoft.com/office/drawing/2014/main" id="{75C2FE91-CE6C-3B69-8B01-59DD0E31344A}"/>
                </a:ext>
              </a:extLst>
            </p:cNvPr>
            <p:cNvSpPr/>
            <p:nvPr/>
          </p:nvSpPr>
          <p:spPr>
            <a:xfrm>
              <a:off x="3985280" y="5169409"/>
              <a:ext cx="1250091" cy="611892"/>
            </a:xfrm>
            <a:custGeom>
              <a:avLst/>
              <a:gdLst>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 name="connsiteX6" fmla="*/ 0 w 1250091"/>
                <a:gd name="connsiteY6" fmla="*/ 107026 h 611892"/>
                <a:gd name="connsiteX7" fmla="*/ 246935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8" fmla="*/ 338375 w 1250091"/>
                <a:gd name="connsiteY8" fmla="*/ 19846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091" h="611892">
                  <a:moveTo>
                    <a:pt x="246935" y="0"/>
                  </a:moveTo>
                  <a:lnTo>
                    <a:pt x="944145" y="0"/>
                  </a:lnTo>
                  <a:cubicBezTo>
                    <a:pt x="1113114" y="0"/>
                    <a:pt x="1250091" y="136977"/>
                    <a:pt x="1250091" y="305946"/>
                  </a:cubicBezTo>
                  <a:lnTo>
                    <a:pt x="1250090" y="305946"/>
                  </a:lnTo>
                  <a:cubicBezTo>
                    <a:pt x="1250090" y="474915"/>
                    <a:pt x="1113113" y="611892"/>
                    <a:pt x="944144" y="611892"/>
                  </a:cubicBezTo>
                  <a:lnTo>
                    <a:pt x="0" y="611891"/>
                  </a:lnTo>
                </a:path>
              </a:pathLst>
            </a:custGeom>
            <a:noFill/>
            <a:ln w="9525" cap="rnd">
              <a:solidFill>
                <a:srgbClr val="706F6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263" name="Freihandform: Form 223">
              <a:extLst>
                <a:ext uri="{FF2B5EF4-FFF2-40B4-BE49-F238E27FC236}">
                  <a16:creationId xmlns:a16="http://schemas.microsoft.com/office/drawing/2014/main" id="{F08EFCAF-4D1C-D840-77AF-6C0A6CA4BADE}"/>
                </a:ext>
              </a:extLst>
            </p:cNvPr>
            <p:cNvSpPr/>
            <p:nvPr/>
          </p:nvSpPr>
          <p:spPr>
            <a:xfrm flipH="1" flipV="1">
              <a:off x="3679334" y="5781286"/>
              <a:ext cx="1250091" cy="611892"/>
            </a:xfrm>
            <a:custGeom>
              <a:avLst/>
              <a:gdLst>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 name="connsiteX6" fmla="*/ 0 w 1250091"/>
                <a:gd name="connsiteY6" fmla="*/ 107026 h 611892"/>
                <a:gd name="connsiteX7" fmla="*/ 246935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8" fmla="*/ 338375 w 1250091"/>
                <a:gd name="connsiteY8" fmla="*/ 19846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091" h="611892">
                  <a:moveTo>
                    <a:pt x="246935" y="0"/>
                  </a:moveTo>
                  <a:lnTo>
                    <a:pt x="944145" y="0"/>
                  </a:lnTo>
                  <a:cubicBezTo>
                    <a:pt x="1113114" y="0"/>
                    <a:pt x="1250091" y="136977"/>
                    <a:pt x="1250091" y="305946"/>
                  </a:cubicBezTo>
                  <a:lnTo>
                    <a:pt x="1250090" y="305946"/>
                  </a:lnTo>
                  <a:cubicBezTo>
                    <a:pt x="1250090" y="474915"/>
                    <a:pt x="1113113" y="611892"/>
                    <a:pt x="944144" y="611892"/>
                  </a:cubicBezTo>
                  <a:lnTo>
                    <a:pt x="0" y="611891"/>
                  </a:lnTo>
                </a:path>
              </a:pathLst>
            </a:custGeom>
            <a:noFill/>
            <a:ln w="9525" cap="rnd">
              <a:solidFill>
                <a:srgbClr val="706F6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264" name="Gleichschenkliges Dreieck 224">
              <a:extLst>
                <a:ext uri="{FF2B5EF4-FFF2-40B4-BE49-F238E27FC236}">
                  <a16:creationId xmlns:a16="http://schemas.microsoft.com/office/drawing/2014/main" id="{5A0B2391-AC85-740B-4864-B9ECE9F9E404}"/>
                </a:ext>
              </a:extLst>
            </p:cNvPr>
            <p:cNvSpPr/>
            <p:nvPr/>
          </p:nvSpPr>
          <p:spPr>
            <a:xfrm rot="5400000">
              <a:off x="3962582" y="5041410"/>
              <a:ext cx="310383" cy="260604"/>
            </a:xfrm>
            <a:prstGeom prst="triangle">
              <a:avLst/>
            </a:prstGeom>
            <a:noFill/>
            <a:ln w="9525" cap="rnd">
              <a:solidFill>
                <a:srgbClr val="706F6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265" name="Ellipse 211">
              <a:extLst>
                <a:ext uri="{FF2B5EF4-FFF2-40B4-BE49-F238E27FC236}">
                  <a16:creationId xmlns:a16="http://schemas.microsoft.com/office/drawing/2014/main" id="{DE745F16-5FA4-8D4E-9AD5-4D52844085D6}"/>
                </a:ext>
              </a:extLst>
            </p:cNvPr>
            <p:cNvSpPr/>
            <p:nvPr/>
          </p:nvSpPr>
          <p:spPr>
            <a:xfrm>
              <a:off x="4470498" y="5039108"/>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266" name="Ellipse 214">
              <a:extLst>
                <a:ext uri="{FF2B5EF4-FFF2-40B4-BE49-F238E27FC236}">
                  <a16:creationId xmlns:a16="http://schemas.microsoft.com/office/drawing/2014/main" id="{8A5A8FB5-C23B-7073-F936-80026A47DAF1}"/>
                </a:ext>
              </a:extLst>
            </p:cNvPr>
            <p:cNvSpPr/>
            <p:nvPr/>
          </p:nvSpPr>
          <p:spPr>
            <a:xfrm>
              <a:off x="4560051" y="5644887"/>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267" name="Ellipse 215">
              <a:extLst>
                <a:ext uri="{FF2B5EF4-FFF2-40B4-BE49-F238E27FC236}">
                  <a16:creationId xmlns:a16="http://schemas.microsoft.com/office/drawing/2014/main" id="{1229FD43-3FC4-E77B-C3E5-4090DE343EB4}"/>
                </a:ext>
              </a:extLst>
            </p:cNvPr>
            <p:cNvSpPr/>
            <p:nvPr/>
          </p:nvSpPr>
          <p:spPr>
            <a:xfrm>
              <a:off x="4093785" y="5644887"/>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268" name="Ellipse 216">
              <a:extLst>
                <a:ext uri="{FF2B5EF4-FFF2-40B4-BE49-F238E27FC236}">
                  <a16:creationId xmlns:a16="http://schemas.microsoft.com/office/drawing/2014/main" id="{64BEB36B-FA15-D8F2-E100-92D1CB6B2E23}"/>
                </a:ext>
              </a:extLst>
            </p:cNvPr>
            <p:cNvSpPr/>
            <p:nvPr/>
          </p:nvSpPr>
          <p:spPr>
            <a:xfrm>
              <a:off x="4140228" y="6268577"/>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grpSp>
      <p:cxnSp>
        <p:nvCxnSpPr>
          <p:cNvPr id="38" name="Gerader Verbinder 37">
            <a:extLst>
              <a:ext uri="{FF2B5EF4-FFF2-40B4-BE49-F238E27FC236}">
                <a16:creationId xmlns:a16="http://schemas.microsoft.com/office/drawing/2014/main" id="{D82A0C5A-B8C1-1172-FF0E-87984B4CF65D}"/>
              </a:ext>
            </a:extLst>
          </p:cNvPr>
          <p:cNvCxnSpPr>
            <a:cxnSpLocks/>
          </p:cNvCxnSpPr>
          <p:nvPr/>
        </p:nvCxnSpPr>
        <p:spPr>
          <a:xfrm>
            <a:off x="1535776"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B1530E86-4713-668F-B8F7-B531ED4B1688}"/>
              </a:ext>
            </a:extLst>
          </p:cNvPr>
          <p:cNvCxnSpPr>
            <a:cxnSpLocks/>
          </p:cNvCxnSpPr>
          <p:nvPr/>
        </p:nvCxnSpPr>
        <p:spPr>
          <a:xfrm>
            <a:off x="4415262"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940A5EC3-8118-8F9E-ACA1-B061F0003889}"/>
              </a:ext>
            </a:extLst>
          </p:cNvPr>
          <p:cNvCxnSpPr>
            <a:cxnSpLocks/>
          </p:cNvCxnSpPr>
          <p:nvPr/>
        </p:nvCxnSpPr>
        <p:spPr>
          <a:xfrm>
            <a:off x="7321279"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CDBF6A8E-9371-2DC5-D101-2B64D991F4D6}"/>
              </a:ext>
            </a:extLst>
          </p:cNvPr>
          <p:cNvCxnSpPr>
            <a:cxnSpLocks/>
          </p:cNvCxnSpPr>
          <p:nvPr/>
        </p:nvCxnSpPr>
        <p:spPr>
          <a:xfrm>
            <a:off x="10228517"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4604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209792-A787-9346-397C-8F78C2CDACF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5EB112A-81F8-5542-78DD-1CEFD5F74B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5EB112A-81F8-5542-78DD-1CEFD5F74B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1A9C4F14-513A-8C7A-3A03-BB2B79CF3504}"/>
              </a:ext>
            </a:extLst>
          </p:cNvPr>
          <p:cNvSpPr>
            <a:spLocks noGrp="1"/>
          </p:cNvSpPr>
          <p:nvPr>
            <p:ph type="body" sz="quarter" idx="12"/>
          </p:nvPr>
        </p:nvSpPr>
        <p:spPr/>
        <p:txBody>
          <a:bodyPr/>
          <a:lstStyle/>
          <a:p>
            <a:r>
              <a:rPr lang="de-DE"/>
              <a:t>Unsere Stärken, Ihre Vorteile</a:t>
            </a:r>
          </a:p>
        </p:txBody>
      </p:sp>
      <p:sp>
        <p:nvSpPr>
          <p:cNvPr id="6" name="Titel 5">
            <a:extLst>
              <a:ext uri="{FF2B5EF4-FFF2-40B4-BE49-F238E27FC236}">
                <a16:creationId xmlns:a16="http://schemas.microsoft.com/office/drawing/2014/main" id="{C97B2925-1379-3CF1-E194-5E0D8C4FE254}"/>
              </a:ext>
            </a:extLst>
          </p:cNvPr>
          <p:cNvSpPr>
            <a:spLocks noGrp="1"/>
          </p:cNvSpPr>
          <p:nvPr>
            <p:ph type="title"/>
          </p:nvPr>
        </p:nvSpPr>
        <p:spPr/>
        <p:txBody>
          <a:bodyPr/>
          <a:lstStyle/>
          <a:p>
            <a:r>
              <a:rPr lang="de-DE" dirty="0"/>
              <a:t>„</a:t>
            </a:r>
            <a:r>
              <a:rPr lang="de-DE" dirty="0" err="1"/>
              <a:t>Stronger</a:t>
            </a:r>
            <a:r>
              <a:rPr lang="de-DE" dirty="0"/>
              <a:t> </a:t>
            </a:r>
            <a:r>
              <a:rPr lang="de-DE" dirty="0" err="1"/>
              <a:t>Together</a:t>
            </a:r>
            <a:r>
              <a:rPr lang="de-DE" dirty="0"/>
              <a:t>” mit unseren </a:t>
            </a:r>
            <a:r>
              <a:rPr lang="de-DE" b="1" dirty="0"/>
              <a:t>Partnern</a:t>
            </a:r>
            <a:br>
              <a:rPr lang="de-DE" dirty="0"/>
            </a:br>
            <a:endParaRPr lang="de-DE" dirty="0"/>
          </a:p>
        </p:txBody>
      </p:sp>
      <p:sp>
        <p:nvSpPr>
          <p:cNvPr id="17" name="Inhaltsplatzhalter 16">
            <a:extLst>
              <a:ext uri="{FF2B5EF4-FFF2-40B4-BE49-F238E27FC236}">
                <a16:creationId xmlns:a16="http://schemas.microsoft.com/office/drawing/2014/main" id="{5DA16247-A633-56C3-39C2-18D3AF7E991A}"/>
              </a:ext>
            </a:extLst>
          </p:cNvPr>
          <p:cNvSpPr>
            <a:spLocks noGrp="1"/>
          </p:cNvSpPr>
          <p:nvPr>
            <p:ph type="body" sz="quarter" idx="13"/>
          </p:nvPr>
        </p:nvSpPr>
        <p:spPr/>
        <p:txBody>
          <a:bodyPr/>
          <a:lstStyle/>
          <a:p>
            <a:r>
              <a:rPr lang="de-DE"/>
              <a:t>Gemeinsam mit unseren Partnern sind wir Vordenker, Wegbereiter und Zukunftsmacher für digitale Geschäftsmodelle und Ökosysteme.</a:t>
            </a:r>
          </a:p>
          <a:p>
            <a:endParaRPr lang="de-DE"/>
          </a:p>
          <a:p>
            <a:r>
              <a:rPr lang="de-DE"/>
              <a:t>Unser Ziel ist es, Unternehmen dabei zu unterstützen, ihre ambitionierten Ansprüche zu erreichen. Daher sind wir bei msg bestrebt, langfristige und erfolgreiche Beziehungen mit unseren Geschäftspartnern aufzubauen und zu pflegen. </a:t>
            </a:r>
          </a:p>
        </p:txBody>
      </p:sp>
      <p:sp>
        <p:nvSpPr>
          <p:cNvPr id="15" name="Fußzeilenplatzhalter 1">
            <a:extLst>
              <a:ext uri="{FF2B5EF4-FFF2-40B4-BE49-F238E27FC236}">
                <a16:creationId xmlns:a16="http://schemas.microsoft.com/office/drawing/2014/main" id="{A366DEBD-7769-42AB-E59C-F7EBE0632FD8}"/>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110ED24F-DD9B-28FF-70AC-497044216426}"/>
              </a:ext>
            </a:extLst>
          </p:cNvPr>
          <p:cNvSpPr>
            <a:spLocks noGrp="1"/>
          </p:cNvSpPr>
          <p:nvPr>
            <p:ph type="sldNum" sz="quarter" idx="11"/>
          </p:nvPr>
        </p:nvSpPr>
        <p:spPr/>
        <p:txBody>
          <a:bodyPr anchor="b" anchorCtr="0"/>
          <a:lstStyle/>
          <a:p>
            <a:fld id="{B27B0579-4238-4E44-9A9E-134B676F827C}" type="slidenum">
              <a:rPr lang="de-DE" smtClean="0"/>
              <a:pPr/>
              <a:t>31</a:t>
            </a:fld>
            <a:endParaRPr lang="de-DE"/>
          </a:p>
        </p:txBody>
      </p:sp>
      <p:sp>
        <p:nvSpPr>
          <p:cNvPr id="10" name="Diagonal liegende Ecken des Rechtecks abrunden 9">
            <a:extLst>
              <a:ext uri="{FF2B5EF4-FFF2-40B4-BE49-F238E27FC236}">
                <a16:creationId xmlns:a16="http://schemas.microsoft.com/office/drawing/2014/main" id="{8EA8B741-7F67-94F0-8F5F-0048C7472455}"/>
              </a:ext>
            </a:extLst>
          </p:cNvPr>
          <p:cNvSpPr/>
          <p:nvPr/>
        </p:nvSpPr>
        <p:spPr>
          <a:xfrm>
            <a:off x="6491287" y="1800921"/>
            <a:ext cx="5700713" cy="3553710"/>
          </a:xfrm>
          <a:prstGeom prst="round2DiagRect">
            <a:avLst>
              <a:gd name="adj1" fmla="val 0"/>
              <a:gd name="adj2" fmla="val 4822"/>
            </a:avLst>
          </a:prstGeom>
          <a:blipFill>
            <a:blip r:embed="rId6"/>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mc:AlternateContent xmlns:mc="http://schemas.openxmlformats.org/markup-compatibility/2006" xmlns:p14="http://schemas.microsoft.com/office/powerpoint/2010/main">
        <mc:Choice Requires="p14">
          <p:contentPart p14:bwMode="auto" r:id="rId7">
            <p14:nvContentPartPr>
              <p14:cNvPr id="13" name="Freihand 12">
                <a:extLst>
                  <a:ext uri="{FF2B5EF4-FFF2-40B4-BE49-F238E27FC236}">
                    <a16:creationId xmlns:a16="http://schemas.microsoft.com/office/drawing/2014/main" id="{DF690662-EF2B-0685-C6A5-116EE96CDBC8}"/>
                  </a:ext>
                </a:extLst>
              </p14:cNvPr>
              <p14:cNvContentPartPr/>
              <p14:nvPr/>
            </p14:nvContentPartPr>
            <p14:xfrm>
              <a:off x="5257853" y="7536962"/>
              <a:ext cx="5300" cy="5300"/>
            </p14:xfrm>
          </p:contentPart>
        </mc:Choice>
        <mc:Fallback xmlns="">
          <p:pic>
            <p:nvPicPr>
              <p:cNvPr id="13" name="Freihand 12">
                <a:extLst>
                  <a:ext uri="{FF2B5EF4-FFF2-40B4-BE49-F238E27FC236}">
                    <a16:creationId xmlns:a16="http://schemas.microsoft.com/office/drawing/2014/main" id="{DF690662-EF2B-0685-C6A5-116EE96CDBC8}"/>
                  </a:ext>
                </a:extLst>
              </p:cNvPr>
              <p:cNvPicPr/>
              <p:nvPr/>
            </p:nvPicPr>
            <p:blipFill>
              <a:blip r:embed="rId13"/>
              <a:stretch>
                <a:fillRect/>
              </a:stretch>
            </p:blipFill>
            <p:spPr>
              <a:xfrm>
                <a:off x="4992853" y="7271962"/>
                <a:ext cx="530000" cy="530000"/>
              </a:xfrm>
              <a:prstGeom prst="rect">
                <a:avLst/>
              </a:prstGeom>
            </p:spPr>
          </p:pic>
        </mc:Fallback>
      </mc:AlternateContent>
      <p:pic>
        <p:nvPicPr>
          <p:cNvPr id="11" name="Grafik 10" descr="SAP GoldPartner Grad R 250x250 V2">
            <a:extLst>
              <a:ext uri="{FF2B5EF4-FFF2-40B4-BE49-F238E27FC236}">
                <a16:creationId xmlns:a16="http://schemas.microsoft.com/office/drawing/2014/main" id="{CD9B6563-44C8-E66C-82DD-F7431D95E45A}"/>
              </a:ext>
            </a:extLst>
          </p:cNvPr>
          <p:cNvPicPr>
            <a:picLocks noChangeAspect="1"/>
          </p:cNvPicPr>
          <p:nvPr/>
        </p:nvPicPr>
        <p:blipFill rotWithShape="1">
          <a:blip r:embed="rId14"/>
          <a:srcRect t="14063" b="18888"/>
          <a:stretch/>
        </p:blipFill>
        <p:spPr>
          <a:xfrm>
            <a:off x="495363" y="4728710"/>
            <a:ext cx="999043" cy="669844"/>
          </a:xfrm>
          <a:prstGeom prst="rect">
            <a:avLst/>
          </a:prstGeom>
        </p:spPr>
      </p:pic>
      <p:pic>
        <p:nvPicPr>
          <p:cNvPr id="16" name="Grafik 15">
            <a:extLst>
              <a:ext uri="{FF2B5EF4-FFF2-40B4-BE49-F238E27FC236}">
                <a16:creationId xmlns:a16="http://schemas.microsoft.com/office/drawing/2014/main" id="{426D20B8-677D-DD6E-CC42-61978AA6B9F3}"/>
              </a:ext>
            </a:extLst>
          </p:cNvPr>
          <p:cNvPicPr>
            <a:picLocks noChangeAspect="1"/>
          </p:cNvPicPr>
          <p:nvPr/>
        </p:nvPicPr>
        <p:blipFill>
          <a:blip r:embed="rId15"/>
          <a:srcRect/>
          <a:stretch/>
        </p:blipFill>
        <p:spPr>
          <a:xfrm>
            <a:off x="1852765" y="4890252"/>
            <a:ext cx="579066" cy="346760"/>
          </a:xfrm>
          <a:prstGeom prst="rect">
            <a:avLst/>
          </a:prstGeom>
        </p:spPr>
      </p:pic>
      <p:pic>
        <p:nvPicPr>
          <p:cNvPr id="18" name="Grafik 17" descr="Logo Microsoft 250x250">
            <a:extLst>
              <a:ext uri="{FF2B5EF4-FFF2-40B4-BE49-F238E27FC236}">
                <a16:creationId xmlns:a16="http://schemas.microsoft.com/office/drawing/2014/main" id="{58F146F1-30E0-4887-02C3-DBDBCDE0F25D}"/>
              </a:ext>
            </a:extLst>
          </p:cNvPr>
          <p:cNvPicPr>
            <a:picLocks noChangeAspect="1"/>
          </p:cNvPicPr>
          <p:nvPr/>
        </p:nvPicPr>
        <p:blipFill rotWithShape="1">
          <a:blip r:embed="rId16"/>
          <a:srcRect t="23594" b="31161"/>
          <a:stretch/>
        </p:blipFill>
        <p:spPr>
          <a:xfrm>
            <a:off x="2790190" y="4810443"/>
            <a:ext cx="1104800" cy="506378"/>
          </a:xfrm>
          <a:prstGeom prst="rect">
            <a:avLst/>
          </a:prstGeom>
        </p:spPr>
      </p:pic>
      <p:pic>
        <p:nvPicPr>
          <p:cNvPr id="19" name="Grafik 18">
            <a:extLst>
              <a:ext uri="{FF2B5EF4-FFF2-40B4-BE49-F238E27FC236}">
                <a16:creationId xmlns:a16="http://schemas.microsoft.com/office/drawing/2014/main" id="{AA4FA1E1-58FE-072C-E092-E7AE992C00BC}"/>
              </a:ext>
            </a:extLst>
          </p:cNvPr>
          <p:cNvPicPr>
            <a:picLocks noChangeAspect="1"/>
          </p:cNvPicPr>
          <p:nvPr/>
        </p:nvPicPr>
        <p:blipFill>
          <a:blip r:embed="rId17"/>
          <a:srcRect/>
          <a:stretch/>
        </p:blipFill>
        <p:spPr>
          <a:xfrm>
            <a:off x="3970457" y="4744081"/>
            <a:ext cx="818420" cy="639102"/>
          </a:xfrm>
          <a:prstGeom prst="rect">
            <a:avLst/>
          </a:prstGeom>
        </p:spPr>
      </p:pic>
    </p:spTree>
    <p:extLst>
      <p:ext uri="{BB962C8B-B14F-4D97-AF65-F5344CB8AC3E}">
        <p14:creationId xmlns:p14="http://schemas.microsoft.com/office/powerpoint/2010/main" val="313658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descr="Ein Bild, das Screenshot, Licht enthält.&#10;&#10;Automatisch generierte Beschreibung">
            <a:extLst>
              <a:ext uri="{FF2B5EF4-FFF2-40B4-BE49-F238E27FC236}">
                <a16:creationId xmlns:a16="http://schemas.microsoft.com/office/drawing/2014/main" id="{2DDE640F-8F03-2AE8-2F34-7536A6169506}"/>
              </a:ext>
            </a:extLst>
          </p:cNvPr>
          <p:cNvPicPr>
            <a:picLocks noChangeAspect="1"/>
          </p:cNvPicPr>
          <p:nvPr/>
        </p:nvPicPr>
        <p:blipFill>
          <a:blip r:embed="rId4" cstate="screen">
            <a:extLst>
              <a:ext uri="{28A0092B-C50C-407E-A947-70E740481C1C}">
                <a14:useLocalDpi xmlns:a14="http://schemas.microsoft.com/office/drawing/2010/main" val="0"/>
              </a:ext>
            </a:extLst>
          </a:blip>
          <a:srcRect t="1460"/>
          <a:stretch/>
        </p:blipFill>
        <p:spPr>
          <a:xfrm>
            <a:off x="623888" y="2301073"/>
            <a:ext cx="11230597" cy="4007652"/>
          </a:xfrm>
          <a:prstGeom prst="round2DiagRect">
            <a:avLst>
              <a:gd name="adj1" fmla="val 345"/>
              <a:gd name="adj2" fmla="val 7371"/>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304CB58B-6861-85D9-FF31-D02BE08E5B82}"/>
              </a:ext>
            </a:extLst>
          </p:cNvPr>
          <p:cNvSpPr>
            <a:spLocks noGrp="1"/>
          </p:cNvSpPr>
          <p:nvPr>
            <p:ph type="body" sz="quarter" idx="12"/>
          </p:nvPr>
        </p:nvSpPr>
        <p:spPr/>
        <p:txBody>
          <a:bodyPr/>
          <a:lstStyle/>
          <a:p>
            <a:r>
              <a:rPr lang="de-DE"/>
              <a:t>Unsere Stärken, Ihre Vorteile</a:t>
            </a:r>
          </a:p>
        </p:txBody>
      </p:sp>
      <p:sp>
        <p:nvSpPr>
          <p:cNvPr id="3" name="Titel 2">
            <a:extLst>
              <a:ext uri="{FF2B5EF4-FFF2-40B4-BE49-F238E27FC236}">
                <a16:creationId xmlns:a16="http://schemas.microsoft.com/office/drawing/2014/main" id="{D50991F6-4ABA-1EC2-38DB-878F079401BF}"/>
              </a:ext>
            </a:extLst>
          </p:cNvPr>
          <p:cNvSpPr>
            <a:spLocks noGrp="1"/>
          </p:cNvSpPr>
          <p:nvPr>
            <p:ph type="title"/>
          </p:nvPr>
        </p:nvSpPr>
        <p:spPr/>
        <p:txBody>
          <a:bodyPr/>
          <a:lstStyle/>
          <a:p>
            <a:r>
              <a:rPr lang="de-DE" b="1" dirty="0"/>
              <a:t>Der Austausch von Wissen und die Pflege unserer Kooperationen </a:t>
            </a:r>
            <a:r>
              <a:rPr lang="de-DE" dirty="0"/>
              <a:t>sind Ausdruck unserer nachhaltigen Geschäftsstrategie</a:t>
            </a:r>
          </a:p>
        </p:txBody>
      </p:sp>
      <p:sp>
        <p:nvSpPr>
          <p:cNvPr id="2" name="Fußzeilenplatzhalter 1">
            <a:extLst>
              <a:ext uri="{FF2B5EF4-FFF2-40B4-BE49-F238E27FC236}">
                <a16:creationId xmlns:a16="http://schemas.microsoft.com/office/drawing/2014/main" id="{F83C8B65-5873-1896-1215-48317E328441}"/>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32</a:t>
            </a:fld>
            <a:endParaRPr lang="de-DE"/>
          </a:p>
        </p:txBody>
      </p:sp>
      <p:sp>
        <p:nvSpPr>
          <p:cNvPr id="55" name="Textplatzhalter 14">
            <a:extLst>
              <a:ext uri="{FF2B5EF4-FFF2-40B4-BE49-F238E27FC236}">
                <a16:creationId xmlns:a16="http://schemas.microsoft.com/office/drawing/2014/main" id="{0B0B68B8-8D86-5DDA-41D5-C4B5A0B8EA89}"/>
              </a:ext>
            </a:extLst>
          </p:cNvPr>
          <p:cNvSpPr txBox="1">
            <a:spLocks/>
          </p:cNvSpPr>
          <p:nvPr/>
        </p:nvSpPr>
        <p:spPr>
          <a:xfrm>
            <a:off x="658812" y="1766693"/>
            <a:ext cx="11230597" cy="44467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90000"/>
              </a:lnSpc>
            </a:pPr>
            <a:r>
              <a:rPr lang="de-DE" sz="1600"/>
              <a:t>Als unabhängige und international agierende Unternehmensgruppe mit einer 40-​jährigen Geschichte verstehen wir uns als Wegbereiter in eine digitale Zukunft – partnerschaftlich und nachhaltig.</a:t>
            </a:r>
          </a:p>
        </p:txBody>
      </p:sp>
      <p:sp>
        <p:nvSpPr>
          <p:cNvPr id="13" name="Textplatzhalter 14">
            <a:extLst>
              <a:ext uri="{FF2B5EF4-FFF2-40B4-BE49-F238E27FC236}">
                <a16:creationId xmlns:a16="http://schemas.microsoft.com/office/drawing/2014/main" id="{BB35E183-34BD-8B9F-9406-527BD0B60E91}"/>
              </a:ext>
            </a:extLst>
          </p:cNvPr>
          <p:cNvSpPr txBox="1">
            <a:spLocks/>
          </p:cNvSpPr>
          <p:nvPr/>
        </p:nvSpPr>
        <p:spPr>
          <a:xfrm>
            <a:off x="3777940" y="2493004"/>
            <a:ext cx="159905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Netzwerk Chancen</a:t>
            </a:r>
          </a:p>
        </p:txBody>
      </p:sp>
      <p:sp>
        <p:nvSpPr>
          <p:cNvPr id="14" name="Textplatzhalter 14">
            <a:extLst>
              <a:ext uri="{FF2B5EF4-FFF2-40B4-BE49-F238E27FC236}">
                <a16:creationId xmlns:a16="http://schemas.microsoft.com/office/drawing/2014/main" id="{6EF93177-64C0-83ED-792E-E836AA2B9933}"/>
              </a:ext>
            </a:extLst>
          </p:cNvPr>
          <p:cNvSpPr txBox="1">
            <a:spLocks/>
          </p:cNvSpPr>
          <p:nvPr/>
        </p:nvSpPr>
        <p:spPr>
          <a:xfrm>
            <a:off x="3291819" y="2961757"/>
            <a:ext cx="159905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Charta der Vielfalt</a:t>
            </a:r>
          </a:p>
        </p:txBody>
      </p:sp>
      <p:sp>
        <p:nvSpPr>
          <p:cNvPr id="15" name="Textplatzhalter 14">
            <a:extLst>
              <a:ext uri="{FF2B5EF4-FFF2-40B4-BE49-F238E27FC236}">
                <a16:creationId xmlns:a16="http://schemas.microsoft.com/office/drawing/2014/main" id="{211486EE-71AA-A42C-D8DC-B176CBC50CA3}"/>
              </a:ext>
            </a:extLst>
          </p:cNvPr>
          <p:cNvSpPr txBox="1">
            <a:spLocks/>
          </p:cNvSpPr>
          <p:nvPr/>
        </p:nvSpPr>
        <p:spPr>
          <a:xfrm>
            <a:off x="1579563" y="3430510"/>
            <a:ext cx="302202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Gesellschaft für Projektmanagement</a:t>
            </a:r>
          </a:p>
        </p:txBody>
      </p:sp>
      <p:sp>
        <p:nvSpPr>
          <p:cNvPr id="17" name="Textplatzhalter 14">
            <a:extLst>
              <a:ext uri="{FF2B5EF4-FFF2-40B4-BE49-F238E27FC236}">
                <a16:creationId xmlns:a16="http://schemas.microsoft.com/office/drawing/2014/main" id="{E6B0A02E-8AAB-77C4-2E64-3F058F361387}"/>
              </a:ext>
            </a:extLst>
          </p:cNvPr>
          <p:cNvSpPr txBox="1">
            <a:spLocks/>
          </p:cNvSpPr>
          <p:nvPr/>
        </p:nvSpPr>
        <p:spPr>
          <a:xfrm>
            <a:off x="2323787" y="4874031"/>
            <a:ext cx="302202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International Data Spaces </a:t>
            </a:r>
            <a:r>
              <a:rPr lang="de-DE" sz="1400" err="1">
                <a:solidFill>
                  <a:schemeClr val="bg1"/>
                </a:solidFill>
                <a:cs typeface="Calibri"/>
              </a:rPr>
              <a:t>Association</a:t>
            </a:r>
            <a:endParaRPr lang="de-DE" sz="1400">
              <a:solidFill>
                <a:schemeClr val="bg1"/>
              </a:solidFill>
              <a:cs typeface="Calibri"/>
            </a:endParaRPr>
          </a:p>
        </p:txBody>
      </p:sp>
      <p:sp>
        <p:nvSpPr>
          <p:cNvPr id="18" name="Textplatzhalter 14">
            <a:extLst>
              <a:ext uri="{FF2B5EF4-FFF2-40B4-BE49-F238E27FC236}">
                <a16:creationId xmlns:a16="http://schemas.microsoft.com/office/drawing/2014/main" id="{320D5BA4-DE2C-CDA3-3117-BC96AE3E0ECA}"/>
              </a:ext>
            </a:extLst>
          </p:cNvPr>
          <p:cNvSpPr txBox="1">
            <a:spLocks/>
          </p:cNvSpPr>
          <p:nvPr/>
        </p:nvSpPr>
        <p:spPr>
          <a:xfrm>
            <a:off x="2831550" y="4405278"/>
            <a:ext cx="174591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err="1">
                <a:solidFill>
                  <a:schemeClr val="bg1"/>
                </a:solidFill>
                <a:cs typeface="Calibri"/>
              </a:rPr>
              <a:t>Queb</a:t>
            </a:r>
            <a:r>
              <a:rPr lang="de-DE" sz="1400">
                <a:solidFill>
                  <a:schemeClr val="bg1"/>
                </a:solidFill>
                <a:cs typeface="Calibri"/>
              </a:rPr>
              <a:t> Bundesverband</a:t>
            </a:r>
          </a:p>
        </p:txBody>
      </p:sp>
      <p:sp>
        <p:nvSpPr>
          <p:cNvPr id="20" name="Textplatzhalter 14">
            <a:extLst>
              <a:ext uri="{FF2B5EF4-FFF2-40B4-BE49-F238E27FC236}">
                <a16:creationId xmlns:a16="http://schemas.microsoft.com/office/drawing/2014/main" id="{A5D0D41F-0CD2-3F53-03B4-20F3BD571E41}"/>
              </a:ext>
            </a:extLst>
          </p:cNvPr>
          <p:cNvSpPr txBox="1">
            <a:spLocks/>
          </p:cNvSpPr>
          <p:nvPr/>
        </p:nvSpPr>
        <p:spPr>
          <a:xfrm>
            <a:off x="3833103" y="5333132"/>
            <a:ext cx="174591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Master Data Alliance</a:t>
            </a:r>
          </a:p>
        </p:txBody>
      </p:sp>
      <p:grpSp>
        <p:nvGrpSpPr>
          <p:cNvPr id="23" name="Gruppieren 22">
            <a:extLst>
              <a:ext uri="{FF2B5EF4-FFF2-40B4-BE49-F238E27FC236}">
                <a16:creationId xmlns:a16="http://schemas.microsoft.com/office/drawing/2014/main" id="{28089758-83C9-90C9-EC58-1350895B807C}"/>
              </a:ext>
            </a:extLst>
          </p:cNvPr>
          <p:cNvGrpSpPr/>
          <p:nvPr/>
        </p:nvGrpSpPr>
        <p:grpSpPr>
          <a:xfrm>
            <a:off x="2328731" y="3917894"/>
            <a:ext cx="2192304" cy="359608"/>
            <a:chOff x="2184268" y="3897798"/>
            <a:chExt cx="2192304" cy="359608"/>
          </a:xfrm>
        </p:grpSpPr>
        <p:sp>
          <p:nvSpPr>
            <p:cNvPr id="16" name="Textplatzhalter 14">
              <a:extLst>
                <a:ext uri="{FF2B5EF4-FFF2-40B4-BE49-F238E27FC236}">
                  <a16:creationId xmlns:a16="http://schemas.microsoft.com/office/drawing/2014/main" id="{849AE333-E176-7885-7479-3BFDB7E1698C}"/>
                </a:ext>
              </a:extLst>
            </p:cNvPr>
            <p:cNvSpPr txBox="1">
              <a:spLocks/>
            </p:cNvSpPr>
            <p:nvPr/>
          </p:nvSpPr>
          <p:spPr>
            <a:xfrm>
              <a:off x="3643907" y="3897798"/>
              <a:ext cx="732665"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err="1">
                  <a:solidFill>
                    <a:schemeClr val="bg1"/>
                  </a:solidFill>
                  <a:cs typeface="Calibri"/>
                </a:rPr>
                <a:t>BiPRO</a:t>
              </a:r>
              <a:endParaRPr lang="de-DE" sz="1400">
                <a:solidFill>
                  <a:schemeClr val="bg1"/>
                </a:solidFill>
                <a:cs typeface="Calibri"/>
              </a:endParaRPr>
            </a:p>
          </p:txBody>
        </p:sp>
        <p:sp>
          <p:nvSpPr>
            <p:cNvPr id="19" name="Textplatzhalter 14">
              <a:extLst>
                <a:ext uri="{FF2B5EF4-FFF2-40B4-BE49-F238E27FC236}">
                  <a16:creationId xmlns:a16="http://schemas.microsoft.com/office/drawing/2014/main" id="{C991FB94-7797-72BA-5BC7-0DAA51230C9E}"/>
                </a:ext>
              </a:extLst>
            </p:cNvPr>
            <p:cNvSpPr txBox="1">
              <a:spLocks/>
            </p:cNvSpPr>
            <p:nvPr/>
          </p:nvSpPr>
          <p:spPr>
            <a:xfrm>
              <a:off x="2952778" y="3900449"/>
              <a:ext cx="60726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IPMA</a:t>
              </a:r>
            </a:p>
          </p:txBody>
        </p:sp>
        <p:sp>
          <p:nvSpPr>
            <p:cNvPr id="21" name="Textplatzhalter 14">
              <a:extLst>
                <a:ext uri="{FF2B5EF4-FFF2-40B4-BE49-F238E27FC236}">
                  <a16:creationId xmlns:a16="http://schemas.microsoft.com/office/drawing/2014/main" id="{62140528-7F6B-12F8-F6AE-41A3E245FC04}"/>
                </a:ext>
              </a:extLst>
            </p:cNvPr>
            <p:cNvSpPr txBox="1">
              <a:spLocks/>
            </p:cNvSpPr>
            <p:nvPr/>
          </p:nvSpPr>
          <p:spPr>
            <a:xfrm>
              <a:off x="2184268" y="3897798"/>
              <a:ext cx="67953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DSAG</a:t>
              </a:r>
            </a:p>
          </p:txBody>
        </p:sp>
      </p:grpSp>
      <p:sp>
        <p:nvSpPr>
          <p:cNvPr id="22" name="Textplatzhalter 14">
            <a:extLst>
              <a:ext uri="{FF2B5EF4-FFF2-40B4-BE49-F238E27FC236}">
                <a16:creationId xmlns:a16="http://schemas.microsoft.com/office/drawing/2014/main" id="{63757555-1FEA-C9A6-E2B3-58B427C68352}"/>
              </a:ext>
            </a:extLst>
          </p:cNvPr>
          <p:cNvSpPr txBox="1">
            <a:spLocks/>
          </p:cNvSpPr>
          <p:nvPr/>
        </p:nvSpPr>
        <p:spPr>
          <a:xfrm>
            <a:off x="4518195" y="5786447"/>
            <a:ext cx="159958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UN Global Compact</a:t>
            </a:r>
          </a:p>
        </p:txBody>
      </p:sp>
      <p:sp>
        <p:nvSpPr>
          <p:cNvPr id="26" name="Textplatzhalter 14">
            <a:extLst>
              <a:ext uri="{FF2B5EF4-FFF2-40B4-BE49-F238E27FC236}">
                <a16:creationId xmlns:a16="http://schemas.microsoft.com/office/drawing/2014/main" id="{50362367-4F2D-C8AF-F380-E2CF915DD8CA}"/>
              </a:ext>
            </a:extLst>
          </p:cNvPr>
          <p:cNvSpPr txBox="1">
            <a:spLocks/>
          </p:cNvSpPr>
          <p:nvPr/>
        </p:nvSpPr>
        <p:spPr>
          <a:xfrm>
            <a:off x="8209590" y="3440355"/>
            <a:ext cx="1202724"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Initiative D21</a:t>
            </a:r>
          </a:p>
        </p:txBody>
      </p:sp>
      <p:sp>
        <p:nvSpPr>
          <p:cNvPr id="28" name="Textplatzhalter 14">
            <a:extLst>
              <a:ext uri="{FF2B5EF4-FFF2-40B4-BE49-F238E27FC236}">
                <a16:creationId xmlns:a16="http://schemas.microsoft.com/office/drawing/2014/main" id="{E67D869B-E2B6-1538-3717-5DB5F99E268E}"/>
              </a:ext>
            </a:extLst>
          </p:cNvPr>
          <p:cNvSpPr txBox="1">
            <a:spLocks/>
          </p:cNvSpPr>
          <p:nvPr/>
        </p:nvSpPr>
        <p:spPr>
          <a:xfrm>
            <a:off x="8125294" y="4362992"/>
            <a:ext cx="271188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Catena-X Automotive Network e.V.</a:t>
            </a:r>
          </a:p>
        </p:txBody>
      </p:sp>
      <p:grpSp>
        <p:nvGrpSpPr>
          <p:cNvPr id="47" name="Gruppieren 46">
            <a:extLst>
              <a:ext uri="{FF2B5EF4-FFF2-40B4-BE49-F238E27FC236}">
                <a16:creationId xmlns:a16="http://schemas.microsoft.com/office/drawing/2014/main" id="{A48C7A1B-1C16-5461-423D-E9690D6F158F}"/>
              </a:ext>
            </a:extLst>
          </p:cNvPr>
          <p:cNvGrpSpPr/>
          <p:nvPr/>
        </p:nvGrpSpPr>
        <p:grpSpPr>
          <a:xfrm>
            <a:off x="8004545" y="2966043"/>
            <a:ext cx="2334948" cy="361712"/>
            <a:chOff x="7860082" y="2945947"/>
            <a:chExt cx="2334948" cy="361712"/>
          </a:xfrm>
        </p:grpSpPr>
        <p:sp>
          <p:nvSpPr>
            <p:cNvPr id="25" name="Textplatzhalter 14">
              <a:extLst>
                <a:ext uri="{FF2B5EF4-FFF2-40B4-BE49-F238E27FC236}">
                  <a16:creationId xmlns:a16="http://schemas.microsoft.com/office/drawing/2014/main" id="{360A2771-84B6-9CBA-CBE1-DE3856B2A9D5}"/>
                </a:ext>
              </a:extLst>
            </p:cNvPr>
            <p:cNvSpPr txBox="1">
              <a:spLocks/>
            </p:cNvSpPr>
            <p:nvPr/>
          </p:nvSpPr>
          <p:spPr>
            <a:xfrm>
              <a:off x="7860082" y="2950702"/>
              <a:ext cx="65843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NGEZ</a:t>
              </a:r>
            </a:p>
          </p:txBody>
        </p:sp>
        <p:sp>
          <p:nvSpPr>
            <p:cNvPr id="27" name="Textplatzhalter 14">
              <a:extLst>
                <a:ext uri="{FF2B5EF4-FFF2-40B4-BE49-F238E27FC236}">
                  <a16:creationId xmlns:a16="http://schemas.microsoft.com/office/drawing/2014/main" id="{D7459DB4-6CBF-A652-6501-C59D289B07DF}"/>
                </a:ext>
              </a:extLst>
            </p:cNvPr>
            <p:cNvSpPr txBox="1">
              <a:spLocks/>
            </p:cNvSpPr>
            <p:nvPr/>
          </p:nvSpPr>
          <p:spPr>
            <a:xfrm>
              <a:off x="8597447" y="2950702"/>
              <a:ext cx="783849"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Bitkom</a:t>
              </a:r>
            </a:p>
          </p:txBody>
        </p:sp>
        <p:sp>
          <p:nvSpPr>
            <p:cNvPr id="29" name="Textplatzhalter 14">
              <a:extLst>
                <a:ext uri="{FF2B5EF4-FFF2-40B4-BE49-F238E27FC236}">
                  <a16:creationId xmlns:a16="http://schemas.microsoft.com/office/drawing/2014/main" id="{492F142A-3F0F-F600-0C22-ADE3E26AB7CB}"/>
                </a:ext>
              </a:extLst>
            </p:cNvPr>
            <p:cNvSpPr txBox="1">
              <a:spLocks/>
            </p:cNvSpPr>
            <p:nvPr/>
          </p:nvSpPr>
          <p:spPr>
            <a:xfrm>
              <a:off x="9460225" y="2945947"/>
              <a:ext cx="734805"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Gaia-X</a:t>
              </a:r>
            </a:p>
          </p:txBody>
        </p:sp>
      </p:grpSp>
      <p:sp>
        <p:nvSpPr>
          <p:cNvPr id="41" name="Textplatzhalter 14">
            <a:extLst>
              <a:ext uri="{FF2B5EF4-FFF2-40B4-BE49-F238E27FC236}">
                <a16:creationId xmlns:a16="http://schemas.microsoft.com/office/drawing/2014/main" id="{0975F38B-E0F2-C71C-9D7B-25F203449887}"/>
              </a:ext>
            </a:extLst>
          </p:cNvPr>
          <p:cNvSpPr txBox="1">
            <a:spLocks/>
          </p:cNvSpPr>
          <p:nvPr/>
        </p:nvSpPr>
        <p:spPr>
          <a:xfrm>
            <a:off x="8333763" y="3893436"/>
            <a:ext cx="213371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Allianz für Cyber-Sicherheit</a:t>
            </a:r>
          </a:p>
        </p:txBody>
      </p:sp>
      <p:sp>
        <p:nvSpPr>
          <p:cNvPr id="42" name="Textplatzhalter 14">
            <a:extLst>
              <a:ext uri="{FF2B5EF4-FFF2-40B4-BE49-F238E27FC236}">
                <a16:creationId xmlns:a16="http://schemas.microsoft.com/office/drawing/2014/main" id="{8FFDBDCC-D3C7-4A59-B075-12F0F63914BD}"/>
              </a:ext>
            </a:extLst>
          </p:cNvPr>
          <p:cNvSpPr txBox="1">
            <a:spLocks/>
          </p:cNvSpPr>
          <p:nvPr/>
        </p:nvSpPr>
        <p:spPr>
          <a:xfrm>
            <a:off x="7970102" y="4816073"/>
            <a:ext cx="2188612"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Netzwerk Smart City Berlin</a:t>
            </a:r>
          </a:p>
        </p:txBody>
      </p:sp>
      <p:sp>
        <p:nvSpPr>
          <p:cNvPr id="44" name="Textplatzhalter 14">
            <a:extLst>
              <a:ext uri="{FF2B5EF4-FFF2-40B4-BE49-F238E27FC236}">
                <a16:creationId xmlns:a16="http://schemas.microsoft.com/office/drawing/2014/main" id="{826A1D2C-8118-4282-84D0-B5E9EB42ABC3}"/>
              </a:ext>
            </a:extLst>
          </p:cNvPr>
          <p:cNvSpPr txBox="1">
            <a:spLocks/>
          </p:cNvSpPr>
          <p:nvPr/>
        </p:nvSpPr>
        <p:spPr>
          <a:xfrm>
            <a:off x="7863453" y="5763425"/>
            <a:ext cx="116373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Aleph Alpha</a:t>
            </a:r>
          </a:p>
        </p:txBody>
      </p:sp>
      <p:grpSp>
        <p:nvGrpSpPr>
          <p:cNvPr id="48" name="Gruppieren 47">
            <a:extLst>
              <a:ext uri="{FF2B5EF4-FFF2-40B4-BE49-F238E27FC236}">
                <a16:creationId xmlns:a16="http://schemas.microsoft.com/office/drawing/2014/main" id="{A6DCB90F-8CAF-3966-4D62-805C29DA3470}"/>
              </a:ext>
            </a:extLst>
          </p:cNvPr>
          <p:cNvGrpSpPr/>
          <p:nvPr/>
        </p:nvGrpSpPr>
        <p:grpSpPr>
          <a:xfrm>
            <a:off x="7647219" y="5285630"/>
            <a:ext cx="2415884" cy="356957"/>
            <a:chOff x="7502756" y="5265534"/>
            <a:chExt cx="2415884" cy="356957"/>
          </a:xfrm>
        </p:grpSpPr>
        <p:sp>
          <p:nvSpPr>
            <p:cNvPr id="43" name="Textplatzhalter 14">
              <a:extLst>
                <a:ext uri="{FF2B5EF4-FFF2-40B4-BE49-F238E27FC236}">
                  <a16:creationId xmlns:a16="http://schemas.microsoft.com/office/drawing/2014/main" id="{951C033C-666C-BD75-B397-838CC7715204}"/>
                </a:ext>
              </a:extLst>
            </p:cNvPr>
            <p:cNvSpPr txBox="1">
              <a:spLocks/>
            </p:cNvSpPr>
            <p:nvPr/>
          </p:nvSpPr>
          <p:spPr>
            <a:xfrm>
              <a:off x="7502756" y="5265534"/>
              <a:ext cx="116373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Projekt EMIL</a:t>
              </a:r>
            </a:p>
          </p:txBody>
        </p:sp>
        <p:sp>
          <p:nvSpPr>
            <p:cNvPr id="45" name="Textplatzhalter 14">
              <a:extLst>
                <a:ext uri="{FF2B5EF4-FFF2-40B4-BE49-F238E27FC236}">
                  <a16:creationId xmlns:a16="http://schemas.microsoft.com/office/drawing/2014/main" id="{608AA082-B470-AE20-C875-BEE7D87E847F}"/>
                </a:ext>
              </a:extLst>
            </p:cNvPr>
            <p:cNvSpPr txBox="1">
              <a:spLocks/>
            </p:cNvSpPr>
            <p:nvPr/>
          </p:nvSpPr>
          <p:spPr>
            <a:xfrm>
              <a:off x="8754907" y="5265534"/>
              <a:ext cx="116373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Marco Polo</a:t>
              </a:r>
            </a:p>
          </p:txBody>
        </p:sp>
      </p:grpSp>
      <p:sp>
        <p:nvSpPr>
          <p:cNvPr id="46" name="Textplatzhalter 14">
            <a:extLst>
              <a:ext uri="{FF2B5EF4-FFF2-40B4-BE49-F238E27FC236}">
                <a16:creationId xmlns:a16="http://schemas.microsoft.com/office/drawing/2014/main" id="{3E921FF5-205E-3ADC-AA0D-B87E9D532AD9}"/>
              </a:ext>
            </a:extLst>
          </p:cNvPr>
          <p:cNvSpPr txBox="1">
            <a:spLocks/>
          </p:cNvSpPr>
          <p:nvPr/>
        </p:nvSpPr>
        <p:spPr>
          <a:xfrm>
            <a:off x="7645791" y="2507767"/>
            <a:ext cx="159905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KI Bundesverband</a:t>
            </a:r>
          </a:p>
        </p:txBody>
      </p:sp>
    </p:spTree>
    <p:extLst>
      <p:ext uri="{BB962C8B-B14F-4D97-AF65-F5344CB8AC3E}">
        <p14:creationId xmlns:p14="http://schemas.microsoft.com/office/powerpoint/2010/main" val="3271739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500" fill="hold"/>
                                        <p:tgtEl>
                                          <p:spTgt spid="14"/>
                                        </p:tgtEl>
                                        <p:attrNameLst>
                                          <p:attrName>ppt_x</p:attrName>
                                        </p:attrNameLst>
                                      </p:cBhvr>
                                      <p:tavLst>
                                        <p:tav tm="0">
                                          <p:val>
                                            <p:strVal val="0-#ppt_w/2"/>
                                          </p:val>
                                        </p:tav>
                                        <p:tav tm="100000">
                                          <p:val>
                                            <p:strVal val="#ppt_x"/>
                                          </p:val>
                                        </p:tav>
                                      </p:tavLst>
                                    </p:anim>
                                    <p:anim calcmode="lin" valueType="num">
                                      <p:cBhvr additive="base">
                                        <p:cTn id="13" dur="500" fill="hold"/>
                                        <p:tgtEl>
                                          <p:spTgt spid="1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500" fill="hold"/>
                                        <p:tgtEl>
                                          <p:spTgt spid="15"/>
                                        </p:tgtEl>
                                        <p:attrNameLst>
                                          <p:attrName>ppt_x</p:attrName>
                                        </p:attrNameLst>
                                      </p:cBhvr>
                                      <p:tavLst>
                                        <p:tav tm="0">
                                          <p:val>
                                            <p:strVal val="0-#ppt_w/2"/>
                                          </p:val>
                                        </p:tav>
                                        <p:tav tm="100000">
                                          <p:val>
                                            <p:strVal val="#ppt_x"/>
                                          </p:val>
                                        </p:tav>
                                      </p:tavLst>
                                    </p:anim>
                                    <p:anim calcmode="lin" valueType="num">
                                      <p:cBhvr additive="base">
                                        <p:cTn id="18" dur="500" fill="hold"/>
                                        <p:tgtEl>
                                          <p:spTgt spid="1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nodeType="afterEffect">
                                  <p:stCondLst>
                                    <p:cond delay="0"/>
                                  </p:stCondLst>
                                  <p:childTnLst>
                                    <p:set>
                                      <p:cBhvr>
                                        <p:cTn id="21" dur="1" fill="hold">
                                          <p:stCondLst>
                                            <p:cond delay="0"/>
                                          </p:stCondLst>
                                        </p:cTn>
                                        <p:tgtEl>
                                          <p:spTgt spid="23"/>
                                        </p:tgtEl>
                                        <p:attrNameLst>
                                          <p:attrName>style.visibility</p:attrName>
                                        </p:attrNameLst>
                                      </p:cBhvr>
                                      <p:to>
                                        <p:strVal val="visible"/>
                                      </p:to>
                                    </p:set>
                                    <p:anim calcmode="lin" valueType="num">
                                      <p:cBhvr additive="base">
                                        <p:cTn id="22" dur="500" fill="hold"/>
                                        <p:tgtEl>
                                          <p:spTgt spid="23"/>
                                        </p:tgtEl>
                                        <p:attrNameLst>
                                          <p:attrName>ppt_x</p:attrName>
                                        </p:attrNameLst>
                                      </p:cBhvr>
                                      <p:tavLst>
                                        <p:tav tm="0">
                                          <p:val>
                                            <p:strVal val="0-#ppt_w/2"/>
                                          </p:val>
                                        </p:tav>
                                        <p:tav tm="100000">
                                          <p:val>
                                            <p:strVal val="#ppt_x"/>
                                          </p:val>
                                        </p:tav>
                                      </p:tavLst>
                                    </p:anim>
                                    <p:anim calcmode="lin" valueType="num">
                                      <p:cBhvr additive="base">
                                        <p:cTn id="23" dur="500" fill="hold"/>
                                        <p:tgtEl>
                                          <p:spTgt spid="23"/>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8"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 calcmode="lin" valueType="num">
                                      <p:cBhvr additive="base">
                                        <p:cTn id="27" dur="500" fill="hold"/>
                                        <p:tgtEl>
                                          <p:spTgt spid="18"/>
                                        </p:tgtEl>
                                        <p:attrNameLst>
                                          <p:attrName>ppt_x</p:attrName>
                                        </p:attrNameLst>
                                      </p:cBhvr>
                                      <p:tavLst>
                                        <p:tav tm="0">
                                          <p:val>
                                            <p:strVal val="0-#ppt_w/2"/>
                                          </p:val>
                                        </p:tav>
                                        <p:tav tm="100000">
                                          <p:val>
                                            <p:strVal val="#ppt_x"/>
                                          </p:val>
                                        </p:tav>
                                      </p:tavLst>
                                    </p:anim>
                                    <p:anim calcmode="lin" valueType="num">
                                      <p:cBhvr additive="base">
                                        <p:cTn id="28" dur="500" fill="hold"/>
                                        <p:tgtEl>
                                          <p:spTgt spid="18"/>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2" presetClass="entr" presetSubtype="8" fill="hold" grpId="0" nodeType="afterEffect">
                                  <p:stCondLst>
                                    <p:cond delay="0"/>
                                  </p:stCondLst>
                                  <p:childTnLst>
                                    <p:set>
                                      <p:cBhvr>
                                        <p:cTn id="31" dur="1" fill="hold">
                                          <p:stCondLst>
                                            <p:cond delay="0"/>
                                          </p:stCondLst>
                                        </p:cTn>
                                        <p:tgtEl>
                                          <p:spTgt spid="17"/>
                                        </p:tgtEl>
                                        <p:attrNameLst>
                                          <p:attrName>style.visibility</p:attrName>
                                        </p:attrNameLst>
                                      </p:cBhvr>
                                      <p:to>
                                        <p:strVal val="visible"/>
                                      </p:to>
                                    </p:set>
                                    <p:anim calcmode="lin" valueType="num">
                                      <p:cBhvr additive="base">
                                        <p:cTn id="32" dur="500" fill="hold"/>
                                        <p:tgtEl>
                                          <p:spTgt spid="17"/>
                                        </p:tgtEl>
                                        <p:attrNameLst>
                                          <p:attrName>ppt_x</p:attrName>
                                        </p:attrNameLst>
                                      </p:cBhvr>
                                      <p:tavLst>
                                        <p:tav tm="0">
                                          <p:val>
                                            <p:strVal val="0-#ppt_w/2"/>
                                          </p:val>
                                        </p:tav>
                                        <p:tav tm="100000">
                                          <p:val>
                                            <p:strVal val="#ppt_x"/>
                                          </p:val>
                                        </p:tav>
                                      </p:tavLst>
                                    </p:anim>
                                    <p:anim calcmode="lin" valueType="num">
                                      <p:cBhvr additive="base">
                                        <p:cTn id="33" dur="500" fill="hold"/>
                                        <p:tgtEl>
                                          <p:spTgt spid="17"/>
                                        </p:tgtEl>
                                        <p:attrNameLst>
                                          <p:attrName>ppt_y</p:attrName>
                                        </p:attrNameLst>
                                      </p:cBhvr>
                                      <p:tavLst>
                                        <p:tav tm="0">
                                          <p:val>
                                            <p:strVal val="#ppt_y"/>
                                          </p:val>
                                        </p:tav>
                                        <p:tav tm="100000">
                                          <p:val>
                                            <p:strVal val="#ppt_y"/>
                                          </p:val>
                                        </p:tav>
                                      </p:tavLst>
                                    </p:anim>
                                  </p:childTnLst>
                                </p:cTn>
                              </p:par>
                            </p:childTnLst>
                          </p:cTn>
                        </p:par>
                        <p:par>
                          <p:cTn id="34" fill="hold">
                            <p:stCondLst>
                              <p:cond delay="3000"/>
                            </p:stCondLst>
                            <p:childTnLst>
                              <p:par>
                                <p:cTn id="35" presetID="2" presetClass="entr" presetSubtype="8" fill="hold" grpId="0" nodeType="afterEffect">
                                  <p:stCondLst>
                                    <p:cond delay="0"/>
                                  </p:stCondLst>
                                  <p:childTnLst>
                                    <p:set>
                                      <p:cBhvr>
                                        <p:cTn id="36" dur="1" fill="hold">
                                          <p:stCondLst>
                                            <p:cond delay="0"/>
                                          </p:stCondLst>
                                        </p:cTn>
                                        <p:tgtEl>
                                          <p:spTgt spid="20"/>
                                        </p:tgtEl>
                                        <p:attrNameLst>
                                          <p:attrName>style.visibility</p:attrName>
                                        </p:attrNameLst>
                                      </p:cBhvr>
                                      <p:to>
                                        <p:strVal val="visible"/>
                                      </p:to>
                                    </p:set>
                                    <p:anim calcmode="lin" valueType="num">
                                      <p:cBhvr additive="base">
                                        <p:cTn id="37" dur="500" fill="hold"/>
                                        <p:tgtEl>
                                          <p:spTgt spid="20"/>
                                        </p:tgtEl>
                                        <p:attrNameLst>
                                          <p:attrName>ppt_x</p:attrName>
                                        </p:attrNameLst>
                                      </p:cBhvr>
                                      <p:tavLst>
                                        <p:tav tm="0">
                                          <p:val>
                                            <p:strVal val="0-#ppt_w/2"/>
                                          </p:val>
                                        </p:tav>
                                        <p:tav tm="100000">
                                          <p:val>
                                            <p:strVal val="#ppt_x"/>
                                          </p:val>
                                        </p:tav>
                                      </p:tavLst>
                                    </p:anim>
                                    <p:anim calcmode="lin" valueType="num">
                                      <p:cBhvr additive="base">
                                        <p:cTn id="38" dur="500" fill="hold"/>
                                        <p:tgtEl>
                                          <p:spTgt spid="20"/>
                                        </p:tgtEl>
                                        <p:attrNameLst>
                                          <p:attrName>ppt_y</p:attrName>
                                        </p:attrNameLst>
                                      </p:cBhvr>
                                      <p:tavLst>
                                        <p:tav tm="0">
                                          <p:val>
                                            <p:strVal val="#ppt_y"/>
                                          </p:val>
                                        </p:tav>
                                        <p:tav tm="100000">
                                          <p:val>
                                            <p:strVal val="#ppt_y"/>
                                          </p:val>
                                        </p:tav>
                                      </p:tavLst>
                                    </p:anim>
                                  </p:childTnLst>
                                </p:cTn>
                              </p:par>
                            </p:childTnLst>
                          </p:cTn>
                        </p:par>
                        <p:par>
                          <p:cTn id="39" fill="hold">
                            <p:stCondLst>
                              <p:cond delay="3500"/>
                            </p:stCondLst>
                            <p:childTnLst>
                              <p:par>
                                <p:cTn id="40" presetID="2" presetClass="entr" presetSubtype="8" fill="hold" grpId="0" nodeType="afterEffect">
                                  <p:stCondLst>
                                    <p:cond delay="0"/>
                                  </p:stCondLst>
                                  <p:childTnLst>
                                    <p:set>
                                      <p:cBhvr>
                                        <p:cTn id="41" dur="1" fill="hold">
                                          <p:stCondLst>
                                            <p:cond delay="0"/>
                                          </p:stCondLst>
                                        </p:cTn>
                                        <p:tgtEl>
                                          <p:spTgt spid="22"/>
                                        </p:tgtEl>
                                        <p:attrNameLst>
                                          <p:attrName>style.visibility</p:attrName>
                                        </p:attrNameLst>
                                      </p:cBhvr>
                                      <p:to>
                                        <p:strVal val="visible"/>
                                      </p:to>
                                    </p:set>
                                    <p:anim calcmode="lin" valueType="num">
                                      <p:cBhvr additive="base">
                                        <p:cTn id="42" dur="500" fill="hold"/>
                                        <p:tgtEl>
                                          <p:spTgt spid="22"/>
                                        </p:tgtEl>
                                        <p:attrNameLst>
                                          <p:attrName>ppt_x</p:attrName>
                                        </p:attrNameLst>
                                      </p:cBhvr>
                                      <p:tavLst>
                                        <p:tav tm="0">
                                          <p:val>
                                            <p:strVal val="0-#ppt_w/2"/>
                                          </p:val>
                                        </p:tav>
                                        <p:tav tm="100000">
                                          <p:val>
                                            <p:strVal val="#ppt_x"/>
                                          </p:val>
                                        </p:tav>
                                      </p:tavLst>
                                    </p:anim>
                                    <p:anim calcmode="lin" valueType="num">
                                      <p:cBhvr additive="base">
                                        <p:cTn id="43" dur="500" fill="hold"/>
                                        <p:tgtEl>
                                          <p:spTgt spid="22"/>
                                        </p:tgtEl>
                                        <p:attrNameLst>
                                          <p:attrName>ppt_y</p:attrName>
                                        </p:attrNameLst>
                                      </p:cBhvr>
                                      <p:tavLst>
                                        <p:tav tm="0">
                                          <p:val>
                                            <p:strVal val="#ppt_y"/>
                                          </p:val>
                                        </p:tav>
                                        <p:tav tm="100000">
                                          <p:val>
                                            <p:strVal val="#ppt_y"/>
                                          </p:val>
                                        </p:tav>
                                      </p:tavLst>
                                    </p:anim>
                                  </p:childTnLst>
                                </p:cTn>
                              </p:par>
                            </p:childTnLst>
                          </p:cTn>
                        </p:par>
                        <p:par>
                          <p:cTn id="44" fill="hold">
                            <p:stCondLst>
                              <p:cond delay="4000"/>
                            </p:stCondLst>
                            <p:childTnLst>
                              <p:par>
                                <p:cTn id="45" presetID="2" presetClass="entr" presetSubtype="2" fill="hold" grpId="0" nodeType="afterEffect">
                                  <p:stCondLst>
                                    <p:cond delay="0"/>
                                  </p:stCondLst>
                                  <p:childTnLst>
                                    <p:set>
                                      <p:cBhvr>
                                        <p:cTn id="46" dur="1" fill="hold">
                                          <p:stCondLst>
                                            <p:cond delay="0"/>
                                          </p:stCondLst>
                                        </p:cTn>
                                        <p:tgtEl>
                                          <p:spTgt spid="46"/>
                                        </p:tgtEl>
                                        <p:attrNameLst>
                                          <p:attrName>style.visibility</p:attrName>
                                        </p:attrNameLst>
                                      </p:cBhvr>
                                      <p:to>
                                        <p:strVal val="visible"/>
                                      </p:to>
                                    </p:set>
                                    <p:anim calcmode="lin" valueType="num">
                                      <p:cBhvr additive="base">
                                        <p:cTn id="47" dur="500" fill="hold"/>
                                        <p:tgtEl>
                                          <p:spTgt spid="46"/>
                                        </p:tgtEl>
                                        <p:attrNameLst>
                                          <p:attrName>ppt_x</p:attrName>
                                        </p:attrNameLst>
                                      </p:cBhvr>
                                      <p:tavLst>
                                        <p:tav tm="0">
                                          <p:val>
                                            <p:strVal val="1+#ppt_w/2"/>
                                          </p:val>
                                        </p:tav>
                                        <p:tav tm="100000">
                                          <p:val>
                                            <p:strVal val="#ppt_x"/>
                                          </p:val>
                                        </p:tav>
                                      </p:tavLst>
                                    </p:anim>
                                    <p:anim calcmode="lin" valueType="num">
                                      <p:cBhvr additive="base">
                                        <p:cTn id="48" dur="500" fill="hold"/>
                                        <p:tgtEl>
                                          <p:spTgt spid="46"/>
                                        </p:tgtEl>
                                        <p:attrNameLst>
                                          <p:attrName>ppt_y</p:attrName>
                                        </p:attrNameLst>
                                      </p:cBhvr>
                                      <p:tavLst>
                                        <p:tav tm="0">
                                          <p:val>
                                            <p:strVal val="#ppt_y"/>
                                          </p:val>
                                        </p:tav>
                                        <p:tav tm="100000">
                                          <p:val>
                                            <p:strVal val="#ppt_y"/>
                                          </p:val>
                                        </p:tav>
                                      </p:tavLst>
                                    </p:anim>
                                  </p:childTnLst>
                                </p:cTn>
                              </p:par>
                            </p:childTnLst>
                          </p:cTn>
                        </p:par>
                        <p:par>
                          <p:cTn id="49" fill="hold">
                            <p:stCondLst>
                              <p:cond delay="4500"/>
                            </p:stCondLst>
                            <p:childTnLst>
                              <p:par>
                                <p:cTn id="50" presetID="2" presetClass="entr" presetSubtype="2" fill="hold" nodeType="afterEffect">
                                  <p:stCondLst>
                                    <p:cond delay="0"/>
                                  </p:stCondLst>
                                  <p:childTnLst>
                                    <p:set>
                                      <p:cBhvr>
                                        <p:cTn id="51" dur="1" fill="hold">
                                          <p:stCondLst>
                                            <p:cond delay="0"/>
                                          </p:stCondLst>
                                        </p:cTn>
                                        <p:tgtEl>
                                          <p:spTgt spid="47"/>
                                        </p:tgtEl>
                                        <p:attrNameLst>
                                          <p:attrName>style.visibility</p:attrName>
                                        </p:attrNameLst>
                                      </p:cBhvr>
                                      <p:to>
                                        <p:strVal val="visible"/>
                                      </p:to>
                                    </p:set>
                                    <p:anim calcmode="lin" valueType="num">
                                      <p:cBhvr additive="base">
                                        <p:cTn id="52" dur="500" fill="hold"/>
                                        <p:tgtEl>
                                          <p:spTgt spid="47"/>
                                        </p:tgtEl>
                                        <p:attrNameLst>
                                          <p:attrName>ppt_x</p:attrName>
                                        </p:attrNameLst>
                                      </p:cBhvr>
                                      <p:tavLst>
                                        <p:tav tm="0">
                                          <p:val>
                                            <p:strVal val="1+#ppt_w/2"/>
                                          </p:val>
                                        </p:tav>
                                        <p:tav tm="100000">
                                          <p:val>
                                            <p:strVal val="#ppt_x"/>
                                          </p:val>
                                        </p:tav>
                                      </p:tavLst>
                                    </p:anim>
                                    <p:anim calcmode="lin" valueType="num">
                                      <p:cBhvr additive="base">
                                        <p:cTn id="53" dur="500" fill="hold"/>
                                        <p:tgtEl>
                                          <p:spTgt spid="47"/>
                                        </p:tgtEl>
                                        <p:attrNameLst>
                                          <p:attrName>ppt_y</p:attrName>
                                        </p:attrNameLst>
                                      </p:cBhvr>
                                      <p:tavLst>
                                        <p:tav tm="0">
                                          <p:val>
                                            <p:strVal val="#ppt_y"/>
                                          </p:val>
                                        </p:tav>
                                        <p:tav tm="100000">
                                          <p:val>
                                            <p:strVal val="#ppt_y"/>
                                          </p:val>
                                        </p:tav>
                                      </p:tavLst>
                                    </p:anim>
                                  </p:childTnLst>
                                </p:cTn>
                              </p:par>
                            </p:childTnLst>
                          </p:cTn>
                        </p:par>
                        <p:par>
                          <p:cTn id="54" fill="hold">
                            <p:stCondLst>
                              <p:cond delay="5000"/>
                            </p:stCondLst>
                            <p:childTnLst>
                              <p:par>
                                <p:cTn id="55" presetID="2" presetClass="entr" presetSubtype="2" fill="hold" grpId="0" nodeType="afterEffect">
                                  <p:stCondLst>
                                    <p:cond delay="0"/>
                                  </p:stCondLst>
                                  <p:childTnLst>
                                    <p:set>
                                      <p:cBhvr>
                                        <p:cTn id="56" dur="1" fill="hold">
                                          <p:stCondLst>
                                            <p:cond delay="0"/>
                                          </p:stCondLst>
                                        </p:cTn>
                                        <p:tgtEl>
                                          <p:spTgt spid="26"/>
                                        </p:tgtEl>
                                        <p:attrNameLst>
                                          <p:attrName>style.visibility</p:attrName>
                                        </p:attrNameLst>
                                      </p:cBhvr>
                                      <p:to>
                                        <p:strVal val="visible"/>
                                      </p:to>
                                    </p:set>
                                    <p:anim calcmode="lin" valueType="num">
                                      <p:cBhvr additive="base">
                                        <p:cTn id="57" dur="500" fill="hold"/>
                                        <p:tgtEl>
                                          <p:spTgt spid="26"/>
                                        </p:tgtEl>
                                        <p:attrNameLst>
                                          <p:attrName>ppt_x</p:attrName>
                                        </p:attrNameLst>
                                      </p:cBhvr>
                                      <p:tavLst>
                                        <p:tav tm="0">
                                          <p:val>
                                            <p:strVal val="1+#ppt_w/2"/>
                                          </p:val>
                                        </p:tav>
                                        <p:tav tm="100000">
                                          <p:val>
                                            <p:strVal val="#ppt_x"/>
                                          </p:val>
                                        </p:tav>
                                      </p:tavLst>
                                    </p:anim>
                                    <p:anim calcmode="lin" valueType="num">
                                      <p:cBhvr additive="base">
                                        <p:cTn id="58" dur="500" fill="hold"/>
                                        <p:tgtEl>
                                          <p:spTgt spid="26"/>
                                        </p:tgtEl>
                                        <p:attrNameLst>
                                          <p:attrName>ppt_y</p:attrName>
                                        </p:attrNameLst>
                                      </p:cBhvr>
                                      <p:tavLst>
                                        <p:tav tm="0">
                                          <p:val>
                                            <p:strVal val="#ppt_y"/>
                                          </p:val>
                                        </p:tav>
                                        <p:tav tm="100000">
                                          <p:val>
                                            <p:strVal val="#ppt_y"/>
                                          </p:val>
                                        </p:tav>
                                      </p:tavLst>
                                    </p:anim>
                                  </p:childTnLst>
                                </p:cTn>
                              </p:par>
                            </p:childTnLst>
                          </p:cTn>
                        </p:par>
                        <p:par>
                          <p:cTn id="59" fill="hold">
                            <p:stCondLst>
                              <p:cond delay="5500"/>
                            </p:stCondLst>
                            <p:childTnLst>
                              <p:par>
                                <p:cTn id="60" presetID="2" presetClass="entr" presetSubtype="2" fill="hold" grpId="0" nodeType="afterEffect">
                                  <p:stCondLst>
                                    <p:cond delay="0"/>
                                  </p:stCondLst>
                                  <p:childTnLst>
                                    <p:set>
                                      <p:cBhvr>
                                        <p:cTn id="61" dur="1" fill="hold">
                                          <p:stCondLst>
                                            <p:cond delay="0"/>
                                          </p:stCondLst>
                                        </p:cTn>
                                        <p:tgtEl>
                                          <p:spTgt spid="41"/>
                                        </p:tgtEl>
                                        <p:attrNameLst>
                                          <p:attrName>style.visibility</p:attrName>
                                        </p:attrNameLst>
                                      </p:cBhvr>
                                      <p:to>
                                        <p:strVal val="visible"/>
                                      </p:to>
                                    </p:set>
                                    <p:anim calcmode="lin" valueType="num">
                                      <p:cBhvr additive="base">
                                        <p:cTn id="62" dur="500" fill="hold"/>
                                        <p:tgtEl>
                                          <p:spTgt spid="41"/>
                                        </p:tgtEl>
                                        <p:attrNameLst>
                                          <p:attrName>ppt_x</p:attrName>
                                        </p:attrNameLst>
                                      </p:cBhvr>
                                      <p:tavLst>
                                        <p:tav tm="0">
                                          <p:val>
                                            <p:strVal val="1+#ppt_w/2"/>
                                          </p:val>
                                        </p:tav>
                                        <p:tav tm="100000">
                                          <p:val>
                                            <p:strVal val="#ppt_x"/>
                                          </p:val>
                                        </p:tav>
                                      </p:tavLst>
                                    </p:anim>
                                    <p:anim calcmode="lin" valueType="num">
                                      <p:cBhvr additive="base">
                                        <p:cTn id="63" dur="500" fill="hold"/>
                                        <p:tgtEl>
                                          <p:spTgt spid="41"/>
                                        </p:tgtEl>
                                        <p:attrNameLst>
                                          <p:attrName>ppt_y</p:attrName>
                                        </p:attrNameLst>
                                      </p:cBhvr>
                                      <p:tavLst>
                                        <p:tav tm="0">
                                          <p:val>
                                            <p:strVal val="#ppt_y"/>
                                          </p:val>
                                        </p:tav>
                                        <p:tav tm="100000">
                                          <p:val>
                                            <p:strVal val="#ppt_y"/>
                                          </p:val>
                                        </p:tav>
                                      </p:tavLst>
                                    </p:anim>
                                  </p:childTnLst>
                                </p:cTn>
                              </p:par>
                            </p:childTnLst>
                          </p:cTn>
                        </p:par>
                        <p:par>
                          <p:cTn id="64" fill="hold">
                            <p:stCondLst>
                              <p:cond delay="6000"/>
                            </p:stCondLst>
                            <p:childTnLst>
                              <p:par>
                                <p:cTn id="65" presetID="2" presetClass="entr" presetSubtype="2" fill="hold" grpId="0" nodeType="afterEffect">
                                  <p:stCondLst>
                                    <p:cond delay="0"/>
                                  </p:stCondLst>
                                  <p:childTnLst>
                                    <p:set>
                                      <p:cBhvr>
                                        <p:cTn id="66" dur="1" fill="hold">
                                          <p:stCondLst>
                                            <p:cond delay="0"/>
                                          </p:stCondLst>
                                        </p:cTn>
                                        <p:tgtEl>
                                          <p:spTgt spid="28"/>
                                        </p:tgtEl>
                                        <p:attrNameLst>
                                          <p:attrName>style.visibility</p:attrName>
                                        </p:attrNameLst>
                                      </p:cBhvr>
                                      <p:to>
                                        <p:strVal val="visible"/>
                                      </p:to>
                                    </p:set>
                                    <p:anim calcmode="lin" valueType="num">
                                      <p:cBhvr additive="base">
                                        <p:cTn id="67" dur="500" fill="hold"/>
                                        <p:tgtEl>
                                          <p:spTgt spid="28"/>
                                        </p:tgtEl>
                                        <p:attrNameLst>
                                          <p:attrName>ppt_x</p:attrName>
                                        </p:attrNameLst>
                                      </p:cBhvr>
                                      <p:tavLst>
                                        <p:tav tm="0">
                                          <p:val>
                                            <p:strVal val="1+#ppt_w/2"/>
                                          </p:val>
                                        </p:tav>
                                        <p:tav tm="100000">
                                          <p:val>
                                            <p:strVal val="#ppt_x"/>
                                          </p:val>
                                        </p:tav>
                                      </p:tavLst>
                                    </p:anim>
                                    <p:anim calcmode="lin" valueType="num">
                                      <p:cBhvr additive="base">
                                        <p:cTn id="68" dur="500" fill="hold"/>
                                        <p:tgtEl>
                                          <p:spTgt spid="28"/>
                                        </p:tgtEl>
                                        <p:attrNameLst>
                                          <p:attrName>ppt_y</p:attrName>
                                        </p:attrNameLst>
                                      </p:cBhvr>
                                      <p:tavLst>
                                        <p:tav tm="0">
                                          <p:val>
                                            <p:strVal val="#ppt_y"/>
                                          </p:val>
                                        </p:tav>
                                        <p:tav tm="100000">
                                          <p:val>
                                            <p:strVal val="#ppt_y"/>
                                          </p:val>
                                        </p:tav>
                                      </p:tavLst>
                                    </p:anim>
                                  </p:childTnLst>
                                </p:cTn>
                              </p:par>
                            </p:childTnLst>
                          </p:cTn>
                        </p:par>
                        <p:par>
                          <p:cTn id="69" fill="hold">
                            <p:stCondLst>
                              <p:cond delay="6500"/>
                            </p:stCondLst>
                            <p:childTnLst>
                              <p:par>
                                <p:cTn id="70" presetID="2" presetClass="entr" presetSubtype="2" fill="hold" grpId="0" nodeType="afterEffect">
                                  <p:stCondLst>
                                    <p:cond delay="0"/>
                                  </p:stCondLst>
                                  <p:childTnLst>
                                    <p:set>
                                      <p:cBhvr>
                                        <p:cTn id="71" dur="1" fill="hold">
                                          <p:stCondLst>
                                            <p:cond delay="0"/>
                                          </p:stCondLst>
                                        </p:cTn>
                                        <p:tgtEl>
                                          <p:spTgt spid="42"/>
                                        </p:tgtEl>
                                        <p:attrNameLst>
                                          <p:attrName>style.visibility</p:attrName>
                                        </p:attrNameLst>
                                      </p:cBhvr>
                                      <p:to>
                                        <p:strVal val="visible"/>
                                      </p:to>
                                    </p:set>
                                    <p:anim calcmode="lin" valueType="num">
                                      <p:cBhvr additive="base">
                                        <p:cTn id="72" dur="500" fill="hold"/>
                                        <p:tgtEl>
                                          <p:spTgt spid="42"/>
                                        </p:tgtEl>
                                        <p:attrNameLst>
                                          <p:attrName>ppt_x</p:attrName>
                                        </p:attrNameLst>
                                      </p:cBhvr>
                                      <p:tavLst>
                                        <p:tav tm="0">
                                          <p:val>
                                            <p:strVal val="1+#ppt_w/2"/>
                                          </p:val>
                                        </p:tav>
                                        <p:tav tm="100000">
                                          <p:val>
                                            <p:strVal val="#ppt_x"/>
                                          </p:val>
                                        </p:tav>
                                      </p:tavLst>
                                    </p:anim>
                                    <p:anim calcmode="lin" valueType="num">
                                      <p:cBhvr additive="base">
                                        <p:cTn id="73" dur="500" fill="hold"/>
                                        <p:tgtEl>
                                          <p:spTgt spid="42"/>
                                        </p:tgtEl>
                                        <p:attrNameLst>
                                          <p:attrName>ppt_y</p:attrName>
                                        </p:attrNameLst>
                                      </p:cBhvr>
                                      <p:tavLst>
                                        <p:tav tm="0">
                                          <p:val>
                                            <p:strVal val="#ppt_y"/>
                                          </p:val>
                                        </p:tav>
                                        <p:tav tm="100000">
                                          <p:val>
                                            <p:strVal val="#ppt_y"/>
                                          </p:val>
                                        </p:tav>
                                      </p:tavLst>
                                    </p:anim>
                                  </p:childTnLst>
                                </p:cTn>
                              </p:par>
                            </p:childTnLst>
                          </p:cTn>
                        </p:par>
                        <p:par>
                          <p:cTn id="74" fill="hold">
                            <p:stCondLst>
                              <p:cond delay="7000"/>
                            </p:stCondLst>
                            <p:childTnLst>
                              <p:par>
                                <p:cTn id="75" presetID="2" presetClass="entr" presetSubtype="2" fill="hold" nodeType="afterEffect">
                                  <p:stCondLst>
                                    <p:cond delay="0"/>
                                  </p:stCondLst>
                                  <p:childTnLst>
                                    <p:set>
                                      <p:cBhvr>
                                        <p:cTn id="76" dur="1" fill="hold">
                                          <p:stCondLst>
                                            <p:cond delay="0"/>
                                          </p:stCondLst>
                                        </p:cTn>
                                        <p:tgtEl>
                                          <p:spTgt spid="48"/>
                                        </p:tgtEl>
                                        <p:attrNameLst>
                                          <p:attrName>style.visibility</p:attrName>
                                        </p:attrNameLst>
                                      </p:cBhvr>
                                      <p:to>
                                        <p:strVal val="visible"/>
                                      </p:to>
                                    </p:set>
                                    <p:anim calcmode="lin" valueType="num">
                                      <p:cBhvr additive="base">
                                        <p:cTn id="77" dur="500" fill="hold"/>
                                        <p:tgtEl>
                                          <p:spTgt spid="48"/>
                                        </p:tgtEl>
                                        <p:attrNameLst>
                                          <p:attrName>ppt_x</p:attrName>
                                        </p:attrNameLst>
                                      </p:cBhvr>
                                      <p:tavLst>
                                        <p:tav tm="0">
                                          <p:val>
                                            <p:strVal val="1+#ppt_w/2"/>
                                          </p:val>
                                        </p:tav>
                                        <p:tav tm="100000">
                                          <p:val>
                                            <p:strVal val="#ppt_x"/>
                                          </p:val>
                                        </p:tav>
                                      </p:tavLst>
                                    </p:anim>
                                    <p:anim calcmode="lin" valueType="num">
                                      <p:cBhvr additive="base">
                                        <p:cTn id="78" dur="500" fill="hold"/>
                                        <p:tgtEl>
                                          <p:spTgt spid="48"/>
                                        </p:tgtEl>
                                        <p:attrNameLst>
                                          <p:attrName>ppt_y</p:attrName>
                                        </p:attrNameLst>
                                      </p:cBhvr>
                                      <p:tavLst>
                                        <p:tav tm="0">
                                          <p:val>
                                            <p:strVal val="#ppt_y"/>
                                          </p:val>
                                        </p:tav>
                                        <p:tav tm="100000">
                                          <p:val>
                                            <p:strVal val="#ppt_y"/>
                                          </p:val>
                                        </p:tav>
                                      </p:tavLst>
                                    </p:anim>
                                  </p:childTnLst>
                                </p:cTn>
                              </p:par>
                            </p:childTnLst>
                          </p:cTn>
                        </p:par>
                        <p:par>
                          <p:cTn id="79" fill="hold">
                            <p:stCondLst>
                              <p:cond delay="7500"/>
                            </p:stCondLst>
                            <p:childTnLst>
                              <p:par>
                                <p:cTn id="80" presetID="2" presetClass="entr" presetSubtype="2" fill="hold" grpId="0" nodeType="afterEffect">
                                  <p:stCondLst>
                                    <p:cond delay="0"/>
                                  </p:stCondLst>
                                  <p:childTnLst>
                                    <p:set>
                                      <p:cBhvr>
                                        <p:cTn id="81" dur="1" fill="hold">
                                          <p:stCondLst>
                                            <p:cond delay="0"/>
                                          </p:stCondLst>
                                        </p:cTn>
                                        <p:tgtEl>
                                          <p:spTgt spid="44"/>
                                        </p:tgtEl>
                                        <p:attrNameLst>
                                          <p:attrName>style.visibility</p:attrName>
                                        </p:attrNameLst>
                                      </p:cBhvr>
                                      <p:to>
                                        <p:strVal val="visible"/>
                                      </p:to>
                                    </p:set>
                                    <p:anim calcmode="lin" valueType="num">
                                      <p:cBhvr additive="base">
                                        <p:cTn id="82" dur="500" fill="hold"/>
                                        <p:tgtEl>
                                          <p:spTgt spid="44"/>
                                        </p:tgtEl>
                                        <p:attrNameLst>
                                          <p:attrName>ppt_x</p:attrName>
                                        </p:attrNameLst>
                                      </p:cBhvr>
                                      <p:tavLst>
                                        <p:tav tm="0">
                                          <p:val>
                                            <p:strVal val="1+#ppt_w/2"/>
                                          </p:val>
                                        </p:tav>
                                        <p:tav tm="100000">
                                          <p:val>
                                            <p:strVal val="#ppt_x"/>
                                          </p:val>
                                        </p:tav>
                                      </p:tavLst>
                                    </p:anim>
                                    <p:anim calcmode="lin" valueType="num">
                                      <p:cBhvr additive="base">
                                        <p:cTn id="83" dur="500" fill="hold"/>
                                        <p:tgtEl>
                                          <p:spTgt spid="4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7" grpId="0" animBg="1"/>
      <p:bldP spid="18" grpId="0" animBg="1"/>
      <p:bldP spid="20" grpId="0" animBg="1"/>
      <p:bldP spid="22" grpId="0" animBg="1"/>
      <p:bldP spid="26" grpId="0" animBg="1"/>
      <p:bldP spid="28" grpId="0" animBg="1"/>
      <p:bldP spid="41" grpId="0" animBg="1"/>
      <p:bldP spid="42" grpId="0" animBg="1"/>
      <p:bldP spid="44" grpId="0" animBg="1"/>
      <p:bldP spid="4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F7DEA7B6-1B13-366A-672A-F7F751F7450C}"/>
              </a:ext>
            </a:extLst>
          </p:cNvPr>
          <p:cNvSpPr/>
          <p:nvPr>
            <p:custDataLst>
              <p:tags r:id="rId1"/>
            </p:custDataLst>
          </p:nvPr>
        </p:nvSpPr>
        <p:spPr>
          <a:xfrm>
            <a:off x="9671370" y="1781092"/>
            <a:ext cx="2685600" cy="4311733"/>
          </a:xfrm>
          <a:prstGeom prst="round2DiagRect">
            <a:avLst>
              <a:gd name="adj1" fmla="val 0"/>
              <a:gd name="adj2" fmla="val 5916"/>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252000" tIns="2340000" rIns="108000" bIns="72000" rtlCol="0" anchor="t" anchorCtr="0"/>
          <a:lstStyle/>
          <a:p>
            <a:r>
              <a:rPr lang="de-DE" sz="1200" b="1">
                <a:ea typeface="+mn-lt"/>
                <a:cs typeface="+mn-lt"/>
              </a:rPr>
              <a:t>Ansprechpartner</a:t>
            </a:r>
            <a:endParaRPr lang="en-US" sz="1200" b="1"/>
          </a:p>
          <a:p>
            <a:r>
              <a:rPr lang="de-DE" sz="1200">
                <a:ea typeface="+mn-lt"/>
                <a:cs typeface="+mn-lt"/>
              </a:rPr>
              <a:t>Jörg Hanken</a:t>
            </a:r>
            <a:endParaRPr lang="de-DE" sz="1200"/>
          </a:p>
          <a:p>
            <a:r>
              <a:rPr lang="de-DE" sz="1200">
                <a:ea typeface="+mn-lt"/>
                <a:cs typeface="+mn-lt"/>
              </a:rPr>
              <a:t>+49 172 90 250 80</a:t>
            </a:r>
            <a:endParaRPr lang="de-DE" sz="1200"/>
          </a:p>
          <a:p>
            <a:r>
              <a:rPr lang="de-DE" sz="1200">
                <a:ea typeface="+mn-lt"/>
                <a:cs typeface="+mn-lt"/>
              </a:rPr>
              <a:t>Joerg.hanken@optravis.com</a:t>
            </a:r>
            <a:endParaRPr lang="de-DE" sz="1200"/>
          </a:p>
        </p:txBody>
      </p:sp>
      <p:sp>
        <p:nvSpPr>
          <p:cNvPr id="10" name="Titel 11">
            <a:extLst>
              <a:ext uri="{FF2B5EF4-FFF2-40B4-BE49-F238E27FC236}">
                <a16:creationId xmlns:a16="http://schemas.microsoft.com/office/drawing/2014/main" id="{66117DF3-FEB1-C3DF-24B0-36BFCE486E77}"/>
              </a:ext>
            </a:extLst>
          </p:cNvPr>
          <p:cNvSpPr txBox="1">
            <a:spLocks/>
          </p:cNvSpPr>
          <p:nvPr>
            <p:custDataLst>
              <p:tags r:id="rId2"/>
            </p:custDataLst>
          </p:nvPr>
        </p:nvSpPr>
        <p:spPr bwMode="gray">
          <a:xfrm>
            <a:off x="9920288" y="2110176"/>
            <a:ext cx="1951038"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31" name="Textplatzhalter 30">
            <a:extLst>
              <a:ext uri="{FF2B5EF4-FFF2-40B4-BE49-F238E27FC236}">
                <a16:creationId xmlns:a16="http://schemas.microsoft.com/office/drawing/2014/main" id="{807B63BF-D609-29DF-FEDD-6E8D8960113B}"/>
              </a:ext>
            </a:extLst>
          </p:cNvPr>
          <p:cNvSpPr>
            <a:spLocks noGrp="1"/>
          </p:cNvSpPr>
          <p:nvPr>
            <p:ph type="body" sz="quarter" idx="12"/>
          </p:nvPr>
        </p:nvSpPr>
        <p:spPr/>
        <p:txBody>
          <a:bodyPr/>
          <a:lstStyle/>
          <a:p>
            <a:endParaRPr lang="de-DE"/>
          </a:p>
        </p:txBody>
      </p:sp>
      <p:sp>
        <p:nvSpPr>
          <p:cNvPr id="12" name="Titel 5">
            <a:extLst>
              <a:ext uri="{FF2B5EF4-FFF2-40B4-BE49-F238E27FC236}">
                <a16:creationId xmlns:a16="http://schemas.microsoft.com/office/drawing/2014/main" id="{C650468C-8CAB-5FB1-825F-5326198CA1FD}"/>
              </a:ext>
            </a:extLst>
          </p:cNvPr>
          <p:cNvSpPr>
            <a:spLocks noGrp="1"/>
          </p:cNvSpPr>
          <p:nvPr>
            <p:ph type="title"/>
          </p:nvPr>
        </p:nvSpPr>
        <p:spPr/>
        <p:txBody>
          <a:bodyPr vert="horz"/>
          <a:lstStyle/>
          <a:p>
            <a:r>
              <a:rPr lang="de-DE"/>
              <a:t>Schluss mit Excel! Transfer Pricing automatisiert und tax compliant!</a:t>
            </a:r>
            <a:br>
              <a:rPr lang="en-US"/>
            </a:br>
            <a:r>
              <a:rPr lang="en-US" b="1"/>
              <a:t>Optravis Transfer Pricing Management Tool</a:t>
            </a:r>
          </a:p>
        </p:txBody>
      </p:sp>
      <p:sp>
        <p:nvSpPr>
          <p:cNvPr id="14" name="Fußzeilenplatzhalter 1">
            <a:extLst>
              <a:ext uri="{FF2B5EF4-FFF2-40B4-BE49-F238E27FC236}">
                <a16:creationId xmlns:a16="http://schemas.microsoft.com/office/drawing/2014/main" id="{67460F70-322B-1B78-C506-3B7CC9CA4509}"/>
              </a:ext>
            </a:extLst>
          </p:cNvPr>
          <p:cNvSpPr>
            <a:spLocks noGrp="1"/>
          </p:cNvSpPr>
          <p:nvPr>
            <p:ph type="ftr" sz="quarter" idx="10"/>
          </p:nvPr>
        </p:nvSpPr>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3D893689-2E2F-3A9F-E22A-327EA99A741D}"/>
              </a:ext>
            </a:extLst>
          </p:cNvPr>
          <p:cNvSpPr>
            <a:spLocks noGrp="1"/>
          </p:cNvSpPr>
          <p:nvPr>
            <p:ph type="sldNum" sz="quarter" idx="11"/>
          </p:nvPr>
        </p:nvSpPr>
        <p:spPr/>
        <p:txBody>
          <a:bodyPr/>
          <a:lstStyle/>
          <a:p>
            <a:fld id="{B27B0579-4238-4E44-9A9E-134B676F827C}" type="slidenum">
              <a:rPr lang="de-DE" smtClean="0"/>
              <a:pPr/>
              <a:t>33</a:t>
            </a:fld>
            <a:endParaRPr lang="de-DE"/>
          </a:p>
        </p:txBody>
      </p:sp>
      <p:cxnSp>
        <p:nvCxnSpPr>
          <p:cNvPr id="20" name="Gerader Verbinder 19">
            <a:extLst>
              <a:ext uri="{FF2B5EF4-FFF2-40B4-BE49-F238E27FC236}">
                <a16:creationId xmlns:a16="http://schemas.microsoft.com/office/drawing/2014/main" id="{85E417FB-9633-9924-05F0-5585E1ABD209}"/>
              </a:ext>
            </a:extLst>
          </p:cNvPr>
          <p:cNvCxnSpPr>
            <a:cxnSpLocks/>
          </p:cNvCxnSpPr>
          <p:nvPr/>
        </p:nvCxnSpPr>
        <p:spPr>
          <a:xfrm>
            <a:off x="5019428" y="1773238"/>
            <a:ext cx="0" cy="431958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758B2E13-B163-5B16-F396-3C9CDE4AB34E}"/>
              </a:ext>
            </a:extLst>
          </p:cNvPr>
          <p:cNvSpPr txBox="1"/>
          <p:nvPr>
            <p:custDataLst>
              <p:tags r:id="rId3"/>
            </p:custDataLst>
          </p:nvPr>
        </p:nvSpPr>
        <p:spPr>
          <a:xfrm>
            <a:off x="623602" y="1782594"/>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de-DE" sz="1400" b="1"/>
              <a:t>Ihre Herausforderung</a:t>
            </a:r>
          </a:p>
          <a:p>
            <a:pPr marL="215900" lvl="1" indent="-215900">
              <a:spcAft>
                <a:spcPts val="200"/>
              </a:spcAft>
            </a:pPr>
            <a:r>
              <a:rPr lang="de-DE" sz="1200" spc="-20"/>
              <a:t>Mehrkosten durch aggressive steuerliche </a:t>
            </a:r>
            <a:br>
              <a:rPr lang="de-DE" sz="1200" spc="-20"/>
            </a:br>
            <a:r>
              <a:rPr lang="de-DE" sz="1200" spc="-20"/>
              <a:t>Betriebsprüfung von  Verrechnungspreisen (Waren)</a:t>
            </a:r>
          </a:p>
          <a:p>
            <a:pPr marL="215900" lvl="1" indent="-215900">
              <a:spcAft>
                <a:spcPts val="200"/>
              </a:spcAft>
            </a:pPr>
            <a:r>
              <a:rPr lang="de-DE" sz="1200"/>
              <a:t>Hoher manueller Aufwand bei der Kalkulation, Dokumentation und Verteidigung. Zu viel Excel.</a:t>
            </a:r>
          </a:p>
          <a:p>
            <a:pPr marL="215900" lvl="1" indent="-215900">
              <a:spcAft>
                <a:spcPts val="200"/>
              </a:spcAft>
            </a:pPr>
            <a:r>
              <a:rPr lang="de-DE" sz="1200"/>
              <a:t>Hohe Jahresendanpassungen durch fehlende unterjährige Margentransparenz der GuV-Segmente der Konzerngesellschaften</a:t>
            </a:r>
          </a:p>
          <a:p>
            <a:pPr marL="215900" lvl="1" indent="-215900">
              <a:spcAft>
                <a:spcPts val="200"/>
              </a:spcAft>
            </a:pPr>
            <a:r>
              <a:rPr lang="de-DE" sz="1200"/>
              <a:t>Keine Optimierung von Steuern, Zoll, Controlling etc.</a:t>
            </a:r>
          </a:p>
          <a:p>
            <a:pPr marL="0" lvl="1" indent="0">
              <a:spcAft>
                <a:spcPts val="200"/>
              </a:spcAft>
              <a:buClr>
                <a:srgbClr val="A01441"/>
              </a:buClr>
              <a:buNone/>
            </a:pPr>
            <a:endParaRPr lang="de-DE" sz="1200"/>
          </a:p>
          <a:p>
            <a:pPr>
              <a:spcAft>
                <a:spcPts val="200"/>
              </a:spcAft>
            </a:pPr>
            <a:endParaRPr lang="de-DE" sz="1400"/>
          </a:p>
        </p:txBody>
      </p:sp>
      <p:sp>
        <p:nvSpPr>
          <p:cNvPr id="26" name="Textfeld 25">
            <a:extLst>
              <a:ext uri="{FF2B5EF4-FFF2-40B4-BE49-F238E27FC236}">
                <a16:creationId xmlns:a16="http://schemas.microsoft.com/office/drawing/2014/main" id="{B6720C19-25C2-2C2A-7C58-94819B8342F3}"/>
              </a:ext>
            </a:extLst>
          </p:cNvPr>
          <p:cNvSpPr txBox="1"/>
          <p:nvPr>
            <p:custDataLst>
              <p:tags r:id="rId4"/>
            </p:custDataLst>
          </p:nvPr>
        </p:nvSpPr>
        <p:spPr>
          <a:xfrm>
            <a:off x="5227890" y="1768083"/>
            <a:ext cx="3862159" cy="914400"/>
          </a:xfrm>
          <a:prstGeom prst="rect">
            <a:avLst/>
          </a:prstGeom>
        </p:spPr>
        <p:txBody>
          <a:bodyPr vert="horz" lIns="0" tIns="0" rIns="0" bIns="0" rtlCol="0">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de-DE" sz="1400" b="1"/>
              <a:t>Ihr Nutzen</a:t>
            </a:r>
          </a:p>
          <a:p>
            <a:pPr lvl="1">
              <a:spcAft>
                <a:spcPts val="200"/>
              </a:spcAft>
            </a:pPr>
            <a:r>
              <a:rPr lang="de-DE" sz="1200"/>
              <a:t>Einsparungen (Prozess, Steuern, Zoll) </a:t>
            </a:r>
            <a:br>
              <a:rPr lang="de-DE" sz="1200"/>
            </a:br>
            <a:r>
              <a:rPr lang="de-DE" sz="1200"/>
              <a:t>übersteigen SaaS Fee</a:t>
            </a:r>
          </a:p>
          <a:p>
            <a:pPr lvl="1">
              <a:spcAft>
                <a:spcPts val="200"/>
              </a:spcAft>
            </a:pPr>
            <a:r>
              <a:rPr lang="de-DE" sz="1200"/>
              <a:t>Reduzierung von Jahresendanpassungen</a:t>
            </a:r>
          </a:p>
          <a:p>
            <a:pPr lvl="1">
              <a:spcAft>
                <a:spcPts val="200"/>
              </a:spcAft>
            </a:pPr>
            <a:r>
              <a:rPr lang="de-DE" sz="1200"/>
              <a:t>Steigerung der </a:t>
            </a:r>
            <a:r>
              <a:rPr lang="de-DE" sz="1200" err="1"/>
              <a:t>Tax</a:t>
            </a:r>
            <a:r>
              <a:rPr lang="de-DE" sz="1200"/>
              <a:t> Compliance, Transparenz, Effizienz während der Kalkulation, Dokumentation und Verteidigung der Verrechnungen</a:t>
            </a:r>
          </a:p>
          <a:p>
            <a:pPr>
              <a:spcAft>
                <a:spcPts val="200"/>
              </a:spcAft>
            </a:pPr>
            <a:endParaRPr lang="de-DE" sz="1400"/>
          </a:p>
        </p:txBody>
      </p:sp>
      <p:sp>
        <p:nvSpPr>
          <p:cNvPr id="28" name="Textfeld 27">
            <a:extLst>
              <a:ext uri="{FF2B5EF4-FFF2-40B4-BE49-F238E27FC236}">
                <a16:creationId xmlns:a16="http://schemas.microsoft.com/office/drawing/2014/main" id="{150C510F-FB15-CF06-CE2A-2ED77FB1E7EC}"/>
              </a:ext>
            </a:extLst>
          </p:cNvPr>
          <p:cNvSpPr txBox="1"/>
          <p:nvPr>
            <p:custDataLst>
              <p:tags r:id="rId5"/>
            </p:custDataLst>
          </p:nvPr>
        </p:nvSpPr>
        <p:spPr>
          <a:xfrm>
            <a:off x="653195" y="4113388"/>
            <a:ext cx="4490500" cy="210624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de-DE" sz="1400" b="1"/>
              <a:t>Unser Angebot</a:t>
            </a:r>
          </a:p>
          <a:p>
            <a:pPr marL="215900" lvl="1" indent="-215900">
              <a:spcAft>
                <a:spcPts val="200"/>
              </a:spcAft>
            </a:pPr>
            <a:r>
              <a:rPr lang="de-DE" sz="1200"/>
              <a:t>Für alle produzierenden Unternehmen ab </a:t>
            </a:r>
            <a:br>
              <a:rPr lang="de-DE" sz="1200"/>
            </a:br>
            <a:r>
              <a:rPr lang="de-DE" sz="1200"/>
              <a:t>10 Gesellschaften</a:t>
            </a:r>
          </a:p>
          <a:p>
            <a:pPr marL="215900" lvl="1" indent="-215900">
              <a:spcAft>
                <a:spcPts val="200"/>
              </a:spcAft>
            </a:pPr>
            <a:r>
              <a:rPr lang="de-DE" sz="1200"/>
              <a:t>Datenextraktion, Visualisierung der </a:t>
            </a:r>
            <a:br>
              <a:rPr lang="de-DE" sz="1200"/>
            </a:br>
            <a:r>
              <a:rPr lang="de-DE" sz="1200"/>
              <a:t>IC-Transaktionen, segmentierte GuV, Kalkulation komplexer Lieferketten, Margenmonitoring, Dashboard, IC-Preislisten</a:t>
            </a:r>
          </a:p>
          <a:p>
            <a:pPr marL="215900" lvl="1" indent="-215900">
              <a:spcAft>
                <a:spcPts val="200"/>
              </a:spcAft>
            </a:pPr>
            <a:r>
              <a:rPr lang="de-DE" sz="1200"/>
              <a:t>PoC zur Testung der Datenverfügbarkeit und -qualität</a:t>
            </a:r>
          </a:p>
          <a:p>
            <a:pPr marL="215900" lvl="1" indent="-215900">
              <a:spcAft>
                <a:spcPts val="200"/>
              </a:spcAft>
            </a:pPr>
            <a:r>
              <a:rPr lang="de-DE" sz="1200"/>
              <a:t>Sehr wenig IT-Ressourcen nötig, </a:t>
            </a:r>
            <a:r>
              <a:rPr lang="de-DE" sz="1200" err="1"/>
              <a:t>Full</a:t>
            </a:r>
            <a:r>
              <a:rPr lang="de-DE" sz="1200"/>
              <a:t>- oder Self-Service</a:t>
            </a:r>
          </a:p>
          <a:p>
            <a:pPr marL="215900" lvl="1" indent="-215900">
              <a:spcAft>
                <a:spcPts val="200"/>
              </a:spcAft>
            </a:pPr>
            <a:r>
              <a:rPr lang="de-DE" sz="1200"/>
              <a:t>ERP-agnostisch, SAP BTP Integration, ISO 27001 zertifiziert</a:t>
            </a:r>
          </a:p>
          <a:p>
            <a:pPr>
              <a:spcAft>
                <a:spcPts val="200"/>
              </a:spcAft>
            </a:pPr>
            <a:endParaRPr lang="de-DE" sz="1400"/>
          </a:p>
        </p:txBody>
      </p:sp>
      <p:sp>
        <p:nvSpPr>
          <p:cNvPr id="30" name="Textfeld 29">
            <a:extLst>
              <a:ext uri="{FF2B5EF4-FFF2-40B4-BE49-F238E27FC236}">
                <a16:creationId xmlns:a16="http://schemas.microsoft.com/office/drawing/2014/main" id="{FD953202-9F33-0864-FC0C-4EDDA03F2F35}"/>
              </a:ext>
            </a:extLst>
          </p:cNvPr>
          <p:cNvSpPr txBox="1"/>
          <p:nvPr>
            <p:custDataLst>
              <p:tags r:id="rId6"/>
            </p:custDataLst>
          </p:nvPr>
        </p:nvSpPr>
        <p:spPr>
          <a:xfrm>
            <a:off x="5227890" y="4113388"/>
            <a:ext cx="3778873" cy="914400"/>
          </a:xfrm>
          <a:prstGeom prst="rect">
            <a:avLst/>
          </a:prstGeom>
        </p:spPr>
        <p:txBody>
          <a:bodyPr vert="horz" lIns="0" tIns="0" rIns="0" bIns="0" rtlCol="0">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de-DE"/>
              <a:t>Unsere Partner und Referenzen</a:t>
            </a:r>
          </a:p>
          <a:p>
            <a:pPr lvl="1">
              <a:spcAft>
                <a:spcPts val="200"/>
              </a:spcAft>
            </a:pPr>
            <a:r>
              <a:rPr lang="de-DE" sz="1200"/>
              <a:t>Enge Zusammenarbeit mit msg</a:t>
            </a:r>
          </a:p>
          <a:p>
            <a:pPr lvl="1">
              <a:spcAft>
                <a:spcPts val="200"/>
              </a:spcAft>
            </a:pPr>
            <a:r>
              <a:rPr lang="de-DE" sz="1200"/>
              <a:t>Ausgewählte Kunden: </a:t>
            </a:r>
            <a:r>
              <a:rPr lang="de-DE" sz="1200" err="1"/>
              <a:t>B.Braun</a:t>
            </a:r>
            <a:r>
              <a:rPr lang="de-DE" sz="1200"/>
              <a:t>, Bosch, Clariant, GETEC, Harting, Henkel, Merck, Zentis</a:t>
            </a:r>
          </a:p>
          <a:p>
            <a:pPr lvl="1">
              <a:spcAft>
                <a:spcPts val="200"/>
              </a:spcAft>
            </a:pPr>
            <a:r>
              <a:rPr lang="de-DE" sz="1200"/>
              <a:t>Alle unsere Kunden sind uns auch nach 10 Jahren noch treu!</a:t>
            </a:r>
            <a:endParaRPr lang="de-DE"/>
          </a:p>
        </p:txBody>
      </p:sp>
      <p:pic>
        <p:nvPicPr>
          <p:cNvPr id="48" name="Grafik 47" descr="Ein Bild, das Text, Schrift, Grafiken, Grafikdesign enthält.&#10;&#10;KI-generierte Inhalte können fehlerhaft sein.">
            <a:extLst>
              <a:ext uri="{FF2B5EF4-FFF2-40B4-BE49-F238E27FC236}">
                <a16:creationId xmlns:a16="http://schemas.microsoft.com/office/drawing/2014/main" id="{41757ABB-E436-CD6F-F3D6-D0079F162788}"/>
              </a:ext>
            </a:extLst>
          </p:cNvPr>
          <p:cNvPicPr>
            <a:picLocks noChangeAspect="1"/>
          </p:cNvPicPr>
          <p:nvPr/>
        </p:nvPicPr>
        <p:blipFill>
          <a:blip r:embed="rId13"/>
          <a:srcRect l="-1551" t="-3390" r="-3185" b="-5085"/>
          <a:stretch/>
        </p:blipFill>
        <p:spPr>
          <a:xfrm>
            <a:off x="10012641" y="2225645"/>
            <a:ext cx="1770654" cy="457931"/>
          </a:xfrm>
          <a:prstGeom prst="rect">
            <a:avLst/>
          </a:prstGeom>
        </p:spPr>
      </p:pic>
      <p:grpSp>
        <p:nvGrpSpPr>
          <p:cNvPr id="4" name="Gruppieren 3">
            <a:extLst>
              <a:ext uri="{FF2B5EF4-FFF2-40B4-BE49-F238E27FC236}">
                <a16:creationId xmlns:a16="http://schemas.microsoft.com/office/drawing/2014/main" id="{36AB4CF6-9CD5-1C16-BA35-EAD5EA48B0AF}"/>
              </a:ext>
            </a:extLst>
          </p:cNvPr>
          <p:cNvGrpSpPr/>
          <p:nvPr/>
        </p:nvGrpSpPr>
        <p:grpSpPr>
          <a:xfrm>
            <a:off x="4138804" y="1771450"/>
            <a:ext cx="703694" cy="703694"/>
            <a:chOff x="3460071" y="1779904"/>
            <a:chExt cx="869145" cy="869145"/>
          </a:xfrm>
        </p:grpSpPr>
        <p:sp>
          <p:nvSpPr>
            <p:cNvPr id="5" name="Kreis: nicht ausgefüllt 4">
              <a:extLst>
                <a:ext uri="{FF2B5EF4-FFF2-40B4-BE49-F238E27FC236}">
                  <a16:creationId xmlns:a16="http://schemas.microsoft.com/office/drawing/2014/main" id="{A1A7E8C3-5238-092A-0035-ABC182178605}"/>
                </a:ext>
              </a:extLst>
            </p:cNvPr>
            <p:cNvSpPr/>
            <p:nvPr>
              <p:custDataLst>
                <p:tags r:id="rId10"/>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6" name="Grafik 5">
              <a:extLst>
                <a:ext uri="{FF2B5EF4-FFF2-40B4-BE49-F238E27FC236}">
                  <a16:creationId xmlns:a16="http://schemas.microsoft.com/office/drawing/2014/main" id="{4F4A67DE-EB76-12BC-4B6F-77C0557F4A66}"/>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3496632" y="1796942"/>
              <a:ext cx="809625" cy="809625"/>
            </a:xfrm>
            <a:prstGeom prst="rect">
              <a:avLst/>
            </a:prstGeom>
          </p:spPr>
        </p:pic>
      </p:grpSp>
      <p:grpSp>
        <p:nvGrpSpPr>
          <p:cNvPr id="7" name="Gruppieren 6">
            <a:extLst>
              <a:ext uri="{FF2B5EF4-FFF2-40B4-BE49-F238E27FC236}">
                <a16:creationId xmlns:a16="http://schemas.microsoft.com/office/drawing/2014/main" id="{8BD1A064-6692-F8FE-2AF8-EDF56A62E29D}"/>
              </a:ext>
            </a:extLst>
          </p:cNvPr>
          <p:cNvGrpSpPr/>
          <p:nvPr/>
        </p:nvGrpSpPr>
        <p:grpSpPr>
          <a:xfrm>
            <a:off x="8761542" y="4103379"/>
            <a:ext cx="703694" cy="703694"/>
            <a:chOff x="8575325" y="4111833"/>
            <a:chExt cx="869145" cy="869145"/>
          </a:xfrm>
        </p:grpSpPr>
        <p:sp>
          <p:nvSpPr>
            <p:cNvPr id="9" name="Kreis: nicht ausgefüllt 8">
              <a:extLst>
                <a:ext uri="{FF2B5EF4-FFF2-40B4-BE49-F238E27FC236}">
                  <a16:creationId xmlns:a16="http://schemas.microsoft.com/office/drawing/2014/main" id="{0E7AA1D0-056E-962A-9658-9B31FF6E23CA}"/>
                </a:ext>
              </a:extLst>
            </p:cNvPr>
            <p:cNvSpPr/>
            <p:nvPr>
              <p:custDataLst>
                <p:tags r:id="rId9"/>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1" name="Grafik 10">
              <a:extLst>
                <a:ext uri="{FF2B5EF4-FFF2-40B4-BE49-F238E27FC236}">
                  <a16:creationId xmlns:a16="http://schemas.microsoft.com/office/drawing/2014/main" id="{3080BD8D-0CA9-ADB3-5384-62B620C99CC9}"/>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8608010" y="4171353"/>
              <a:ext cx="809625" cy="809625"/>
            </a:xfrm>
            <a:prstGeom prst="rect">
              <a:avLst/>
            </a:prstGeom>
          </p:spPr>
        </p:pic>
      </p:grpSp>
      <p:grpSp>
        <p:nvGrpSpPr>
          <p:cNvPr id="13" name="Gruppieren 12">
            <a:extLst>
              <a:ext uri="{FF2B5EF4-FFF2-40B4-BE49-F238E27FC236}">
                <a16:creationId xmlns:a16="http://schemas.microsoft.com/office/drawing/2014/main" id="{49B35AE6-B217-444F-9B12-8DC19CF16CC4}"/>
              </a:ext>
            </a:extLst>
          </p:cNvPr>
          <p:cNvGrpSpPr/>
          <p:nvPr/>
        </p:nvGrpSpPr>
        <p:grpSpPr>
          <a:xfrm>
            <a:off x="4138804" y="4103379"/>
            <a:ext cx="703694" cy="703694"/>
            <a:chOff x="3460071" y="4111833"/>
            <a:chExt cx="869145" cy="869145"/>
          </a:xfrm>
        </p:grpSpPr>
        <p:sp>
          <p:nvSpPr>
            <p:cNvPr id="15" name="Kreis: nicht ausgefüllt 14">
              <a:extLst>
                <a:ext uri="{FF2B5EF4-FFF2-40B4-BE49-F238E27FC236}">
                  <a16:creationId xmlns:a16="http://schemas.microsoft.com/office/drawing/2014/main" id="{AB5B4312-3BE8-04B8-9D85-E0FD33899A28}"/>
                </a:ext>
              </a:extLst>
            </p:cNvPr>
            <p:cNvSpPr/>
            <p:nvPr>
              <p:custDataLst>
                <p:tags r:id="rId8"/>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7" name="Grafik 16">
              <a:extLst>
                <a:ext uri="{FF2B5EF4-FFF2-40B4-BE49-F238E27FC236}">
                  <a16:creationId xmlns:a16="http://schemas.microsoft.com/office/drawing/2014/main" id="{A192C778-081B-75F7-3079-8F1E33D3FB36}"/>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3489830" y="4141593"/>
              <a:ext cx="809625" cy="809625"/>
            </a:xfrm>
            <a:prstGeom prst="rect">
              <a:avLst/>
            </a:prstGeom>
          </p:spPr>
        </p:pic>
      </p:grpSp>
      <p:grpSp>
        <p:nvGrpSpPr>
          <p:cNvPr id="18" name="Gruppieren 17">
            <a:extLst>
              <a:ext uri="{FF2B5EF4-FFF2-40B4-BE49-F238E27FC236}">
                <a16:creationId xmlns:a16="http://schemas.microsoft.com/office/drawing/2014/main" id="{A531EE27-7B0A-9ADF-6AB6-B78B9189B9E4}"/>
              </a:ext>
            </a:extLst>
          </p:cNvPr>
          <p:cNvGrpSpPr/>
          <p:nvPr/>
        </p:nvGrpSpPr>
        <p:grpSpPr>
          <a:xfrm>
            <a:off x="8761541" y="1771450"/>
            <a:ext cx="703694" cy="703694"/>
            <a:chOff x="7459565" y="1779904"/>
            <a:chExt cx="869145" cy="869145"/>
          </a:xfrm>
        </p:grpSpPr>
        <p:sp>
          <p:nvSpPr>
            <p:cNvPr id="19" name="Kreis: nicht ausgefüllt 18">
              <a:extLst>
                <a:ext uri="{FF2B5EF4-FFF2-40B4-BE49-F238E27FC236}">
                  <a16:creationId xmlns:a16="http://schemas.microsoft.com/office/drawing/2014/main" id="{4416C73D-ABB3-3F82-6F50-B1219D64C9EC}"/>
                </a:ext>
              </a:extLst>
            </p:cNvPr>
            <p:cNvSpPr/>
            <p:nvPr>
              <p:custDataLst>
                <p:tags r:id="rId7"/>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1" name="Grafik 20">
              <a:extLst>
                <a:ext uri="{FF2B5EF4-FFF2-40B4-BE49-F238E27FC236}">
                  <a16:creationId xmlns:a16="http://schemas.microsoft.com/office/drawing/2014/main" id="{592B6AEB-B7FE-30AB-A15C-6683DB5C33C7}"/>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7493685" y="1797686"/>
              <a:ext cx="809625" cy="809625"/>
            </a:xfrm>
            <a:prstGeom prst="rect">
              <a:avLst/>
            </a:prstGeom>
          </p:spPr>
        </p:pic>
      </p:grpSp>
    </p:spTree>
    <p:extLst>
      <p:ext uri="{BB962C8B-B14F-4D97-AF65-F5344CB8AC3E}">
        <p14:creationId xmlns:p14="http://schemas.microsoft.com/office/powerpoint/2010/main" val="3773493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1DE134-6549-7DB7-ADB7-FF1293E45A3C}"/>
            </a:ext>
          </a:extLst>
        </p:cNvPr>
        <p:cNvGrpSpPr/>
        <p:nvPr/>
      </p:nvGrpSpPr>
      <p:grpSpPr>
        <a:xfrm>
          <a:off x="0" y="0"/>
          <a:ext cx="0" cy="0"/>
          <a:chOff x="0" y="0"/>
          <a:chExt cx="0" cy="0"/>
        </a:xfrm>
      </p:grpSpPr>
      <p:sp>
        <p:nvSpPr>
          <p:cNvPr id="13" name="Textplatzhalter 12">
            <a:extLst>
              <a:ext uri="{FF2B5EF4-FFF2-40B4-BE49-F238E27FC236}">
                <a16:creationId xmlns:a16="http://schemas.microsoft.com/office/drawing/2014/main" id="{1EDE0966-627F-57FB-2D73-A7F33E24AF1E}"/>
              </a:ext>
            </a:extLst>
          </p:cNvPr>
          <p:cNvSpPr>
            <a:spLocks noGrp="1"/>
          </p:cNvSpPr>
          <p:nvPr>
            <p:ph type="body" sz="quarter" idx="12"/>
          </p:nvPr>
        </p:nvSpPr>
        <p:spPr/>
        <p:txBody>
          <a:bodyPr/>
          <a:lstStyle/>
          <a:p>
            <a:endParaRPr lang="de-DE"/>
          </a:p>
        </p:txBody>
      </p:sp>
      <p:sp>
        <p:nvSpPr>
          <p:cNvPr id="12" name="Titel 5">
            <a:extLst>
              <a:ext uri="{FF2B5EF4-FFF2-40B4-BE49-F238E27FC236}">
                <a16:creationId xmlns:a16="http://schemas.microsoft.com/office/drawing/2014/main" id="{A0C0B00C-0F94-19DD-50A5-D52117CD09E5}"/>
              </a:ext>
            </a:extLst>
          </p:cNvPr>
          <p:cNvSpPr>
            <a:spLocks noGrp="1"/>
          </p:cNvSpPr>
          <p:nvPr>
            <p:ph type="title"/>
          </p:nvPr>
        </p:nvSpPr>
        <p:spPr>
          <a:xfrm>
            <a:off x="623888" y="620713"/>
            <a:ext cx="9815510" cy="738664"/>
          </a:xfrm>
        </p:spPr>
        <p:txBody>
          <a:bodyPr vert="horz"/>
          <a:lstStyle/>
          <a:p>
            <a:r>
              <a:rPr lang="de-DE">
                <a:ea typeface="+mn-lt"/>
                <a:cs typeface="+mn-lt"/>
              </a:rPr>
              <a:t>Schluss mit Excel! Leistungsverrechnung automatisiert und </a:t>
            </a:r>
            <a:r>
              <a:rPr lang="de-DE" err="1">
                <a:ea typeface="+mn-lt"/>
                <a:cs typeface="+mn-lt"/>
              </a:rPr>
              <a:t>tax</a:t>
            </a:r>
            <a:r>
              <a:rPr lang="de-DE">
                <a:ea typeface="+mn-lt"/>
                <a:cs typeface="+mn-lt"/>
              </a:rPr>
              <a:t> </a:t>
            </a:r>
            <a:r>
              <a:rPr lang="de-DE" err="1">
                <a:ea typeface="+mn-lt"/>
                <a:cs typeface="+mn-lt"/>
              </a:rPr>
              <a:t>compliant</a:t>
            </a:r>
            <a:r>
              <a:rPr lang="de-DE">
                <a:ea typeface="+mn-lt"/>
                <a:cs typeface="+mn-lt"/>
              </a:rPr>
              <a:t>! </a:t>
            </a:r>
            <a:r>
              <a:rPr lang="de-DE" b="1" err="1">
                <a:ea typeface="+mn-lt"/>
                <a:cs typeface="+mn-lt"/>
              </a:rPr>
              <a:t>Optravis</a:t>
            </a:r>
            <a:r>
              <a:rPr lang="de-DE" b="1">
                <a:ea typeface="+mn-lt"/>
                <a:cs typeface="+mn-lt"/>
              </a:rPr>
              <a:t> Service Charge Tool</a:t>
            </a:r>
            <a:endParaRPr lang="en-US" b="1"/>
          </a:p>
        </p:txBody>
      </p:sp>
      <p:sp>
        <p:nvSpPr>
          <p:cNvPr id="14" name="Fußzeilenplatzhalter 1">
            <a:extLst>
              <a:ext uri="{FF2B5EF4-FFF2-40B4-BE49-F238E27FC236}">
                <a16:creationId xmlns:a16="http://schemas.microsoft.com/office/drawing/2014/main" id="{77A43B96-CD44-A399-E68C-7D9AC7F9D79E}"/>
              </a:ext>
            </a:extLst>
          </p:cNvPr>
          <p:cNvSpPr>
            <a:spLocks noGrp="1"/>
          </p:cNvSpPr>
          <p:nvPr>
            <p:ph type="ftr" sz="quarter" idx="10"/>
          </p:nvPr>
        </p:nvSpPr>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4CF8DD4F-7456-07A4-F376-44156E3CF383}"/>
              </a:ext>
            </a:extLst>
          </p:cNvPr>
          <p:cNvSpPr>
            <a:spLocks noGrp="1"/>
          </p:cNvSpPr>
          <p:nvPr>
            <p:ph type="sldNum" sz="quarter" idx="11"/>
          </p:nvPr>
        </p:nvSpPr>
        <p:spPr/>
        <p:txBody>
          <a:bodyPr/>
          <a:lstStyle/>
          <a:p>
            <a:fld id="{B27B0579-4238-4E44-9A9E-134B676F827C}" type="slidenum">
              <a:rPr lang="de-DE" smtClean="0"/>
              <a:pPr/>
              <a:t>34</a:t>
            </a:fld>
            <a:endParaRPr lang="de-DE"/>
          </a:p>
        </p:txBody>
      </p:sp>
      <p:sp>
        <p:nvSpPr>
          <p:cNvPr id="24" name="Textfeld 23">
            <a:extLst>
              <a:ext uri="{FF2B5EF4-FFF2-40B4-BE49-F238E27FC236}">
                <a16:creationId xmlns:a16="http://schemas.microsoft.com/office/drawing/2014/main" id="{025DC2DA-77A0-E2AA-797A-04E5725117DA}"/>
              </a:ext>
            </a:extLst>
          </p:cNvPr>
          <p:cNvSpPr txBox="1"/>
          <p:nvPr>
            <p:custDataLst>
              <p:tags r:id="rId1"/>
            </p:custDataLst>
          </p:nvPr>
        </p:nvSpPr>
        <p:spPr>
          <a:xfrm>
            <a:off x="653195" y="1785680"/>
            <a:ext cx="3991047"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de-DE" sz="1400" b="1"/>
              <a:t>Ihre Herausforderung</a:t>
            </a:r>
          </a:p>
          <a:p>
            <a:pPr marL="215900" lvl="1" indent="-215900">
              <a:spcAft>
                <a:spcPts val="200"/>
              </a:spcAft>
            </a:pPr>
            <a:r>
              <a:rPr lang="de-DE" sz="1200"/>
              <a:t>Interne Leistungsverrechnungen nehmen </a:t>
            </a:r>
            <a:br>
              <a:rPr lang="de-DE" sz="1200"/>
            </a:br>
            <a:r>
              <a:rPr lang="de-DE" sz="1200"/>
              <a:t>stark zu</a:t>
            </a:r>
          </a:p>
          <a:p>
            <a:pPr marL="215900" lvl="1" indent="-215900">
              <a:spcAft>
                <a:spcPts val="200"/>
              </a:spcAft>
            </a:pPr>
            <a:r>
              <a:rPr lang="de-DE" sz="1200"/>
              <a:t>Komplexe, fehleranfällige Excel-Tools, hoher </a:t>
            </a:r>
            <a:br>
              <a:rPr lang="de-DE" sz="1200"/>
            </a:br>
            <a:r>
              <a:rPr lang="de-DE" sz="1200"/>
              <a:t>manueller Aufwand bei der Kalkulation, </a:t>
            </a:r>
            <a:br>
              <a:rPr lang="de-DE" sz="1200"/>
            </a:br>
            <a:r>
              <a:rPr lang="de-DE" sz="1200"/>
              <a:t>Dokumentation und Verteidigung</a:t>
            </a:r>
          </a:p>
          <a:p>
            <a:pPr marL="215900" lvl="1" indent="-215900">
              <a:spcAft>
                <a:spcPts val="200"/>
              </a:spcAft>
            </a:pPr>
            <a:r>
              <a:rPr lang="de-DE" sz="1200"/>
              <a:t>Hohe Anforderungen durch deutsche und ausländische Steuer- und Regulierungsbehörden an die Transparenz und steuerliche Fremdüblichkeit der Verrechnungen </a:t>
            </a:r>
          </a:p>
          <a:p>
            <a:pPr marL="215900" lvl="1" indent="-215900">
              <a:spcAft>
                <a:spcPts val="200"/>
              </a:spcAft>
            </a:pPr>
            <a:r>
              <a:rPr lang="de-DE" sz="1200"/>
              <a:t>Fehlende Prozesse mit Key Controls und Zuständigkeiten,</a:t>
            </a:r>
            <a:br>
              <a:rPr lang="de-DE" sz="1200"/>
            </a:br>
            <a:r>
              <a:rPr lang="de-DE" sz="1200"/>
              <a:t>kein Audit Trail, keine integrierte Datenhaltung </a:t>
            </a:r>
          </a:p>
          <a:p>
            <a:pPr>
              <a:spcAft>
                <a:spcPts val="200"/>
              </a:spcAft>
            </a:pPr>
            <a:endParaRPr lang="de-DE" sz="1400"/>
          </a:p>
        </p:txBody>
      </p:sp>
      <p:sp>
        <p:nvSpPr>
          <p:cNvPr id="26" name="Textfeld 25">
            <a:extLst>
              <a:ext uri="{FF2B5EF4-FFF2-40B4-BE49-F238E27FC236}">
                <a16:creationId xmlns:a16="http://schemas.microsoft.com/office/drawing/2014/main" id="{75C8C61E-9B42-13C8-D0B9-FDA4472C28C4}"/>
              </a:ext>
            </a:extLst>
          </p:cNvPr>
          <p:cNvSpPr txBox="1"/>
          <p:nvPr>
            <p:custDataLst>
              <p:tags r:id="rId2"/>
            </p:custDataLst>
          </p:nvPr>
        </p:nvSpPr>
        <p:spPr>
          <a:xfrm>
            <a:off x="5227129" y="1781494"/>
            <a:ext cx="3862159" cy="91440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de-DE" sz="1400" b="1"/>
              <a:t>Ihr Nutzen</a:t>
            </a:r>
          </a:p>
          <a:p>
            <a:pPr marL="215900" lvl="1" indent="-215900">
              <a:spcAft>
                <a:spcPts val="200"/>
              </a:spcAft>
            </a:pPr>
            <a:r>
              <a:rPr lang="de-DE" sz="1200"/>
              <a:t>Umsetzung von einfachen und hoch komplexen Verrechnungsmodellen dank hoher Flexibilität</a:t>
            </a:r>
            <a:br>
              <a:rPr lang="de-DE" sz="1200"/>
            </a:br>
            <a:r>
              <a:rPr lang="de-DE" sz="1200" err="1"/>
              <a:t>One</a:t>
            </a:r>
            <a:r>
              <a:rPr lang="de-DE" sz="1200"/>
              <a:t> </a:t>
            </a:r>
            <a:r>
              <a:rPr lang="de-DE" sz="1200" err="1"/>
              <a:t>single</a:t>
            </a:r>
            <a:r>
              <a:rPr lang="de-DE" sz="1200"/>
              <a:t> source </a:t>
            </a:r>
            <a:r>
              <a:rPr lang="de-DE" sz="1200" err="1"/>
              <a:t>of</a:t>
            </a:r>
            <a:r>
              <a:rPr lang="de-DE" sz="1200"/>
              <a:t> </a:t>
            </a:r>
            <a:r>
              <a:rPr lang="de-DE" sz="1200" err="1"/>
              <a:t>truth</a:t>
            </a:r>
            <a:endParaRPr lang="de-DE" sz="1200"/>
          </a:p>
          <a:p>
            <a:pPr marL="215900" lvl="1" indent="-215900">
              <a:spcAft>
                <a:spcPts val="200"/>
              </a:spcAft>
            </a:pPr>
            <a:r>
              <a:rPr lang="de-DE" sz="1200"/>
              <a:t>Steigerung der </a:t>
            </a:r>
            <a:r>
              <a:rPr lang="de-DE" sz="1200" err="1"/>
              <a:t>Tax</a:t>
            </a:r>
            <a:r>
              <a:rPr lang="de-DE" sz="1200"/>
              <a:t> Compliance, Transparenz, Effizienz während der Kalkulation, Dokumentation und Verteidigung der Verrechnungen</a:t>
            </a:r>
          </a:p>
          <a:p>
            <a:pPr>
              <a:spcAft>
                <a:spcPts val="200"/>
              </a:spcAft>
            </a:pPr>
            <a:endParaRPr lang="de-DE" sz="1400"/>
          </a:p>
        </p:txBody>
      </p:sp>
      <p:sp>
        <p:nvSpPr>
          <p:cNvPr id="28" name="Textfeld 27">
            <a:extLst>
              <a:ext uri="{FF2B5EF4-FFF2-40B4-BE49-F238E27FC236}">
                <a16:creationId xmlns:a16="http://schemas.microsoft.com/office/drawing/2014/main" id="{D2FB13AD-B38F-537D-FE48-25DEB1767C85}"/>
              </a:ext>
            </a:extLst>
          </p:cNvPr>
          <p:cNvSpPr txBox="1"/>
          <p:nvPr>
            <p:custDataLst>
              <p:tags r:id="rId3"/>
            </p:custDataLst>
          </p:nvPr>
        </p:nvSpPr>
        <p:spPr>
          <a:xfrm>
            <a:off x="653195" y="4112530"/>
            <a:ext cx="4115462" cy="1980296"/>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de-DE" sz="1400" b="1"/>
              <a:t>Unser Angebot</a:t>
            </a:r>
          </a:p>
          <a:p>
            <a:pPr marL="215900" lvl="1" indent="-215900">
              <a:spcAft>
                <a:spcPts val="200"/>
              </a:spcAft>
            </a:pPr>
            <a:r>
              <a:rPr lang="de-DE" sz="1200"/>
              <a:t>Für alle Industrien und Konzerngrößen</a:t>
            </a:r>
            <a:br>
              <a:rPr lang="de-DE" sz="1200"/>
            </a:br>
            <a:r>
              <a:rPr lang="de-DE" sz="1200"/>
              <a:t>ab 10 Gesellschaften </a:t>
            </a:r>
          </a:p>
          <a:p>
            <a:pPr marL="215900" lvl="1" indent="-215900">
              <a:spcAft>
                <a:spcPts val="200"/>
              </a:spcAft>
            </a:pPr>
            <a:r>
              <a:rPr lang="de-DE" sz="1200" spc="-20"/>
              <a:t>SaaS-Lösung erfüllt alle Anforderungen aus </a:t>
            </a:r>
            <a:r>
              <a:rPr lang="de-DE" sz="1200" spc="-20" err="1"/>
              <a:t>Con</a:t>
            </a:r>
            <a:r>
              <a:rPr lang="de-DE" sz="1200" spc="-20"/>
              <a:t>-</a:t>
            </a:r>
            <a:br>
              <a:rPr lang="de-DE" sz="1200" spc="-20"/>
            </a:br>
            <a:r>
              <a:rPr lang="de-DE" sz="1200" spc="-20" err="1"/>
              <a:t>trolling</a:t>
            </a:r>
            <a:r>
              <a:rPr lang="de-DE" sz="1200" spc="-20"/>
              <a:t>, Rechnungswesen und steuerlicher Sicht, end-</a:t>
            </a:r>
            <a:r>
              <a:rPr lang="de-DE" sz="1200" spc="-20" err="1"/>
              <a:t>to</a:t>
            </a:r>
            <a:r>
              <a:rPr lang="de-DE" sz="1200" spc="-20"/>
              <a:t>-end </a:t>
            </a:r>
          </a:p>
          <a:p>
            <a:pPr marL="215900" lvl="1" indent="-215900">
              <a:spcAft>
                <a:spcPts val="200"/>
              </a:spcAft>
            </a:pPr>
            <a:r>
              <a:rPr lang="de-DE" sz="1200"/>
              <a:t>Intuitive Benutzeroberfläche, </a:t>
            </a:r>
            <a:r>
              <a:rPr lang="de-DE" sz="1200" err="1"/>
              <a:t>self</a:t>
            </a:r>
            <a:r>
              <a:rPr lang="de-DE" sz="1200"/>
              <a:t>-service </a:t>
            </a:r>
            <a:r>
              <a:rPr lang="de-DE" sz="1200" err="1"/>
              <a:t>configuration</a:t>
            </a:r>
            <a:endParaRPr lang="de-DE" sz="1200"/>
          </a:p>
          <a:p>
            <a:pPr marL="215900" lvl="1" indent="-215900">
              <a:spcAft>
                <a:spcPts val="200"/>
              </a:spcAft>
            </a:pPr>
            <a:r>
              <a:rPr lang="de-DE" sz="1200"/>
              <a:t>Wenig IT-Ressourcen nötig, kurzfristig implementiert</a:t>
            </a:r>
          </a:p>
          <a:p>
            <a:pPr marL="215900" lvl="1" indent="-215900">
              <a:spcAft>
                <a:spcPts val="200"/>
              </a:spcAft>
            </a:pPr>
            <a:r>
              <a:rPr lang="de-DE" sz="1200"/>
              <a:t>Jährliche SaaS Gebühr ab € 40k, zzgl. Implementierung</a:t>
            </a:r>
          </a:p>
          <a:p>
            <a:pPr marL="215900" lvl="1" indent="-215900">
              <a:spcAft>
                <a:spcPts val="200"/>
              </a:spcAft>
            </a:pPr>
            <a:r>
              <a:rPr lang="de-DE" sz="1200" spc="-20"/>
              <a:t>ERP-agnostisch, SAP BTP Integration, ISO 27001 zertifiziert</a:t>
            </a:r>
            <a:endParaRPr lang="de-DE" sz="1400" spc="-20"/>
          </a:p>
        </p:txBody>
      </p:sp>
      <p:sp>
        <p:nvSpPr>
          <p:cNvPr id="30" name="Textfeld 29">
            <a:extLst>
              <a:ext uri="{FF2B5EF4-FFF2-40B4-BE49-F238E27FC236}">
                <a16:creationId xmlns:a16="http://schemas.microsoft.com/office/drawing/2014/main" id="{02E3CA96-35C2-B06D-2C3A-5434AB615AD1}"/>
              </a:ext>
            </a:extLst>
          </p:cNvPr>
          <p:cNvSpPr txBox="1"/>
          <p:nvPr>
            <p:custDataLst>
              <p:tags r:id="rId4"/>
            </p:custDataLst>
          </p:nvPr>
        </p:nvSpPr>
        <p:spPr>
          <a:xfrm>
            <a:off x="5227129" y="4112529"/>
            <a:ext cx="3778873" cy="914400"/>
          </a:xfrm>
          <a:prstGeom prst="rect">
            <a:avLst/>
          </a:prstGeom>
        </p:spPr>
        <p:txBody>
          <a:bodyPr vert="horz" lIns="0" tIns="0" rIns="0" bIns="0" rtlCol="0">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de-DE"/>
              <a:t>Unsere Partner und Referenzen</a:t>
            </a:r>
          </a:p>
          <a:p>
            <a:pPr lvl="1">
              <a:spcAft>
                <a:spcPts val="200"/>
              </a:spcAft>
            </a:pPr>
            <a:r>
              <a:rPr lang="de-DE" sz="1200"/>
              <a:t>Enge Zusammenarbeit mit msg</a:t>
            </a:r>
          </a:p>
          <a:p>
            <a:pPr lvl="1">
              <a:spcAft>
                <a:spcPts val="200"/>
              </a:spcAft>
            </a:pPr>
            <a:r>
              <a:rPr lang="de-DE" sz="1200"/>
              <a:t>Ausgewählte Kunden: </a:t>
            </a:r>
            <a:r>
              <a:rPr lang="de-DE" sz="1200" err="1"/>
              <a:t>B.Braun</a:t>
            </a:r>
            <a:r>
              <a:rPr lang="de-DE" sz="1200"/>
              <a:t>, Bosch, Clariant, GETEC, Harting, Henkel, Merck, Zentis</a:t>
            </a:r>
          </a:p>
          <a:p>
            <a:pPr lvl="1">
              <a:spcAft>
                <a:spcPts val="200"/>
              </a:spcAft>
            </a:pPr>
            <a:r>
              <a:rPr lang="de-DE" sz="1200"/>
              <a:t>Alle unsere Kunden sind uns auch nach 10 Jahren noch treu!</a:t>
            </a:r>
          </a:p>
        </p:txBody>
      </p:sp>
      <p:grpSp>
        <p:nvGrpSpPr>
          <p:cNvPr id="2" name="Gruppieren 1">
            <a:extLst>
              <a:ext uri="{FF2B5EF4-FFF2-40B4-BE49-F238E27FC236}">
                <a16:creationId xmlns:a16="http://schemas.microsoft.com/office/drawing/2014/main" id="{B25443C0-4435-7FE4-4640-6C900CCC15D1}"/>
              </a:ext>
            </a:extLst>
          </p:cNvPr>
          <p:cNvGrpSpPr/>
          <p:nvPr/>
        </p:nvGrpSpPr>
        <p:grpSpPr>
          <a:xfrm>
            <a:off x="4138804" y="1771450"/>
            <a:ext cx="703694" cy="703694"/>
            <a:chOff x="3460071" y="1779904"/>
            <a:chExt cx="869145" cy="869145"/>
          </a:xfrm>
        </p:grpSpPr>
        <p:sp>
          <p:nvSpPr>
            <p:cNvPr id="3" name="Kreis: nicht ausgefüllt 2">
              <a:extLst>
                <a:ext uri="{FF2B5EF4-FFF2-40B4-BE49-F238E27FC236}">
                  <a16:creationId xmlns:a16="http://schemas.microsoft.com/office/drawing/2014/main" id="{F641B091-5704-D9A2-6E86-FA04D554BF81}"/>
                </a:ext>
              </a:extLst>
            </p:cNvPr>
            <p:cNvSpPr/>
            <p:nvPr>
              <p:custDataLst>
                <p:tags r:id="rId10"/>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3" name="Grafik 22">
              <a:extLst>
                <a:ext uri="{FF2B5EF4-FFF2-40B4-BE49-F238E27FC236}">
                  <a16:creationId xmlns:a16="http://schemas.microsoft.com/office/drawing/2014/main" id="{FE804D56-3A5C-FE72-417B-3156040D80F6}"/>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96632" y="1796942"/>
              <a:ext cx="809625" cy="809625"/>
            </a:xfrm>
            <a:prstGeom prst="rect">
              <a:avLst/>
            </a:prstGeom>
          </p:spPr>
        </p:pic>
      </p:grpSp>
      <p:grpSp>
        <p:nvGrpSpPr>
          <p:cNvPr id="25" name="Gruppieren 24">
            <a:extLst>
              <a:ext uri="{FF2B5EF4-FFF2-40B4-BE49-F238E27FC236}">
                <a16:creationId xmlns:a16="http://schemas.microsoft.com/office/drawing/2014/main" id="{F89EA3F8-4B4D-7EC7-D171-122AA67B00D2}"/>
              </a:ext>
            </a:extLst>
          </p:cNvPr>
          <p:cNvGrpSpPr/>
          <p:nvPr/>
        </p:nvGrpSpPr>
        <p:grpSpPr>
          <a:xfrm>
            <a:off x="8760781" y="4103379"/>
            <a:ext cx="703694" cy="703694"/>
            <a:chOff x="8575325" y="4111833"/>
            <a:chExt cx="869145" cy="869145"/>
          </a:xfrm>
        </p:grpSpPr>
        <p:sp>
          <p:nvSpPr>
            <p:cNvPr id="27" name="Kreis: nicht ausgefüllt 26">
              <a:extLst>
                <a:ext uri="{FF2B5EF4-FFF2-40B4-BE49-F238E27FC236}">
                  <a16:creationId xmlns:a16="http://schemas.microsoft.com/office/drawing/2014/main" id="{90C43BA5-F8AF-C4C7-119A-065A9D56542D}"/>
                </a:ext>
              </a:extLst>
            </p:cNvPr>
            <p:cNvSpPr/>
            <p:nvPr>
              <p:custDataLst>
                <p:tags r:id="rId9"/>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9" name="Grafik 28">
              <a:extLst>
                <a:ext uri="{FF2B5EF4-FFF2-40B4-BE49-F238E27FC236}">
                  <a16:creationId xmlns:a16="http://schemas.microsoft.com/office/drawing/2014/main" id="{C35E16C8-400A-3CAE-7A33-B3DC61E9142C}"/>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8608010" y="4171353"/>
              <a:ext cx="809625" cy="809625"/>
            </a:xfrm>
            <a:prstGeom prst="rect">
              <a:avLst/>
            </a:prstGeom>
          </p:spPr>
        </p:pic>
      </p:grpSp>
      <p:grpSp>
        <p:nvGrpSpPr>
          <p:cNvPr id="31" name="Gruppieren 30">
            <a:extLst>
              <a:ext uri="{FF2B5EF4-FFF2-40B4-BE49-F238E27FC236}">
                <a16:creationId xmlns:a16="http://schemas.microsoft.com/office/drawing/2014/main" id="{F700440A-3097-ADFC-CA82-4AE3737A9FEE}"/>
              </a:ext>
            </a:extLst>
          </p:cNvPr>
          <p:cNvGrpSpPr/>
          <p:nvPr/>
        </p:nvGrpSpPr>
        <p:grpSpPr>
          <a:xfrm>
            <a:off x="4138804" y="4103379"/>
            <a:ext cx="703694" cy="703694"/>
            <a:chOff x="3460071" y="4111833"/>
            <a:chExt cx="869145" cy="869145"/>
          </a:xfrm>
        </p:grpSpPr>
        <p:sp>
          <p:nvSpPr>
            <p:cNvPr id="32" name="Kreis: nicht ausgefüllt 31">
              <a:extLst>
                <a:ext uri="{FF2B5EF4-FFF2-40B4-BE49-F238E27FC236}">
                  <a16:creationId xmlns:a16="http://schemas.microsoft.com/office/drawing/2014/main" id="{86CD4C46-B874-A964-24C6-65E318AFD641}"/>
                </a:ext>
              </a:extLst>
            </p:cNvPr>
            <p:cNvSpPr/>
            <p:nvPr>
              <p:custDataLst>
                <p:tags r:id="rId8"/>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3" name="Grafik 32">
              <a:extLst>
                <a:ext uri="{FF2B5EF4-FFF2-40B4-BE49-F238E27FC236}">
                  <a16:creationId xmlns:a16="http://schemas.microsoft.com/office/drawing/2014/main" id="{C863ADBB-8CFA-1C37-709B-93F8C74EDB3C}"/>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489830" y="4141593"/>
              <a:ext cx="809625" cy="809625"/>
            </a:xfrm>
            <a:prstGeom prst="rect">
              <a:avLst/>
            </a:prstGeom>
          </p:spPr>
        </p:pic>
      </p:grpSp>
      <p:grpSp>
        <p:nvGrpSpPr>
          <p:cNvPr id="34" name="Gruppieren 33">
            <a:extLst>
              <a:ext uri="{FF2B5EF4-FFF2-40B4-BE49-F238E27FC236}">
                <a16:creationId xmlns:a16="http://schemas.microsoft.com/office/drawing/2014/main" id="{FDECFD35-1B32-60EF-1A5B-66EC707CFEA4}"/>
              </a:ext>
            </a:extLst>
          </p:cNvPr>
          <p:cNvGrpSpPr/>
          <p:nvPr/>
        </p:nvGrpSpPr>
        <p:grpSpPr>
          <a:xfrm>
            <a:off x="8760780" y="1771450"/>
            <a:ext cx="703694" cy="703694"/>
            <a:chOff x="7459565" y="1779904"/>
            <a:chExt cx="869145" cy="869145"/>
          </a:xfrm>
        </p:grpSpPr>
        <p:sp>
          <p:nvSpPr>
            <p:cNvPr id="35" name="Kreis: nicht ausgefüllt 34">
              <a:extLst>
                <a:ext uri="{FF2B5EF4-FFF2-40B4-BE49-F238E27FC236}">
                  <a16:creationId xmlns:a16="http://schemas.microsoft.com/office/drawing/2014/main" id="{476FDF47-6121-E53D-3A42-28F22CA5D2FC}"/>
                </a:ext>
              </a:extLst>
            </p:cNvPr>
            <p:cNvSpPr/>
            <p:nvPr>
              <p:custDataLst>
                <p:tags r:id="rId7"/>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6" name="Grafik 35">
              <a:extLst>
                <a:ext uri="{FF2B5EF4-FFF2-40B4-BE49-F238E27FC236}">
                  <a16:creationId xmlns:a16="http://schemas.microsoft.com/office/drawing/2014/main" id="{260E17F4-D186-F19B-561A-0026C7799C4B}"/>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7493685" y="1797686"/>
              <a:ext cx="809625" cy="809625"/>
            </a:xfrm>
            <a:prstGeom prst="rect">
              <a:avLst/>
            </a:prstGeom>
          </p:spPr>
        </p:pic>
      </p:grpSp>
      <p:cxnSp>
        <p:nvCxnSpPr>
          <p:cNvPr id="5" name="Gerader Verbinder 19">
            <a:extLst>
              <a:ext uri="{FF2B5EF4-FFF2-40B4-BE49-F238E27FC236}">
                <a16:creationId xmlns:a16="http://schemas.microsoft.com/office/drawing/2014/main" id="{8BCEB4DB-2C59-CFB8-9A51-80E3F19CF4E8}"/>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Rechteck: diagonal liegende Ecken abgerundet 3">
            <a:extLst>
              <a:ext uri="{FF2B5EF4-FFF2-40B4-BE49-F238E27FC236}">
                <a16:creationId xmlns:a16="http://schemas.microsoft.com/office/drawing/2014/main" id="{9EB09230-CB86-D0E2-23C0-66120B168803}"/>
              </a:ext>
            </a:extLst>
          </p:cNvPr>
          <p:cNvSpPr/>
          <p:nvPr>
            <p:custDataLst>
              <p:tags r:id="rId5"/>
            </p:custDataLst>
          </p:nvPr>
        </p:nvSpPr>
        <p:spPr>
          <a:xfrm>
            <a:off x="9671370" y="1781092"/>
            <a:ext cx="2685600" cy="4311733"/>
          </a:xfrm>
          <a:prstGeom prst="round2DiagRect">
            <a:avLst>
              <a:gd name="adj1" fmla="val 0"/>
              <a:gd name="adj2" fmla="val 5916"/>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252000" tIns="2340000" rIns="108000" bIns="72000" rtlCol="0" anchor="t" anchorCtr="0"/>
          <a:lstStyle/>
          <a:p>
            <a:r>
              <a:rPr lang="de-DE" sz="1200" b="1">
                <a:ea typeface="+mn-lt"/>
                <a:cs typeface="+mn-lt"/>
              </a:rPr>
              <a:t>Ansprechpartner</a:t>
            </a:r>
            <a:endParaRPr lang="en-US" sz="1200" b="1"/>
          </a:p>
          <a:p>
            <a:r>
              <a:rPr lang="de-DE" sz="1200">
                <a:ea typeface="+mn-lt"/>
                <a:cs typeface="+mn-lt"/>
              </a:rPr>
              <a:t>Jörg Hanken</a:t>
            </a:r>
            <a:endParaRPr lang="de-DE" sz="1200"/>
          </a:p>
          <a:p>
            <a:r>
              <a:rPr lang="de-DE" sz="1200">
                <a:ea typeface="+mn-lt"/>
                <a:cs typeface="+mn-lt"/>
              </a:rPr>
              <a:t>+49 172 90 250 80</a:t>
            </a:r>
            <a:endParaRPr lang="de-DE" sz="1200"/>
          </a:p>
          <a:p>
            <a:r>
              <a:rPr lang="de-DE" sz="1200">
                <a:ea typeface="+mn-lt"/>
                <a:cs typeface="+mn-lt"/>
              </a:rPr>
              <a:t>Joerg.hanken@optravis.com</a:t>
            </a:r>
            <a:endParaRPr lang="de-DE" sz="1200"/>
          </a:p>
        </p:txBody>
      </p:sp>
      <p:sp>
        <p:nvSpPr>
          <p:cNvPr id="6" name="Titel 11">
            <a:extLst>
              <a:ext uri="{FF2B5EF4-FFF2-40B4-BE49-F238E27FC236}">
                <a16:creationId xmlns:a16="http://schemas.microsoft.com/office/drawing/2014/main" id="{7B02BD65-2FA8-4DEE-AB31-D3FC840C20A7}"/>
              </a:ext>
            </a:extLst>
          </p:cNvPr>
          <p:cNvSpPr txBox="1">
            <a:spLocks/>
          </p:cNvSpPr>
          <p:nvPr>
            <p:custDataLst>
              <p:tags r:id="rId6"/>
            </p:custDataLst>
          </p:nvPr>
        </p:nvSpPr>
        <p:spPr bwMode="gray">
          <a:xfrm>
            <a:off x="9920288" y="2110176"/>
            <a:ext cx="1951038"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pic>
        <p:nvPicPr>
          <p:cNvPr id="7" name="Grafik 6" descr="Ein Bild, das Text, Schrift, Grafiken, Grafikdesign enthält.&#10;&#10;KI-generierte Inhalte können fehlerhaft sein.">
            <a:extLst>
              <a:ext uri="{FF2B5EF4-FFF2-40B4-BE49-F238E27FC236}">
                <a16:creationId xmlns:a16="http://schemas.microsoft.com/office/drawing/2014/main" id="{936D711F-14CD-4309-1A03-2E6E6AEDC2ED}"/>
              </a:ext>
            </a:extLst>
          </p:cNvPr>
          <p:cNvPicPr>
            <a:picLocks noChangeAspect="1"/>
          </p:cNvPicPr>
          <p:nvPr/>
        </p:nvPicPr>
        <p:blipFill>
          <a:blip r:embed="rId17"/>
          <a:srcRect l="-1551" t="-3390" r="-3185" b="-5085"/>
          <a:stretch/>
        </p:blipFill>
        <p:spPr>
          <a:xfrm>
            <a:off x="10012641" y="2225645"/>
            <a:ext cx="1770654" cy="457931"/>
          </a:xfrm>
          <a:prstGeom prst="rect">
            <a:avLst/>
          </a:prstGeom>
        </p:spPr>
      </p:pic>
    </p:spTree>
    <p:extLst>
      <p:ext uri="{BB962C8B-B14F-4D97-AF65-F5344CB8AC3E}">
        <p14:creationId xmlns:p14="http://schemas.microsoft.com/office/powerpoint/2010/main" val="18110039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A0B3B-9AB9-2608-1688-68D04A5F3BC5}"/>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563CACB8-0C65-9984-CF42-16A0D35A7B66}"/>
              </a:ext>
            </a:extLst>
          </p:cNvPr>
          <p:cNvSpPr/>
          <p:nvPr/>
        </p:nvSpPr>
        <p:spPr>
          <a:xfrm>
            <a:off x="9671368" y="1781092"/>
            <a:ext cx="2685601" cy="4311733"/>
          </a:xfrm>
          <a:prstGeom prst="round2DiagRect">
            <a:avLst>
              <a:gd name="adj1" fmla="val 0"/>
              <a:gd name="adj2" fmla="val 4143"/>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prstClr val="white"/>
                </a:solidFill>
                <a:effectLst/>
                <a:uLnTx/>
                <a:uFillTx/>
                <a:latin typeface="Aptos"/>
                <a:ea typeface="+mn-lt"/>
                <a:cs typeface="+mn-lt"/>
              </a:rPr>
              <a:t>Ansprechpartner</a:t>
            </a:r>
            <a:endParaRPr kumimoji="0" lang="en-US" sz="1200" b="1" i="0" u="none" strike="noStrike" kern="1200" cap="none" spc="0" normalizeH="0" baseline="0" noProof="0">
              <a:ln>
                <a:noFill/>
              </a:ln>
              <a:solidFill>
                <a:prstClr val="white"/>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white"/>
                </a:solidFill>
                <a:effectLst/>
                <a:uLnTx/>
                <a:uFillTx/>
                <a:latin typeface="Aptos"/>
                <a:ea typeface="+mn-lt"/>
                <a:cs typeface="+mn-lt"/>
              </a:rPr>
              <a:t>Stefan Klinge</a:t>
            </a:r>
            <a:endParaRPr kumimoji="0" lang="de-DE" sz="1200" b="0" i="0" u="none" strike="noStrike" kern="1200" cap="none" spc="0" normalizeH="0" baseline="0" noProof="0">
              <a:ln>
                <a:noFill/>
              </a:ln>
              <a:solidFill>
                <a:prstClr val="white"/>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white"/>
                </a:solidFill>
                <a:effectLst/>
                <a:uLnTx/>
                <a:uFillTx/>
                <a:latin typeface="Aptos"/>
                <a:ea typeface="+mn-lt"/>
                <a:cs typeface="+mn-lt"/>
              </a:rPr>
              <a:t>+49(171)9727592</a:t>
            </a:r>
            <a:endParaRPr kumimoji="0" lang="de-DE" sz="1800" b="0" i="0" u="none" strike="noStrike" kern="1200" cap="none" spc="0" normalizeH="0" baseline="0" noProof="0">
              <a:ln>
                <a:noFill/>
              </a:ln>
              <a:solidFill>
                <a:prstClr val="white"/>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err="1">
                <a:ln>
                  <a:noFill/>
                </a:ln>
                <a:solidFill>
                  <a:prstClr val="white"/>
                </a:solidFill>
                <a:effectLst/>
                <a:uLnTx/>
                <a:uFillTx/>
                <a:latin typeface="Aptos"/>
                <a:ea typeface="+mn-lt"/>
                <a:cs typeface="+mn-lt"/>
              </a:rPr>
              <a:t>Stefan.Klinge@msg.group</a:t>
            </a:r>
            <a:endParaRPr kumimoji="0" lang="de-DE" sz="1800" b="0" i="0" u="none" strike="noStrike" kern="1200" cap="none" spc="0" normalizeH="0" baseline="0" noProof="0" err="1">
              <a:ln>
                <a:noFill/>
              </a:ln>
              <a:solidFill>
                <a:prstClr val="white"/>
              </a:solidFill>
              <a:effectLst/>
              <a:uLnTx/>
              <a:uFillTx/>
              <a:latin typeface="Aptos"/>
              <a:ea typeface="+mn-ea"/>
              <a:cs typeface="+mn-cs"/>
            </a:endParaRPr>
          </a:p>
        </p:txBody>
      </p:sp>
      <p:sp>
        <p:nvSpPr>
          <p:cNvPr id="12" name="Titel 5">
            <a:extLst>
              <a:ext uri="{FF2B5EF4-FFF2-40B4-BE49-F238E27FC236}">
                <a16:creationId xmlns:a16="http://schemas.microsoft.com/office/drawing/2014/main" id="{766C5BD3-1D53-27AA-F4BA-2B8F01CAA59D}"/>
              </a:ext>
            </a:extLst>
          </p:cNvPr>
          <p:cNvSpPr>
            <a:spLocks noGrp="1"/>
          </p:cNvSpPr>
          <p:nvPr>
            <p:ph type="title"/>
          </p:nvPr>
        </p:nvSpPr>
        <p:spPr>
          <a:xfrm>
            <a:off x="649008" y="620713"/>
            <a:ext cx="9807031" cy="738664"/>
          </a:xfrm>
        </p:spPr>
        <p:txBody>
          <a:bodyPr vert="horz"/>
          <a:lstStyle/>
          <a:p>
            <a:r>
              <a:rPr lang="de-DE">
                <a:ea typeface="+mn-lt"/>
                <a:cs typeface="+mn-lt"/>
              </a:rPr>
              <a:t>Der fortschrittlichste Weg, Anwendungen zu testen</a:t>
            </a:r>
            <a:br>
              <a:rPr lang="de-DE">
                <a:ea typeface="+mn-lt"/>
                <a:cs typeface="+mn-lt"/>
              </a:rPr>
            </a:br>
            <a:r>
              <a:rPr lang="de-DE" b="1" err="1">
                <a:ea typeface="+mn-lt"/>
                <a:cs typeface="+mn-lt"/>
              </a:rPr>
              <a:t>msg.ZenTestAI</a:t>
            </a:r>
            <a:r>
              <a:rPr lang="de-DE" b="1">
                <a:ea typeface="+mn-lt"/>
                <a:cs typeface="+mn-lt"/>
              </a:rPr>
              <a:t>  </a:t>
            </a:r>
            <a:endParaRPr lang="de-DE" b="1"/>
          </a:p>
        </p:txBody>
      </p:sp>
      <p:sp>
        <p:nvSpPr>
          <p:cNvPr id="14" name="Fußzeilenplatzhalter 1">
            <a:extLst>
              <a:ext uri="{FF2B5EF4-FFF2-40B4-BE49-F238E27FC236}">
                <a16:creationId xmlns:a16="http://schemas.microsoft.com/office/drawing/2014/main" id="{06A65D08-0484-6BA4-4685-F6D4A0D5D572}"/>
              </a:ext>
            </a:extLst>
          </p:cNvPr>
          <p:cNvSpPr>
            <a:spLocks noGrp="1"/>
          </p:cNvSpPr>
          <p:nvPr>
            <p:ph type="ftr" sz="quarter" idx="10"/>
          </p:nvPr>
        </p:nvSpPr>
        <p:spPr>
          <a:xfrm>
            <a:off x="655780" y="6443762"/>
            <a:ext cx="4968501"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black"/>
                </a:solidFill>
                <a:effectLst/>
                <a:uLnTx/>
                <a:uFillTx/>
                <a:latin typeface="Aptos"/>
                <a:ea typeface="+mn-ea"/>
                <a:cs typeface="+mn-cs"/>
              </a:rPr>
              <a:t>© msg systems ag | 2026 | msg-Unternehmenspräsentation</a:t>
            </a:r>
          </a:p>
        </p:txBody>
      </p:sp>
      <p:sp>
        <p:nvSpPr>
          <p:cNvPr id="16" name="Foliennummernplatzhalter 2">
            <a:extLst>
              <a:ext uri="{FF2B5EF4-FFF2-40B4-BE49-F238E27FC236}">
                <a16:creationId xmlns:a16="http://schemas.microsoft.com/office/drawing/2014/main" id="{860319AF-3739-CFE9-F445-82B315CE6652}"/>
              </a:ext>
            </a:extLst>
          </p:cNvPr>
          <p:cNvSpPr>
            <a:spLocks noGrp="1"/>
          </p:cNvSpPr>
          <p:nvPr>
            <p:ph type="sldNum" sz="quarter" idx="11"/>
          </p:nvPr>
        </p:nvSpPr>
        <p:spPr>
          <a:xfrm>
            <a:off x="11358563" y="6443762"/>
            <a:ext cx="431620" cy="15388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7B0579-4238-4E44-9A9E-134B676F827C}" type="slidenum">
              <a:rPr kumimoji="0" lang="de-DE" sz="1000" b="0" i="0" u="none" strike="noStrike" kern="1200" cap="none" spc="0" normalizeH="0" baseline="0" noProof="0" smtClean="0">
                <a:ln>
                  <a:noFill/>
                </a:ln>
                <a:solidFill>
                  <a:prstClr val="black"/>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de-DE" sz="1000" b="0" i="0" u="none" strike="noStrike" kern="1200" cap="none" spc="0" normalizeH="0" baseline="0" noProof="0">
              <a:ln>
                <a:noFill/>
              </a:ln>
              <a:solidFill>
                <a:prstClr val="black"/>
              </a:solidFill>
              <a:effectLst/>
              <a:uLnTx/>
              <a:uFillTx/>
              <a:latin typeface="Aptos"/>
              <a:ea typeface="+mn-ea"/>
              <a:cs typeface="+mn-cs"/>
            </a:endParaRPr>
          </a:p>
        </p:txBody>
      </p:sp>
      <p:sp>
        <p:nvSpPr>
          <p:cNvPr id="24" name="Textfeld 23">
            <a:extLst>
              <a:ext uri="{FF2B5EF4-FFF2-40B4-BE49-F238E27FC236}">
                <a16:creationId xmlns:a16="http://schemas.microsoft.com/office/drawing/2014/main" id="{40A20DD1-DA91-9115-2B85-E124F31C2EC1}"/>
              </a:ext>
            </a:extLst>
          </p:cNvPr>
          <p:cNvSpPr txBox="1"/>
          <p:nvPr>
            <p:custDataLst>
              <p:tags r:id="rId1"/>
            </p:custDataLst>
          </p:nvPr>
        </p:nvSpPr>
        <p:spPr>
          <a:xfrm>
            <a:off x="653194" y="1757105"/>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marL="0" marR="0" lvl="0" indent="0" algn="l" defTabSz="914400" rtl="0" eaLnBrk="1" fontAlgn="auto" latinLnBrk="0" hangingPunct="1">
              <a:lnSpc>
                <a:spcPts val="1350"/>
              </a:lnSpc>
              <a:spcBef>
                <a:spcPts val="0"/>
              </a:spcBef>
              <a:spcAft>
                <a:spcPts val="600"/>
              </a:spcAft>
              <a:buClrTx/>
              <a:buSzTx/>
              <a:buFont typeface="Wingdings" panose="05000000000000000000" pitchFamily="2" charset="2"/>
              <a:buNone/>
              <a:tabLst/>
              <a:defRPr/>
            </a:pPr>
            <a:r>
              <a:rPr kumimoji="0" lang="de-DE" sz="1400" b="1" i="0" u="none" strike="noStrike" kern="1200" cap="none" spc="0" normalizeH="0" baseline="0" noProof="0">
                <a:ln>
                  <a:noFill/>
                </a:ln>
                <a:solidFill>
                  <a:prstClr val="black"/>
                </a:solidFill>
                <a:effectLst/>
                <a:uLnTx/>
                <a:uFillTx/>
                <a:latin typeface="Aptos"/>
                <a:ea typeface="Segoe UI"/>
                <a:cs typeface="Segoe UI"/>
              </a:rPr>
              <a:t>Ihre Herausforderung</a:t>
            </a:r>
            <a:r>
              <a:rPr kumimoji="0" lang="en-US" sz="1400" b="0" i="0" u="none" strike="noStrike" kern="1200" cap="none" spc="0" normalizeH="0" baseline="0" noProof="0">
                <a:ln>
                  <a:noFill/>
                </a:ln>
                <a:solidFill>
                  <a:prstClr val="black"/>
                </a:solidFill>
                <a:effectLst/>
                <a:uLnTx/>
                <a:uFillTx/>
                <a:latin typeface="Aptos"/>
                <a:ea typeface="Segoe UI"/>
                <a:cs typeface="Segoe UI"/>
              </a:rPr>
              <a:t>​</a:t>
            </a:r>
          </a:p>
          <a:p>
            <a:pPr marL="215900" marR="0" lvl="1" indent="-215900" algn="l" defTabSz="914400" rtl="0" eaLnBrk="1" fontAlgn="auto" latinLnBrk="0" hangingPunct="1">
              <a:lnSpc>
                <a:spcPts val="1125"/>
              </a:lnSpc>
              <a:spcBef>
                <a:spcPts val="0"/>
              </a:spcBef>
              <a:spcAft>
                <a:spcPts val="600"/>
              </a:spcAft>
              <a:buClr>
                <a:srgbClr val="A01441"/>
              </a:buClr>
              <a:buSzTx/>
              <a:buFont typeface=""/>
              <a:buChar char="•"/>
              <a:tabLst/>
              <a:defRPr/>
            </a:pPr>
            <a:r>
              <a:rPr kumimoji="0" lang="de-DE" sz="1200" b="0" i="0" u="none" strike="noStrike" kern="1200" cap="none" spc="0" normalizeH="0" baseline="0" noProof="0">
                <a:ln>
                  <a:noFill/>
                </a:ln>
                <a:solidFill>
                  <a:prstClr val="black"/>
                </a:solidFill>
                <a:effectLst/>
                <a:uLnTx/>
                <a:uFillTx/>
                <a:latin typeface="Aptos"/>
                <a:ea typeface="+mn-ea"/>
                <a:cs typeface="Arial"/>
              </a:rPr>
              <a:t>Hoher Aufwand beim Testen von </a:t>
            </a:r>
            <a:br>
              <a:rPr kumimoji="0" lang="de-DE" sz="1200" b="0" i="0" u="none" strike="noStrike" kern="1200" cap="none" spc="0" normalizeH="0" baseline="0" noProof="0">
                <a:ln>
                  <a:noFill/>
                </a:ln>
                <a:solidFill>
                  <a:prstClr val="black"/>
                </a:solidFill>
                <a:effectLst/>
                <a:uLnTx/>
                <a:uFillTx/>
                <a:latin typeface="Aptos"/>
                <a:ea typeface="+mn-ea"/>
                <a:cs typeface="Arial"/>
              </a:rPr>
            </a:br>
            <a:r>
              <a:rPr kumimoji="0" lang="de-DE" sz="1200" b="0" i="0" u="none" strike="noStrike" kern="1200" cap="none" spc="0" normalizeH="0" baseline="0" noProof="0">
                <a:ln>
                  <a:noFill/>
                </a:ln>
                <a:solidFill>
                  <a:prstClr val="black"/>
                </a:solidFill>
                <a:effectLst/>
                <a:uLnTx/>
                <a:uFillTx/>
                <a:latin typeface="Aptos"/>
                <a:ea typeface="+mn-ea"/>
                <a:cs typeface="Arial"/>
              </a:rPr>
              <a:t>Benutzeroberflächen</a:t>
            </a:r>
            <a:endParaRPr kumimoji="0" lang="de-DE" sz="1600" b="0" i="0" u="none" strike="noStrike" kern="1200" cap="none" spc="0" normalizeH="0" baseline="0" noProof="0">
              <a:ln>
                <a:noFill/>
              </a:ln>
              <a:solidFill>
                <a:prstClr val="black"/>
              </a:solidFill>
              <a:effectLst/>
              <a:uLnTx/>
              <a:uFillTx/>
              <a:latin typeface="Aptos"/>
              <a:ea typeface="+mn-ea"/>
              <a:cs typeface="+mn-cs"/>
            </a:endParaRPr>
          </a:p>
          <a:p>
            <a:pPr marL="215900" marR="0" lvl="1" indent="-215900" algn="l" defTabSz="914400" rtl="0" eaLnBrk="1" fontAlgn="auto" latinLnBrk="0" hangingPunct="1">
              <a:lnSpc>
                <a:spcPts val="1125"/>
              </a:lnSpc>
              <a:spcBef>
                <a:spcPts val="0"/>
              </a:spcBef>
              <a:spcAft>
                <a:spcPts val="600"/>
              </a:spcAft>
              <a:buClr>
                <a:srgbClr val="A01441"/>
              </a:buClr>
              <a:buSzTx/>
              <a:buFont typeface=""/>
              <a:buChar char="•"/>
              <a:tabLst/>
              <a:defRPr/>
            </a:pPr>
            <a:r>
              <a:rPr kumimoji="0" lang="de-DE" sz="1200" b="0" i="0" u="none" strike="noStrike" kern="1200" cap="none" spc="0" normalizeH="0" baseline="0" noProof="0">
                <a:ln>
                  <a:noFill/>
                </a:ln>
                <a:solidFill>
                  <a:srgbClr val="000000"/>
                </a:solidFill>
                <a:effectLst/>
                <a:uLnTx/>
                <a:uFillTx/>
                <a:latin typeface="Aptos"/>
                <a:ea typeface="+mn-ea"/>
                <a:cs typeface="Arial"/>
              </a:rPr>
              <a:t>Häufige Releases mit vielen Regressions-Tests</a:t>
            </a:r>
          </a:p>
          <a:p>
            <a:pPr marL="215900" marR="0" lvl="1" indent="-215900" algn="l" defTabSz="914400" rtl="0" eaLnBrk="1" fontAlgn="auto" latinLnBrk="0" hangingPunct="1">
              <a:lnSpc>
                <a:spcPts val="1125"/>
              </a:lnSpc>
              <a:spcBef>
                <a:spcPts val="0"/>
              </a:spcBef>
              <a:spcAft>
                <a:spcPts val="600"/>
              </a:spcAft>
              <a:buClr>
                <a:srgbClr val="A01441"/>
              </a:buClr>
              <a:buSzTx/>
              <a:buFont typeface=""/>
              <a:buChar char="•"/>
              <a:tabLst/>
              <a:defRPr/>
            </a:pPr>
            <a:r>
              <a:rPr kumimoji="0" lang="de-DE" sz="1200" b="0" i="0" u="none" strike="noStrike" kern="1200" cap="none" spc="0" normalizeH="0" baseline="0" noProof="0">
                <a:ln>
                  <a:noFill/>
                </a:ln>
                <a:solidFill>
                  <a:srgbClr val="000000"/>
                </a:solidFill>
                <a:effectLst/>
                <a:uLnTx/>
                <a:uFillTx/>
                <a:latin typeface="Aptos"/>
                <a:ea typeface="+mn-ea"/>
                <a:cs typeface="Arial"/>
              </a:rPr>
              <a:t>Großer Anpassungsaufwand, </a:t>
            </a:r>
            <a:br>
              <a:rPr kumimoji="0" lang="de-DE" sz="1200" b="0" i="0" u="none" strike="noStrike" kern="1200" cap="none" spc="0" normalizeH="0" baseline="0" noProof="0">
                <a:ln>
                  <a:noFill/>
                </a:ln>
                <a:solidFill>
                  <a:srgbClr val="000000"/>
                </a:solidFill>
                <a:effectLst/>
                <a:uLnTx/>
                <a:uFillTx/>
                <a:latin typeface="Aptos"/>
                <a:ea typeface="+mn-ea"/>
                <a:cs typeface="Arial"/>
              </a:rPr>
            </a:br>
            <a:r>
              <a:rPr kumimoji="0" lang="de-DE" sz="1200" b="0" i="0" u="none" strike="noStrike" kern="1200" cap="none" spc="0" normalizeH="0" baseline="0" noProof="0">
                <a:ln>
                  <a:noFill/>
                </a:ln>
                <a:solidFill>
                  <a:srgbClr val="000000"/>
                </a:solidFill>
                <a:effectLst/>
                <a:uLnTx/>
                <a:uFillTx/>
                <a:latin typeface="Aptos"/>
                <a:ea typeface="+mn-ea"/>
                <a:cs typeface="Arial"/>
              </a:rPr>
              <a:t>um die Testfälle aktuell zu halten</a:t>
            </a:r>
            <a:endParaRPr kumimoji="0" lang="de-DE" sz="1200" b="0" i="0" u="none" strike="noStrike" kern="1200" cap="none" spc="0" normalizeH="0" baseline="0" noProof="0">
              <a:ln>
                <a:noFill/>
              </a:ln>
              <a:solidFill>
                <a:srgbClr val="FF0000"/>
              </a:solidFill>
              <a:effectLst/>
              <a:uLnTx/>
              <a:uFillTx/>
              <a:latin typeface="Aptos"/>
              <a:ea typeface="+mn-ea"/>
              <a:cs typeface="Arial"/>
            </a:endParaRPr>
          </a:p>
        </p:txBody>
      </p:sp>
      <p:sp>
        <p:nvSpPr>
          <p:cNvPr id="26" name="Textfeld 25">
            <a:extLst>
              <a:ext uri="{FF2B5EF4-FFF2-40B4-BE49-F238E27FC236}">
                <a16:creationId xmlns:a16="http://schemas.microsoft.com/office/drawing/2014/main" id="{5904AEFE-FB62-3586-83E7-2A8340FEABD6}"/>
              </a:ext>
            </a:extLst>
          </p:cNvPr>
          <p:cNvSpPr txBox="1"/>
          <p:nvPr>
            <p:custDataLst>
              <p:tags r:id="rId2"/>
            </p:custDataLst>
          </p:nvPr>
        </p:nvSpPr>
        <p:spPr>
          <a:xfrm>
            <a:off x="5227129" y="1752919"/>
            <a:ext cx="3884570" cy="243840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marL="0" marR="0" lvl="0" indent="0" algn="l" defTabSz="914400" rtl="0" eaLnBrk="1" fontAlgn="auto" latinLnBrk="0" hangingPunct="1">
              <a:lnSpc>
                <a:spcPct val="100000"/>
              </a:lnSpc>
              <a:spcBef>
                <a:spcPts val="0"/>
              </a:spcBef>
              <a:spcAft>
                <a:spcPts val="400"/>
              </a:spcAft>
              <a:buClrTx/>
              <a:buSzTx/>
              <a:buFont typeface="Wingdings" panose="05000000000000000000" pitchFamily="2" charset="2"/>
              <a:buNone/>
              <a:tabLst/>
              <a:defRPr/>
            </a:pPr>
            <a:r>
              <a:rPr kumimoji="0" lang="de-DE" sz="1400" b="1" i="0" u="none" strike="noStrike" kern="1200" cap="none" spc="0" normalizeH="0" baseline="0" noProof="0">
                <a:ln>
                  <a:noFill/>
                </a:ln>
                <a:solidFill>
                  <a:prstClr val="black"/>
                </a:solidFill>
                <a:effectLst/>
                <a:uLnTx/>
                <a:uFillTx/>
                <a:latin typeface="Aptos"/>
                <a:ea typeface="+mn-ea"/>
                <a:cs typeface="+mn-cs"/>
              </a:rPr>
              <a:t>Ihr Nutzen</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ptos"/>
                <a:ea typeface="+mn-ea"/>
                <a:cs typeface="+mn-cs"/>
              </a:rPr>
              <a:t>Schnelle, </a:t>
            </a:r>
            <a:r>
              <a:rPr kumimoji="0" lang="en-US" sz="1200" b="0" i="0" u="none" strike="noStrike" kern="1200" cap="none" spc="0" normalizeH="0" baseline="0" noProof="0" err="1">
                <a:ln>
                  <a:noFill/>
                </a:ln>
                <a:solidFill>
                  <a:prstClr val="black"/>
                </a:solidFill>
                <a:effectLst/>
                <a:uLnTx/>
                <a:uFillTx/>
                <a:latin typeface="Aptos"/>
                <a:ea typeface="+mn-ea"/>
                <a:cs typeface="+mn-cs"/>
              </a:rPr>
              <a:t>einfache</a:t>
            </a:r>
            <a:r>
              <a:rPr kumimoji="0" lang="en-US" sz="1200" b="0" i="0" u="none" strike="noStrike" kern="1200" cap="none" spc="0" normalizeH="0" baseline="0" noProof="0">
                <a:ln>
                  <a:noFill/>
                </a:ln>
                <a:solidFill>
                  <a:prstClr val="black"/>
                </a:solidFill>
                <a:effectLst/>
                <a:uLnTx/>
                <a:uFillTx/>
                <a:latin typeface="Aptos"/>
                <a:ea typeface="+mn-ea"/>
                <a:cs typeface="+mn-cs"/>
              </a:rPr>
              <a:t> und intuitive </a:t>
            </a:r>
            <a:r>
              <a:rPr kumimoji="0" lang="en-US" sz="1200" b="0" i="0" u="none" strike="noStrike" kern="1200" cap="none" spc="0" normalizeH="0" baseline="0" noProof="0" err="1">
                <a:ln>
                  <a:noFill/>
                </a:ln>
                <a:solidFill>
                  <a:prstClr val="black"/>
                </a:solidFill>
                <a:effectLst/>
                <a:uLnTx/>
                <a:uFillTx/>
                <a:latin typeface="Aptos"/>
                <a:ea typeface="+mn-ea"/>
                <a:cs typeface="+mn-cs"/>
              </a:rPr>
              <a:t>Testerstellung</a:t>
            </a:r>
            <a:endParaRPr kumimoji="0" lang="en-US" sz="1200" b="0" i="0" u="none" strike="noStrike" kern="1200" cap="none" spc="0" normalizeH="0" baseline="0" noProof="0">
              <a:ln>
                <a:noFill/>
              </a:ln>
              <a:solidFill>
                <a:prstClr val="black"/>
              </a:solidFill>
              <a:effectLst/>
              <a:uLnTx/>
              <a:uFillTx/>
              <a:latin typeface="Aptos"/>
              <a:ea typeface="+mn-ea"/>
              <a:cs typeface="+mn-cs"/>
            </a:endParaRP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kern="1200" cap="none" spc="0" normalizeH="0" baseline="0" noProof="0" err="1">
                <a:ln>
                  <a:noFill/>
                </a:ln>
                <a:solidFill>
                  <a:prstClr val="black"/>
                </a:solidFill>
                <a:effectLst/>
                <a:uLnTx/>
                <a:uFillTx/>
                <a:latin typeface="Aptos"/>
                <a:ea typeface="+mn-ea"/>
                <a:cs typeface="+mn-cs"/>
              </a:rPr>
              <a:t>Kostensparendes</a:t>
            </a:r>
            <a:r>
              <a:rPr kumimoji="0" lang="en-US" sz="1200" b="0" i="0" u="none" strike="noStrike" kern="1200" cap="none" spc="0" normalizeH="0" baseline="0" noProof="0">
                <a:ln>
                  <a:noFill/>
                </a:ln>
                <a:solidFill>
                  <a:prstClr val="black"/>
                </a:solidFill>
                <a:effectLst/>
                <a:uLnTx/>
                <a:uFillTx/>
                <a:latin typeface="Aptos"/>
                <a:ea typeface="+mn-ea"/>
                <a:cs typeface="+mn-cs"/>
              </a:rPr>
              <a:t> und </a:t>
            </a:r>
            <a:r>
              <a:rPr kumimoji="0" lang="en-US" sz="1200" b="0" i="0" u="none" strike="noStrike" kern="1200" cap="none" spc="0" normalizeH="0" baseline="0" noProof="0" err="1">
                <a:ln>
                  <a:noFill/>
                </a:ln>
                <a:solidFill>
                  <a:prstClr val="black"/>
                </a:solidFill>
                <a:effectLst/>
                <a:uLnTx/>
                <a:uFillTx/>
                <a:latin typeface="Aptos"/>
                <a:ea typeface="+mn-ea"/>
                <a:cs typeface="+mn-cs"/>
              </a:rPr>
              <a:t>automatisiertes</a:t>
            </a:r>
            <a:r>
              <a:rPr kumimoji="0" lang="en-US" sz="1200" b="0" i="0" u="none" strike="noStrike" kern="1200" cap="none" spc="0" normalizeH="0" baseline="0" noProof="0">
                <a:ln>
                  <a:noFill/>
                </a:ln>
                <a:solidFill>
                  <a:prstClr val="black"/>
                </a:solidFill>
                <a:effectLst/>
                <a:uLnTx/>
                <a:uFillTx/>
                <a:latin typeface="Aptos"/>
                <a:ea typeface="+mn-ea"/>
                <a:cs typeface="+mn-cs"/>
              </a:rPr>
              <a:t> Testen</a:t>
            </a:r>
            <a:endParaRPr kumimoji="0" lang="en-US" sz="1600" b="0" i="0" u="none" strike="noStrike" kern="1200" cap="none" spc="0" normalizeH="0" baseline="0" noProof="0">
              <a:ln>
                <a:noFill/>
              </a:ln>
              <a:solidFill>
                <a:prstClr val="black"/>
              </a:solidFill>
              <a:effectLst/>
              <a:uLnTx/>
              <a:uFillTx/>
              <a:latin typeface="Aptos"/>
              <a:ea typeface="+mn-ea"/>
              <a:cs typeface="+mn-cs"/>
            </a:endParaRP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kern="1200" cap="none" spc="0" normalizeH="0" baseline="0" noProof="0">
                <a:ln>
                  <a:noFill/>
                </a:ln>
                <a:solidFill>
                  <a:srgbClr val="131313"/>
                </a:solidFill>
                <a:effectLst/>
                <a:uLnTx/>
                <a:uFillTx/>
                <a:latin typeface="Aptos"/>
                <a:ea typeface="+mn-ea"/>
                <a:cs typeface="+mn-cs"/>
              </a:rPr>
              <a:t>Geringer </a:t>
            </a:r>
            <a:r>
              <a:rPr kumimoji="0" lang="en-US" sz="1200" b="0" i="0" u="none" strike="noStrike" kern="1200" cap="none" spc="0" normalizeH="0" baseline="0" noProof="0" err="1">
                <a:ln>
                  <a:noFill/>
                </a:ln>
                <a:solidFill>
                  <a:srgbClr val="131313"/>
                </a:solidFill>
                <a:effectLst/>
                <a:uLnTx/>
                <a:uFillTx/>
                <a:latin typeface="Aptos"/>
                <a:ea typeface="+mn-ea"/>
                <a:cs typeface="+mn-cs"/>
              </a:rPr>
              <a:t>Wartungsaufwand</a:t>
            </a:r>
            <a:endParaRPr kumimoji="0" lang="en-US" sz="1200" b="0" i="0" u="none" strike="noStrike" kern="1200" cap="none" spc="0" normalizeH="0" baseline="0" noProof="0">
              <a:ln>
                <a:noFill/>
              </a:ln>
              <a:solidFill>
                <a:srgbClr val="000000"/>
              </a:solidFill>
              <a:effectLst/>
              <a:uLnTx/>
              <a:uFillTx/>
              <a:latin typeface="Aptos"/>
              <a:ea typeface="+mn-ea"/>
              <a:cs typeface="+mn-cs"/>
            </a:endParaRP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kern="1200" cap="none" spc="0" normalizeH="0" baseline="0" noProof="0" err="1">
                <a:ln>
                  <a:noFill/>
                </a:ln>
                <a:solidFill>
                  <a:srgbClr val="131313"/>
                </a:solidFill>
                <a:effectLst/>
                <a:uLnTx/>
                <a:uFillTx/>
                <a:latin typeface="Aptos"/>
                <a:ea typeface="+mn-ea"/>
                <a:cs typeface="+mn-cs"/>
              </a:rPr>
              <a:t>Transparente</a:t>
            </a:r>
            <a:r>
              <a:rPr kumimoji="0" lang="en-US" sz="1200" b="0" i="0" u="none" strike="noStrike" kern="1200" cap="none" spc="0" normalizeH="0" baseline="0" noProof="0">
                <a:ln>
                  <a:noFill/>
                </a:ln>
                <a:solidFill>
                  <a:srgbClr val="131313"/>
                </a:solidFill>
                <a:effectLst/>
                <a:uLnTx/>
                <a:uFillTx/>
                <a:latin typeface="Aptos"/>
                <a:ea typeface="+mn-ea"/>
                <a:cs typeface="+mn-cs"/>
              </a:rPr>
              <a:t> und </a:t>
            </a:r>
            <a:r>
              <a:rPr kumimoji="0" lang="en-US" sz="1200" b="0" i="0" u="none" strike="noStrike" kern="1200" cap="none" spc="0" normalizeH="0" baseline="0" noProof="0" err="1">
                <a:ln>
                  <a:noFill/>
                </a:ln>
                <a:solidFill>
                  <a:srgbClr val="131313"/>
                </a:solidFill>
                <a:effectLst/>
                <a:uLnTx/>
                <a:uFillTx/>
                <a:latin typeface="Aptos"/>
                <a:ea typeface="+mn-ea"/>
                <a:cs typeface="+mn-cs"/>
              </a:rPr>
              <a:t>nachvollziehbare</a:t>
            </a:r>
            <a:r>
              <a:rPr kumimoji="0" lang="en-US" sz="1200" b="0" i="0" u="none" strike="noStrike" kern="1200" cap="none" spc="0" normalizeH="0" baseline="0" noProof="0">
                <a:ln>
                  <a:noFill/>
                </a:ln>
                <a:solidFill>
                  <a:srgbClr val="131313"/>
                </a:solidFill>
                <a:effectLst/>
                <a:uLnTx/>
                <a:uFillTx/>
                <a:latin typeface="Aptos"/>
                <a:ea typeface="+mn-ea"/>
                <a:cs typeface="+mn-cs"/>
              </a:rPr>
              <a:t> </a:t>
            </a:r>
            <a:r>
              <a:rPr kumimoji="0" lang="en-US" sz="1200" b="0" i="0" u="none" strike="noStrike" kern="1200" cap="none" spc="0" normalizeH="0" baseline="0" noProof="0" err="1">
                <a:ln>
                  <a:noFill/>
                </a:ln>
                <a:solidFill>
                  <a:srgbClr val="131313"/>
                </a:solidFill>
                <a:effectLst/>
                <a:uLnTx/>
                <a:uFillTx/>
                <a:latin typeface="Aptos"/>
                <a:ea typeface="+mn-ea"/>
                <a:cs typeface="+mn-cs"/>
              </a:rPr>
              <a:t>Testergebnisse</a:t>
            </a:r>
            <a:endParaRPr kumimoji="0" lang="en-US" sz="1200" b="0" i="0" u="none" strike="noStrike" kern="1200" cap="none" spc="0" normalizeH="0" baseline="0" noProof="0">
              <a:ln>
                <a:noFill/>
              </a:ln>
              <a:solidFill>
                <a:srgbClr val="000000"/>
              </a:solidFill>
              <a:effectLst/>
              <a:uLnTx/>
              <a:uFillTx/>
              <a:latin typeface="Aptos"/>
              <a:ea typeface="+mn-ea"/>
              <a:cs typeface="+mn-cs"/>
            </a:endParaRP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kern="1200" cap="none" spc="0" normalizeH="0" baseline="0" noProof="0">
                <a:ln>
                  <a:noFill/>
                </a:ln>
                <a:solidFill>
                  <a:srgbClr val="131313"/>
                </a:solidFill>
                <a:effectLst/>
                <a:uLnTx/>
                <a:uFillTx/>
                <a:latin typeface="Aptos"/>
                <a:ea typeface="+mn-ea"/>
                <a:cs typeface="+mn-cs"/>
              </a:rPr>
              <a:t>Stabile und </a:t>
            </a:r>
            <a:r>
              <a:rPr kumimoji="0" lang="en-US" sz="1200" b="0" i="0" u="none" strike="noStrike" kern="1200" cap="none" spc="0" normalizeH="0" baseline="0" noProof="0" err="1">
                <a:ln>
                  <a:noFill/>
                </a:ln>
                <a:solidFill>
                  <a:srgbClr val="131313"/>
                </a:solidFill>
                <a:effectLst/>
                <a:uLnTx/>
                <a:uFillTx/>
                <a:latin typeface="Aptos"/>
                <a:ea typeface="+mn-ea"/>
                <a:cs typeface="+mn-cs"/>
              </a:rPr>
              <a:t>verständliche</a:t>
            </a:r>
            <a:r>
              <a:rPr kumimoji="0" lang="en-US" sz="1200" b="0" i="0" u="none" strike="noStrike" kern="1200" cap="none" spc="0" normalizeH="0" baseline="0" noProof="0">
                <a:ln>
                  <a:noFill/>
                </a:ln>
                <a:solidFill>
                  <a:srgbClr val="131313"/>
                </a:solidFill>
                <a:effectLst/>
                <a:uLnTx/>
                <a:uFillTx/>
                <a:latin typeface="Aptos"/>
                <a:ea typeface="+mn-ea"/>
                <a:cs typeface="+mn-cs"/>
              </a:rPr>
              <a:t> Tests, </a:t>
            </a:r>
            <a:r>
              <a:rPr kumimoji="0" lang="en-US" sz="1200" b="0" i="0" u="none" strike="noStrike" kern="1200" cap="none" spc="0" normalizeH="0" baseline="0" noProof="0" err="1">
                <a:ln>
                  <a:noFill/>
                </a:ln>
                <a:solidFill>
                  <a:srgbClr val="131313"/>
                </a:solidFill>
                <a:effectLst/>
                <a:uLnTx/>
                <a:uFillTx/>
                <a:latin typeface="Aptos"/>
                <a:ea typeface="+mn-ea"/>
                <a:cs typeface="+mn-cs"/>
              </a:rPr>
              <a:t>bei</a:t>
            </a:r>
            <a:r>
              <a:rPr kumimoji="0" lang="en-US" sz="1200" b="0" i="0" u="none" strike="noStrike" kern="1200" cap="none" spc="0" normalizeH="0" baseline="0" noProof="0">
                <a:ln>
                  <a:noFill/>
                </a:ln>
                <a:solidFill>
                  <a:srgbClr val="131313"/>
                </a:solidFill>
                <a:effectLst/>
                <a:uLnTx/>
                <a:uFillTx/>
                <a:latin typeface="Aptos"/>
                <a:ea typeface="+mn-ea"/>
                <a:cs typeface="+mn-cs"/>
              </a:rPr>
              <a:t> </a:t>
            </a:r>
            <a:r>
              <a:rPr kumimoji="0" lang="en-US" sz="1200" b="0" i="0" u="none" strike="noStrike" kern="1200" cap="none" spc="0" normalizeH="0" baseline="0" noProof="0" err="1">
                <a:ln>
                  <a:noFill/>
                </a:ln>
                <a:solidFill>
                  <a:srgbClr val="131313"/>
                </a:solidFill>
                <a:effectLst/>
                <a:uLnTx/>
                <a:uFillTx/>
                <a:latin typeface="Aptos"/>
                <a:ea typeface="+mn-ea"/>
                <a:cs typeface="+mn-cs"/>
              </a:rPr>
              <a:t>denen</a:t>
            </a:r>
            <a:r>
              <a:rPr kumimoji="0" lang="en-US" sz="1200" b="0" i="0" u="none" strike="noStrike" kern="1200" cap="none" spc="0" normalizeH="0" baseline="0" noProof="0">
                <a:ln>
                  <a:noFill/>
                </a:ln>
                <a:solidFill>
                  <a:srgbClr val="131313"/>
                </a:solidFill>
                <a:effectLst/>
                <a:uLnTx/>
                <a:uFillTx/>
                <a:latin typeface="Aptos"/>
                <a:ea typeface="+mn-ea"/>
                <a:cs typeface="+mn-cs"/>
              </a:rPr>
              <a:t> UI-</a:t>
            </a:r>
            <a:r>
              <a:rPr kumimoji="0" lang="en-US" sz="1200" b="0" i="0" u="none" strike="noStrike" kern="1200" cap="none" spc="0" normalizeH="0" baseline="0" noProof="0" err="1">
                <a:ln>
                  <a:noFill/>
                </a:ln>
                <a:solidFill>
                  <a:srgbClr val="131313"/>
                </a:solidFill>
                <a:effectLst/>
                <a:uLnTx/>
                <a:uFillTx/>
                <a:latin typeface="Aptos"/>
                <a:ea typeface="+mn-ea"/>
                <a:cs typeface="+mn-cs"/>
              </a:rPr>
              <a:t>Änderungen</a:t>
            </a:r>
            <a:r>
              <a:rPr kumimoji="0" lang="en-US" sz="1200" b="0" i="0" u="none" strike="noStrike" kern="1200" cap="none" spc="0" normalizeH="0" baseline="0" noProof="0">
                <a:ln>
                  <a:noFill/>
                </a:ln>
                <a:solidFill>
                  <a:srgbClr val="131313"/>
                </a:solidFill>
                <a:effectLst/>
                <a:uLnTx/>
                <a:uFillTx/>
                <a:latin typeface="Aptos"/>
                <a:ea typeface="+mn-ea"/>
                <a:cs typeface="+mn-cs"/>
              </a:rPr>
              <a:t> </a:t>
            </a:r>
            <a:r>
              <a:rPr kumimoji="0" lang="en-US" sz="1200" b="0" i="0" u="none" strike="noStrike" kern="1200" cap="none" spc="0" normalizeH="0" baseline="0" noProof="0" err="1">
                <a:ln>
                  <a:noFill/>
                </a:ln>
                <a:solidFill>
                  <a:srgbClr val="131313"/>
                </a:solidFill>
                <a:effectLst/>
                <a:uLnTx/>
                <a:uFillTx/>
                <a:latin typeface="Aptos"/>
                <a:ea typeface="+mn-ea"/>
                <a:cs typeface="+mn-cs"/>
              </a:rPr>
              <a:t>keinen</a:t>
            </a:r>
            <a:r>
              <a:rPr kumimoji="0" lang="en-US" sz="1200" b="0" i="0" u="none" strike="noStrike" kern="1200" cap="none" spc="0" normalizeH="0" baseline="0" noProof="0">
                <a:ln>
                  <a:noFill/>
                </a:ln>
                <a:solidFill>
                  <a:srgbClr val="131313"/>
                </a:solidFill>
                <a:effectLst/>
                <a:uLnTx/>
                <a:uFillTx/>
                <a:latin typeface="Aptos"/>
                <a:ea typeface="+mn-ea"/>
                <a:cs typeface="+mn-cs"/>
              </a:rPr>
              <a:t> </a:t>
            </a:r>
            <a:r>
              <a:rPr kumimoji="0" lang="en-US" sz="1200" b="0" i="0" u="none" strike="noStrike" kern="1200" cap="none" spc="0" normalizeH="0" baseline="0" noProof="0" err="1">
                <a:ln>
                  <a:noFill/>
                </a:ln>
                <a:solidFill>
                  <a:srgbClr val="131313"/>
                </a:solidFill>
                <a:effectLst/>
                <a:uLnTx/>
                <a:uFillTx/>
                <a:latin typeface="Aptos"/>
                <a:ea typeface="+mn-ea"/>
                <a:cs typeface="+mn-cs"/>
              </a:rPr>
              <a:t>Einfluss</a:t>
            </a:r>
            <a:r>
              <a:rPr kumimoji="0" lang="en-US" sz="1200" b="0" i="0" u="none" strike="noStrike" kern="1200" cap="none" spc="0" normalizeH="0" baseline="0" noProof="0">
                <a:ln>
                  <a:noFill/>
                </a:ln>
                <a:solidFill>
                  <a:srgbClr val="131313"/>
                </a:solidFill>
                <a:effectLst/>
                <a:uLnTx/>
                <a:uFillTx/>
                <a:latin typeface="Aptos"/>
                <a:ea typeface="+mn-ea"/>
                <a:cs typeface="+mn-cs"/>
              </a:rPr>
              <a:t> auf die </a:t>
            </a:r>
            <a:r>
              <a:rPr kumimoji="0" lang="en-US" sz="1200" b="0" i="0" u="none" strike="noStrike" kern="1200" cap="none" spc="0" normalizeH="0" baseline="0" noProof="0" err="1">
                <a:ln>
                  <a:noFill/>
                </a:ln>
                <a:solidFill>
                  <a:srgbClr val="131313"/>
                </a:solidFill>
                <a:effectLst/>
                <a:uLnTx/>
                <a:uFillTx/>
                <a:latin typeface="Aptos"/>
                <a:ea typeface="+mn-ea"/>
                <a:cs typeface="+mn-cs"/>
              </a:rPr>
              <a:t>Testdurchführung</a:t>
            </a:r>
            <a:r>
              <a:rPr kumimoji="0" lang="en-US" sz="1200" b="0" i="0" u="none" strike="noStrike" kern="1200" cap="none" spc="0" normalizeH="0" baseline="0" noProof="0">
                <a:ln>
                  <a:noFill/>
                </a:ln>
                <a:solidFill>
                  <a:srgbClr val="131313"/>
                </a:solidFill>
                <a:effectLst/>
                <a:uLnTx/>
                <a:uFillTx/>
                <a:latin typeface="Aptos"/>
                <a:ea typeface="+mn-ea"/>
                <a:cs typeface="+mn-cs"/>
              </a:rPr>
              <a:t> </a:t>
            </a:r>
            <a:r>
              <a:rPr kumimoji="0" lang="en-US" sz="1200" b="0" i="0" u="none" strike="noStrike" kern="1200" cap="none" spc="0" normalizeH="0" baseline="0" noProof="0" err="1">
                <a:ln>
                  <a:noFill/>
                </a:ln>
                <a:solidFill>
                  <a:srgbClr val="131313"/>
                </a:solidFill>
                <a:effectLst/>
                <a:uLnTx/>
                <a:uFillTx/>
                <a:latin typeface="Aptos"/>
                <a:ea typeface="+mn-ea"/>
                <a:cs typeface="+mn-cs"/>
              </a:rPr>
              <a:t>haben</a:t>
            </a:r>
            <a:endParaRPr kumimoji="0" lang="en-US" sz="1200" b="0" i="0" u="none" strike="noStrike" kern="1200" cap="none" spc="0" normalizeH="0" baseline="0" noProof="0">
              <a:ln>
                <a:noFill/>
              </a:ln>
              <a:solidFill>
                <a:srgbClr val="131313"/>
              </a:solidFill>
              <a:effectLst/>
              <a:uLnTx/>
              <a:uFillTx/>
              <a:latin typeface="Aptos"/>
              <a:ea typeface="+mn-ea"/>
              <a:cs typeface="+mn-cs"/>
            </a:endParaRPr>
          </a:p>
        </p:txBody>
      </p:sp>
      <p:sp>
        <p:nvSpPr>
          <p:cNvPr id="28" name="Textfeld 27">
            <a:extLst>
              <a:ext uri="{FF2B5EF4-FFF2-40B4-BE49-F238E27FC236}">
                <a16:creationId xmlns:a16="http://schemas.microsoft.com/office/drawing/2014/main" id="{6C424FDA-BD03-DA46-3851-DB2C06B000F4}"/>
              </a:ext>
            </a:extLst>
          </p:cNvPr>
          <p:cNvSpPr txBox="1"/>
          <p:nvPr>
            <p:custDataLst>
              <p:tags r:id="rId3"/>
            </p:custDataLst>
          </p:nvPr>
        </p:nvSpPr>
        <p:spPr>
          <a:xfrm>
            <a:off x="653195" y="4148821"/>
            <a:ext cx="4012513" cy="1927896"/>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marL="0" marR="0" lvl="0" indent="0" algn="l" defTabSz="914400" rtl="0" eaLnBrk="1" fontAlgn="auto" latinLnBrk="0" hangingPunct="1">
              <a:lnSpc>
                <a:spcPct val="100000"/>
              </a:lnSpc>
              <a:spcBef>
                <a:spcPts val="0"/>
              </a:spcBef>
              <a:spcAft>
                <a:spcPts val="400"/>
              </a:spcAft>
              <a:buClrTx/>
              <a:buSzTx/>
              <a:buFont typeface="Wingdings" panose="05000000000000000000" pitchFamily="2" charset="2"/>
              <a:buNone/>
              <a:tabLst/>
              <a:defRPr/>
            </a:pPr>
            <a:r>
              <a:rPr kumimoji="0" lang="de-DE" sz="1400" b="1" i="0" u="none" strike="noStrike" kern="1200" cap="none" spc="0" normalizeH="0" baseline="0" noProof="0">
                <a:ln>
                  <a:noFill/>
                </a:ln>
                <a:solidFill>
                  <a:prstClr val="black"/>
                </a:solidFill>
                <a:effectLst/>
                <a:uLnTx/>
                <a:uFillTx/>
                <a:latin typeface="Aptos"/>
                <a:ea typeface="+mn-ea"/>
                <a:cs typeface="+mn-cs"/>
              </a:rPr>
              <a:t>Unser Angebot</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de-DE" sz="1200" b="0" i="0" u="none" strike="noStrike" kern="1200" cap="none" spc="0" normalizeH="0" baseline="0" noProof="0">
                <a:ln>
                  <a:noFill/>
                </a:ln>
                <a:solidFill>
                  <a:srgbClr val="131313"/>
                </a:solidFill>
                <a:effectLst/>
                <a:uLnTx/>
                <a:uFillTx/>
                <a:latin typeface="Aptos"/>
                <a:ea typeface="+mn-ea"/>
                <a:cs typeface="+mn-cs"/>
              </a:rPr>
              <a:t>Testfallbeschreibung in natürlicher Sprache</a:t>
            </a:r>
            <a:br>
              <a:rPr kumimoji="0" lang="de-DE" sz="1200" b="0" i="0" u="none" strike="noStrike" kern="1200" cap="none" spc="0" normalizeH="0" baseline="0" noProof="0">
                <a:ln>
                  <a:noFill/>
                </a:ln>
                <a:solidFill>
                  <a:srgbClr val="131313"/>
                </a:solidFill>
                <a:effectLst/>
                <a:uLnTx/>
                <a:uFillTx/>
                <a:latin typeface="Aptos"/>
                <a:ea typeface="+mn-ea"/>
                <a:cs typeface="+mn-cs"/>
              </a:rPr>
            </a:br>
            <a:r>
              <a:rPr kumimoji="0" lang="de-DE" sz="1200" b="0" i="0" u="none" strike="noStrike" kern="1200" cap="none" spc="0" normalizeH="0" baseline="0" noProof="0">
                <a:ln>
                  <a:noFill/>
                </a:ln>
                <a:solidFill>
                  <a:srgbClr val="131313"/>
                </a:solidFill>
                <a:effectLst/>
                <a:uLnTx/>
                <a:uFillTx/>
                <a:latin typeface="Aptos"/>
                <a:ea typeface="+mn-ea"/>
                <a:cs typeface="+mn-cs"/>
              </a:rPr>
              <a:t>kein technisches Wissen und keinen Test-Code</a:t>
            </a:r>
            <a:endParaRPr kumimoji="0" lang="de-DE" sz="1600" b="0" i="0" u="none" strike="noStrike" kern="1200" cap="none" spc="0" normalizeH="0" baseline="0" noProof="0">
              <a:ln>
                <a:noFill/>
              </a:ln>
              <a:solidFill>
                <a:prstClr val="black"/>
              </a:solidFill>
              <a:effectLst/>
              <a:uLnTx/>
              <a:uFillTx/>
              <a:latin typeface="Aptos"/>
              <a:ea typeface="+mn-ea"/>
              <a:cs typeface="+mn-cs"/>
            </a:endParaRP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de-DE" sz="1200" b="0" i="0" u="none" strike="noStrike" kern="1200" cap="none" spc="0" normalizeH="0" baseline="0" noProof="0">
                <a:ln>
                  <a:noFill/>
                </a:ln>
                <a:solidFill>
                  <a:srgbClr val="131313"/>
                </a:solidFill>
                <a:effectLst/>
                <a:uLnTx/>
                <a:uFillTx/>
                <a:latin typeface="Aptos"/>
                <a:ea typeface="+mn-ea"/>
                <a:cs typeface="+mn-cs"/>
              </a:rPr>
              <a:t>Resiliente Testfälle gegenüber UI-Änderungen</a:t>
            </a:r>
            <a:endParaRPr kumimoji="0" lang="de-DE" sz="1600" b="0" i="0" u="none" strike="noStrike" kern="1200" cap="none" spc="0" normalizeH="0" baseline="0" noProof="0">
              <a:ln>
                <a:noFill/>
              </a:ln>
              <a:solidFill>
                <a:srgbClr val="000000"/>
              </a:solidFill>
              <a:effectLst/>
              <a:uLnTx/>
              <a:uFillTx/>
              <a:latin typeface="Aptos"/>
              <a:ea typeface="+mn-ea"/>
              <a:cs typeface="+mn-cs"/>
            </a:endParaRP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de-DE" sz="1200" b="0" i="0" u="none" strike="noStrike" kern="1200" cap="none" spc="0" normalizeH="0" baseline="0" noProof="0">
                <a:ln>
                  <a:noFill/>
                </a:ln>
                <a:solidFill>
                  <a:srgbClr val="131313"/>
                </a:solidFill>
                <a:effectLst/>
                <a:uLnTx/>
                <a:uFillTx/>
                <a:latin typeface="Aptos"/>
                <a:ea typeface="+mn-ea"/>
                <a:cs typeface="+mn-cs"/>
              </a:rPr>
              <a:t>KI interpretiert Testfälle, führt den Testfall durch </a:t>
            </a:r>
            <a:br>
              <a:rPr kumimoji="0" lang="de-DE" sz="1200" b="0" i="0" u="none" strike="noStrike" kern="1200" cap="none" spc="0" normalizeH="0" baseline="0" noProof="0">
                <a:ln>
                  <a:noFill/>
                </a:ln>
                <a:solidFill>
                  <a:srgbClr val="131313"/>
                </a:solidFill>
                <a:effectLst/>
                <a:uLnTx/>
                <a:uFillTx/>
                <a:latin typeface="Aptos"/>
                <a:ea typeface="+mn-ea"/>
                <a:cs typeface="+mn-cs"/>
              </a:rPr>
            </a:br>
            <a:r>
              <a:rPr kumimoji="0" lang="de-DE" sz="1200" b="0" i="0" u="none" strike="noStrike" kern="1200" cap="none" spc="0" normalizeH="0" baseline="0" noProof="0">
                <a:ln>
                  <a:noFill/>
                </a:ln>
                <a:solidFill>
                  <a:srgbClr val="131313"/>
                </a:solidFill>
                <a:effectLst/>
                <a:uLnTx/>
                <a:uFillTx/>
                <a:latin typeface="Aptos"/>
                <a:ea typeface="+mn-ea"/>
                <a:cs typeface="+mn-cs"/>
              </a:rPr>
              <a:t>und liefert anschließend eine Interpretation der Testergebnisse auf fachlicher Ebene </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endParaRPr kumimoji="0" lang="de-DE" sz="1200" b="0" i="0" u="none" strike="noStrike" kern="1200" cap="none" spc="0" normalizeH="0" baseline="0" noProof="0">
              <a:ln>
                <a:noFill/>
              </a:ln>
              <a:solidFill>
                <a:srgbClr val="131313"/>
              </a:solidFill>
              <a:effectLst/>
              <a:uLnTx/>
              <a:uFillTx/>
              <a:latin typeface="Aptos"/>
              <a:ea typeface="+mn-ea"/>
              <a:cs typeface="+mn-cs"/>
            </a:endParaRPr>
          </a:p>
        </p:txBody>
      </p:sp>
      <p:sp>
        <p:nvSpPr>
          <p:cNvPr id="30" name="Textfeld 29">
            <a:extLst>
              <a:ext uri="{FF2B5EF4-FFF2-40B4-BE49-F238E27FC236}">
                <a16:creationId xmlns:a16="http://schemas.microsoft.com/office/drawing/2014/main" id="{3BAF8674-2A5B-9674-C333-C65A2B8E2EF5}"/>
              </a:ext>
            </a:extLst>
          </p:cNvPr>
          <p:cNvSpPr txBox="1"/>
          <p:nvPr>
            <p:custDataLst>
              <p:tags r:id="rId4"/>
            </p:custDataLst>
          </p:nvPr>
        </p:nvSpPr>
        <p:spPr>
          <a:xfrm>
            <a:off x="5227129" y="4148821"/>
            <a:ext cx="3778873" cy="91440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marL="0" marR="0" lvl="0" indent="0" algn="l" defTabSz="914400" rtl="0" eaLnBrk="1" fontAlgn="auto" latinLnBrk="0" hangingPunct="1">
              <a:lnSpc>
                <a:spcPct val="100000"/>
              </a:lnSpc>
              <a:spcBef>
                <a:spcPts val="0"/>
              </a:spcBef>
              <a:spcAft>
                <a:spcPts val="400"/>
              </a:spcAft>
              <a:buClrTx/>
              <a:buSzTx/>
              <a:buFont typeface="Wingdings" panose="05000000000000000000" pitchFamily="2" charset="2"/>
              <a:buNone/>
              <a:tabLst/>
              <a:defRPr/>
            </a:pPr>
            <a:r>
              <a:rPr kumimoji="0" lang="de-DE" sz="1400" b="1" i="0" u="none" strike="noStrike" kern="1200" cap="none" spc="0" normalizeH="0" baseline="0" noProof="0">
                <a:ln>
                  <a:noFill/>
                </a:ln>
                <a:solidFill>
                  <a:prstClr val="black"/>
                </a:solidFill>
                <a:effectLst/>
                <a:uLnTx/>
                <a:uFillTx/>
                <a:latin typeface="Aptos"/>
                <a:ea typeface="+mn-ea"/>
                <a:cs typeface="+mn-cs"/>
              </a:rPr>
              <a:t>Unsere Partner und Referenzen</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de-DE" sz="1200" b="0" i="0" u="none" strike="noStrike" kern="1200" cap="none" spc="0" normalizeH="0" baseline="0" noProof="0">
                <a:ln>
                  <a:noFill/>
                </a:ln>
                <a:solidFill>
                  <a:prstClr val="black"/>
                </a:solidFill>
                <a:effectLst/>
                <a:uLnTx/>
                <a:uFillTx/>
                <a:latin typeface="Aptos"/>
                <a:ea typeface="+mn-ea"/>
                <a:cs typeface="+mn-cs"/>
              </a:rPr>
              <a:t>Ausgewählte Kunden: </a:t>
            </a:r>
            <a:br>
              <a:rPr kumimoji="0" lang="de-DE" sz="1200" b="0" i="0" u="none" strike="noStrike" kern="1200" cap="none" spc="0" normalizeH="0" baseline="0" noProof="0">
                <a:ln>
                  <a:noFill/>
                </a:ln>
                <a:solidFill>
                  <a:prstClr val="black"/>
                </a:solidFill>
                <a:effectLst/>
                <a:uLnTx/>
                <a:uFillTx/>
                <a:latin typeface="Aptos"/>
                <a:ea typeface="+mn-ea"/>
                <a:cs typeface="+mn-cs"/>
              </a:rPr>
            </a:br>
            <a:r>
              <a:rPr kumimoji="0" lang="de-DE" sz="1200" b="0" i="0" u="none" strike="noStrike" kern="1200" cap="none" spc="0" normalizeH="0" baseline="0" noProof="0">
                <a:ln>
                  <a:noFill/>
                </a:ln>
                <a:solidFill>
                  <a:prstClr val="black"/>
                </a:solidFill>
                <a:effectLst/>
                <a:uLnTx/>
                <a:uFillTx/>
                <a:latin typeface="Aptos"/>
                <a:ea typeface="+mn-ea"/>
                <a:cs typeface="+mn-cs"/>
              </a:rPr>
              <a:t>Porsche, Mercedes-Benz, MAN</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de-DE" sz="1200" b="0" i="0" u="none" strike="noStrike" kern="1200" cap="none" spc="0" normalizeH="0" baseline="0" noProof="0">
                <a:ln>
                  <a:noFill/>
                </a:ln>
                <a:solidFill>
                  <a:srgbClr val="131313"/>
                </a:solidFill>
                <a:effectLst/>
                <a:uLnTx/>
                <a:uFillTx/>
                <a:latin typeface="Aptos"/>
                <a:ea typeface="+mn-ea"/>
                <a:cs typeface="+mn-cs"/>
              </a:rPr>
              <a:t>Im vielen Geschäftsbereichen der </a:t>
            </a:r>
            <a:r>
              <a:rPr kumimoji="0" lang="de-DE" sz="1200" b="0" i="0" u="none" strike="noStrike" kern="1200" cap="none" spc="0" normalizeH="0" baseline="0" noProof="0" err="1">
                <a:ln>
                  <a:noFill/>
                </a:ln>
                <a:solidFill>
                  <a:srgbClr val="131313"/>
                </a:solidFill>
                <a:effectLst/>
                <a:uLnTx/>
                <a:uFillTx/>
                <a:latin typeface="Aptos"/>
                <a:ea typeface="+mn-ea"/>
                <a:cs typeface="+mn-cs"/>
              </a:rPr>
              <a:t>msg</a:t>
            </a:r>
            <a:r>
              <a:rPr kumimoji="0" lang="de-DE" sz="1200" b="0" i="0" u="none" strike="noStrike" kern="1200" cap="none" spc="0" normalizeH="0" baseline="0" noProof="0">
                <a:ln>
                  <a:noFill/>
                </a:ln>
                <a:solidFill>
                  <a:srgbClr val="131313"/>
                </a:solidFill>
                <a:effectLst/>
                <a:uLnTx/>
                <a:uFillTx/>
                <a:latin typeface="Aptos"/>
                <a:ea typeface="+mn-ea"/>
                <a:cs typeface="+mn-cs"/>
              </a:rPr>
              <a:t> setzen wir </a:t>
            </a:r>
            <a:r>
              <a:rPr kumimoji="0" lang="de-DE" sz="1200" b="0" i="0" u="none" strike="noStrike" kern="1200" cap="none" spc="0" normalizeH="0" baseline="0" noProof="0" err="1">
                <a:ln>
                  <a:noFill/>
                </a:ln>
                <a:solidFill>
                  <a:srgbClr val="131313"/>
                </a:solidFill>
                <a:effectLst/>
                <a:uLnTx/>
                <a:uFillTx/>
                <a:latin typeface="Aptos"/>
                <a:ea typeface="+mn-ea"/>
                <a:cs typeface="+mn-cs"/>
              </a:rPr>
              <a:t>msg.ZenTestAI</a:t>
            </a:r>
            <a:r>
              <a:rPr kumimoji="0" lang="de-DE" sz="1200" b="0" i="0" u="none" strike="noStrike" kern="1200" cap="none" spc="0" normalizeH="0" baseline="0" noProof="0">
                <a:ln>
                  <a:noFill/>
                </a:ln>
                <a:solidFill>
                  <a:srgbClr val="131313"/>
                </a:solidFill>
                <a:effectLst/>
                <a:uLnTx/>
                <a:uFillTx/>
                <a:latin typeface="Aptos"/>
                <a:ea typeface="+mn-ea"/>
                <a:cs typeface="+mn-cs"/>
              </a:rPr>
              <a:t> bereits in Kundenprojekten ein, um die Softwarequalität zu maximieren und die Abläufe beim Testen zu beschleunigen</a:t>
            </a:r>
            <a:endParaRPr kumimoji="0" lang="de-DE" sz="1200" b="0" i="0" u="none" strike="noStrike" kern="1200" cap="none" spc="0" normalizeH="0" baseline="0" noProof="0">
              <a:ln>
                <a:noFill/>
              </a:ln>
              <a:solidFill>
                <a:srgbClr val="000000"/>
              </a:solidFill>
              <a:effectLst/>
              <a:uLnTx/>
              <a:uFillTx/>
              <a:latin typeface="Aptos"/>
              <a:ea typeface="+mn-ea"/>
              <a:cs typeface="+mn-cs"/>
            </a:endParaRPr>
          </a:p>
        </p:txBody>
      </p:sp>
      <p:grpSp>
        <p:nvGrpSpPr>
          <p:cNvPr id="2" name="Gruppieren 1">
            <a:extLst>
              <a:ext uri="{FF2B5EF4-FFF2-40B4-BE49-F238E27FC236}">
                <a16:creationId xmlns:a16="http://schemas.microsoft.com/office/drawing/2014/main" id="{FE85F039-7F43-BCF6-A459-6ED6E870C9DD}"/>
              </a:ext>
            </a:extLst>
          </p:cNvPr>
          <p:cNvGrpSpPr/>
          <p:nvPr/>
        </p:nvGrpSpPr>
        <p:grpSpPr>
          <a:xfrm>
            <a:off x="4138804" y="1771450"/>
            <a:ext cx="703694" cy="703694"/>
            <a:chOff x="3460071" y="1779904"/>
            <a:chExt cx="869145" cy="869145"/>
          </a:xfrm>
        </p:grpSpPr>
        <p:sp>
          <p:nvSpPr>
            <p:cNvPr id="3" name="Kreis: nicht ausgefüllt 2">
              <a:extLst>
                <a:ext uri="{FF2B5EF4-FFF2-40B4-BE49-F238E27FC236}">
                  <a16:creationId xmlns:a16="http://schemas.microsoft.com/office/drawing/2014/main" id="{1B9DDB02-C18A-5E53-535A-482D44DE11D3}"/>
                </a:ext>
              </a:extLst>
            </p:cNvPr>
            <p:cNvSpPr/>
            <p:nvPr>
              <p:custDataLst>
                <p:tags r:id="rId8"/>
              </p:custDataLst>
            </p:nvPr>
          </p:nvSpPr>
          <p:spPr>
            <a:xfrm>
              <a:off x="3460071"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prstClr val="white"/>
                </a:solidFill>
                <a:effectLst/>
                <a:uLnTx/>
                <a:uFillTx/>
                <a:latin typeface="Aptos"/>
                <a:ea typeface="+mn-ea"/>
                <a:cs typeface="+mn-cs"/>
              </a:endParaRPr>
            </a:p>
          </p:txBody>
        </p:sp>
        <p:pic>
          <p:nvPicPr>
            <p:cNvPr id="23" name="Grafik 22">
              <a:extLst>
                <a:ext uri="{FF2B5EF4-FFF2-40B4-BE49-F238E27FC236}">
                  <a16:creationId xmlns:a16="http://schemas.microsoft.com/office/drawing/2014/main" id="{77C7ED1F-095F-007B-22F1-4CD898911A58}"/>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3496632" y="1796942"/>
              <a:ext cx="809625" cy="809625"/>
            </a:xfrm>
            <a:prstGeom prst="rect">
              <a:avLst/>
            </a:prstGeom>
          </p:spPr>
        </p:pic>
      </p:grpSp>
      <p:grpSp>
        <p:nvGrpSpPr>
          <p:cNvPr id="25" name="Gruppieren 24">
            <a:extLst>
              <a:ext uri="{FF2B5EF4-FFF2-40B4-BE49-F238E27FC236}">
                <a16:creationId xmlns:a16="http://schemas.microsoft.com/office/drawing/2014/main" id="{FCC58B50-BBA0-95EA-8765-94066382C872}"/>
              </a:ext>
            </a:extLst>
          </p:cNvPr>
          <p:cNvGrpSpPr/>
          <p:nvPr/>
        </p:nvGrpSpPr>
        <p:grpSpPr>
          <a:xfrm>
            <a:off x="8760781" y="3962652"/>
            <a:ext cx="703694" cy="703694"/>
            <a:chOff x="8575325" y="4111833"/>
            <a:chExt cx="869145" cy="869145"/>
          </a:xfrm>
        </p:grpSpPr>
        <p:sp>
          <p:nvSpPr>
            <p:cNvPr id="27" name="Kreis: nicht ausgefüllt 26">
              <a:extLst>
                <a:ext uri="{FF2B5EF4-FFF2-40B4-BE49-F238E27FC236}">
                  <a16:creationId xmlns:a16="http://schemas.microsoft.com/office/drawing/2014/main" id="{183F3CC4-EE9D-1BC8-D6B2-9856F34716E5}"/>
                </a:ext>
              </a:extLst>
            </p:cNvPr>
            <p:cNvSpPr/>
            <p:nvPr>
              <p:custDataLst>
                <p:tags r:id="rId7"/>
              </p:custDataLst>
            </p:nvPr>
          </p:nvSpPr>
          <p:spPr>
            <a:xfrm>
              <a:off x="8575325"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prstClr val="white"/>
                </a:solidFill>
                <a:effectLst/>
                <a:uLnTx/>
                <a:uFillTx/>
                <a:latin typeface="Aptos"/>
                <a:ea typeface="+mn-ea"/>
                <a:cs typeface="+mn-cs"/>
              </a:endParaRPr>
            </a:p>
          </p:txBody>
        </p:sp>
        <p:pic>
          <p:nvPicPr>
            <p:cNvPr id="29" name="Grafik 28">
              <a:extLst>
                <a:ext uri="{FF2B5EF4-FFF2-40B4-BE49-F238E27FC236}">
                  <a16:creationId xmlns:a16="http://schemas.microsoft.com/office/drawing/2014/main" id="{1DF64008-E182-A007-7C69-099CD45628B8}"/>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8608010" y="4171353"/>
              <a:ext cx="809625" cy="809625"/>
            </a:xfrm>
            <a:prstGeom prst="rect">
              <a:avLst/>
            </a:prstGeom>
          </p:spPr>
        </p:pic>
      </p:grpSp>
      <p:grpSp>
        <p:nvGrpSpPr>
          <p:cNvPr id="31" name="Gruppieren 30">
            <a:extLst>
              <a:ext uri="{FF2B5EF4-FFF2-40B4-BE49-F238E27FC236}">
                <a16:creationId xmlns:a16="http://schemas.microsoft.com/office/drawing/2014/main" id="{73CC56E8-EB78-F887-A1BD-981B525B023A}"/>
              </a:ext>
            </a:extLst>
          </p:cNvPr>
          <p:cNvGrpSpPr/>
          <p:nvPr/>
        </p:nvGrpSpPr>
        <p:grpSpPr>
          <a:xfrm>
            <a:off x="4138804" y="3962652"/>
            <a:ext cx="703694" cy="703694"/>
            <a:chOff x="3460071" y="4111833"/>
            <a:chExt cx="869145" cy="869145"/>
          </a:xfrm>
        </p:grpSpPr>
        <p:sp>
          <p:nvSpPr>
            <p:cNvPr id="32" name="Kreis: nicht ausgefüllt 31">
              <a:extLst>
                <a:ext uri="{FF2B5EF4-FFF2-40B4-BE49-F238E27FC236}">
                  <a16:creationId xmlns:a16="http://schemas.microsoft.com/office/drawing/2014/main" id="{F8C2E6AD-73E0-105E-9B08-8F44ACA37EE1}"/>
                </a:ext>
              </a:extLst>
            </p:cNvPr>
            <p:cNvSpPr/>
            <p:nvPr>
              <p:custDataLst>
                <p:tags r:id="rId6"/>
              </p:custDataLst>
            </p:nvPr>
          </p:nvSpPr>
          <p:spPr>
            <a:xfrm>
              <a:off x="3460071"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prstClr val="white"/>
                </a:solidFill>
                <a:effectLst/>
                <a:uLnTx/>
                <a:uFillTx/>
                <a:latin typeface="Aptos"/>
                <a:ea typeface="+mn-ea"/>
                <a:cs typeface="+mn-cs"/>
              </a:endParaRPr>
            </a:p>
          </p:txBody>
        </p:sp>
        <p:pic>
          <p:nvPicPr>
            <p:cNvPr id="33" name="Grafik 32">
              <a:extLst>
                <a:ext uri="{FF2B5EF4-FFF2-40B4-BE49-F238E27FC236}">
                  <a16:creationId xmlns:a16="http://schemas.microsoft.com/office/drawing/2014/main" id="{A310229D-564C-52B3-1116-29F1D56609AA}"/>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89830" y="4141593"/>
              <a:ext cx="809625" cy="809625"/>
            </a:xfrm>
            <a:prstGeom prst="rect">
              <a:avLst/>
            </a:prstGeom>
          </p:spPr>
        </p:pic>
      </p:grpSp>
      <p:grpSp>
        <p:nvGrpSpPr>
          <p:cNvPr id="34" name="Gruppieren 33">
            <a:extLst>
              <a:ext uri="{FF2B5EF4-FFF2-40B4-BE49-F238E27FC236}">
                <a16:creationId xmlns:a16="http://schemas.microsoft.com/office/drawing/2014/main" id="{55C961FD-9BF6-E712-FF5A-6334F73B1C56}"/>
              </a:ext>
            </a:extLst>
          </p:cNvPr>
          <p:cNvGrpSpPr/>
          <p:nvPr/>
        </p:nvGrpSpPr>
        <p:grpSpPr>
          <a:xfrm>
            <a:off x="8760780" y="1771450"/>
            <a:ext cx="703694" cy="703694"/>
            <a:chOff x="7459565" y="1779904"/>
            <a:chExt cx="869145" cy="869145"/>
          </a:xfrm>
        </p:grpSpPr>
        <p:sp>
          <p:nvSpPr>
            <p:cNvPr id="35" name="Kreis: nicht ausgefüllt 34">
              <a:extLst>
                <a:ext uri="{FF2B5EF4-FFF2-40B4-BE49-F238E27FC236}">
                  <a16:creationId xmlns:a16="http://schemas.microsoft.com/office/drawing/2014/main" id="{1421D06D-E2FE-1C24-92FD-D6D2243964B2}"/>
                </a:ext>
              </a:extLst>
            </p:cNvPr>
            <p:cNvSpPr/>
            <p:nvPr>
              <p:custDataLst>
                <p:tags r:id="rId5"/>
              </p:custDataLst>
            </p:nvPr>
          </p:nvSpPr>
          <p:spPr>
            <a:xfrm>
              <a:off x="7459565"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prstClr val="white"/>
                </a:solidFill>
                <a:effectLst/>
                <a:uLnTx/>
                <a:uFillTx/>
                <a:latin typeface="Aptos"/>
                <a:ea typeface="+mn-ea"/>
                <a:cs typeface="+mn-cs"/>
              </a:endParaRPr>
            </a:p>
          </p:txBody>
        </p:sp>
        <p:pic>
          <p:nvPicPr>
            <p:cNvPr id="36" name="Grafik 35">
              <a:extLst>
                <a:ext uri="{FF2B5EF4-FFF2-40B4-BE49-F238E27FC236}">
                  <a16:creationId xmlns:a16="http://schemas.microsoft.com/office/drawing/2014/main" id="{A663EB6A-6BDE-FA00-D950-C3E855B1671C}"/>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7493685" y="1797686"/>
              <a:ext cx="809625" cy="809625"/>
            </a:xfrm>
            <a:prstGeom prst="rect">
              <a:avLst/>
            </a:prstGeom>
          </p:spPr>
        </p:pic>
      </p:grpSp>
      <p:pic>
        <p:nvPicPr>
          <p:cNvPr id="7" name="Picture 6">
            <a:extLst>
              <a:ext uri="{FF2B5EF4-FFF2-40B4-BE49-F238E27FC236}">
                <a16:creationId xmlns:a16="http://schemas.microsoft.com/office/drawing/2014/main" id="{CCC48615-0EE1-3CC2-DD0F-DD2E2906DAEB}"/>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10003577" y="2241550"/>
            <a:ext cx="1864949" cy="326489"/>
          </a:xfrm>
          <a:prstGeom prst="rect">
            <a:avLst/>
          </a:prstGeom>
        </p:spPr>
      </p:pic>
      <p:cxnSp>
        <p:nvCxnSpPr>
          <p:cNvPr id="6" name="Gerader Verbinder 19">
            <a:extLst>
              <a:ext uri="{FF2B5EF4-FFF2-40B4-BE49-F238E27FC236}">
                <a16:creationId xmlns:a16="http://schemas.microsoft.com/office/drawing/2014/main" id="{01E40D47-631F-398A-BE57-11BC963B7772}"/>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1649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694A1D-F91B-27B6-604A-C321048E2279}"/>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3138E04-06E6-4339-AA1A-B15E5E3D4EA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2" imgW="7772400" imgH="10058400" progId="TCLayout.ActiveDocument.1">
                  <p:embed/>
                </p:oleObj>
              </mc:Choice>
              <mc:Fallback>
                <p:oleObj name="think-cell Folie" r:id="rId12" imgW="7772400" imgH="10058400" progId="TCLayout.ActiveDocument.1">
                  <p:embed/>
                  <p:pic>
                    <p:nvPicPr>
                      <p:cNvPr id="11" name="think-cell data - do not delete" hidden="1">
                        <a:extLst>
                          <a:ext uri="{FF2B5EF4-FFF2-40B4-BE49-F238E27FC236}">
                            <a16:creationId xmlns:a16="http://schemas.microsoft.com/office/drawing/2014/main" id="{63138E04-06E6-4339-AA1A-B15E5E3D4EAC}"/>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
        <p:nvSpPr>
          <p:cNvPr id="8" name="Rechteck: diagonal liegende Ecken abgerundet 7">
            <a:extLst>
              <a:ext uri="{FF2B5EF4-FFF2-40B4-BE49-F238E27FC236}">
                <a16:creationId xmlns:a16="http://schemas.microsoft.com/office/drawing/2014/main" id="{CC8F44EB-B394-A24A-D839-3B0E739A1152}"/>
              </a:ext>
            </a:extLst>
          </p:cNvPr>
          <p:cNvSpPr/>
          <p:nvPr/>
        </p:nvSpPr>
        <p:spPr>
          <a:xfrm>
            <a:off x="9671370" y="1781092"/>
            <a:ext cx="2685600" cy="4311733"/>
          </a:xfrm>
          <a:prstGeom prst="round2DiagRect">
            <a:avLst>
              <a:gd name="adj1" fmla="val 0"/>
              <a:gd name="adj2" fmla="val 4143"/>
            </a:avLst>
          </a:prstGeom>
          <a:blipFill>
            <a:blip r:embed="rId1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de-DE" sz="1200" b="1">
                <a:ea typeface="+mn-lt"/>
                <a:cs typeface="+mn-lt"/>
              </a:rPr>
              <a:t>Ansprechpartner</a:t>
            </a:r>
            <a:endParaRPr lang="en-US" sz="1200" b="1"/>
          </a:p>
          <a:p>
            <a:endParaRPr lang="de-DE" sz="1200">
              <a:ea typeface="+mn-lt"/>
              <a:cs typeface="+mn-lt"/>
            </a:endParaRPr>
          </a:p>
          <a:p>
            <a:r>
              <a:rPr lang="de-DE" sz="1200">
                <a:ea typeface="+mn-lt"/>
                <a:cs typeface="+mn-lt"/>
              </a:rPr>
              <a:t>Alexander Martin-Boes</a:t>
            </a:r>
            <a:endParaRPr lang="de-DE" sz="1200"/>
          </a:p>
          <a:p>
            <a:r>
              <a:rPr lang="de-DE" sz="1200">
                <a:ea typeface="+mn-lt"/>
                <a:cs typeface="+mn-lt"/>
              </a:rPr>
              <a:t>+49 151 2300 1897</a:t>
            </a:r>
            <a:endParaRPr lang="de-DE"/>
          </a:p>
          <a:p>
            <a:r>
              <a:rPr lang="de-DE" sz="1200" err="1">
                <a:ea typeface="+mn-lt"/>
                <a:cs typeface="+mn-lt"/>
              </a:rPr>
              <a:t>alexander.martin-boes@lpp.eu</a:t>
            </a:r>
            <a:endParaRPr lang="de-DE" sz="1200">
              <a:ea typeface="+mn-lt"/>
              <a:cs typeface="+mn-lt"/>
            </a:endParaRPr>
          </a:p>
          <a:p>
            <a:endParaRPr lang="de-DE" sz="1200">
              <a:ea typeface="+mn-lt"/>
              <a:cs typeface="+mn-lt"/>
            </a:endParaRPr>
          </a:p>
          <a:p>
            <a:r>
              <a:rPr lang="de-DE" sz="1200">
                <a:ea typeface="+mn-lt"/>
                <a:cs typeface="+mn-lt"/>
              </a:rPr>
              <a:t>Dr. Ralph Altenburger</a:t>
            </a:r>
          </a:p>
          <a:p>
            <a:r>
              <a:rPr lang="de-DE" sz="1200">
                <a:ea typeface="+mn-lt"/>
                <a:cs typeface="+mn-lt"/>
              </a:rPr>
              <a:t>+49 176 456 99106</a:t>
            </a:r>
          </a:p>
          <a:p>
            <a:r>
              <a:rPr lang="de-DE" sz="1200" err="1">
                <a:ea typeface="+mn-lt"/>
                <a:cs typeface="+mn-lt"/>
              </a:rPr>
              <a:t>ralph.altenburger@lpp.eu</a:t>
            </a:r>
            <a:endParaRPr lang="de-DE" sz="1200">
              <a:ea typeface="+mn-lt"/>
              <a:cs typeface="+mn-lt"/>
            </a:endParaRPr>
          </a:p>
          <a:p>
            <a:endParaRPr lang="de-DE" sz="1200">
              <a:ea typeface="+mn-lt"/>
              <a:cs typeface="+mn-lt"/>
            </a:endParaRPr>
          </a:p>
          <a:p>
            <a:endParaRPr lang="de-DE"/>
          </a:p>
        </p:txBody>
      </p:sp>
      <p:sp>
        <p:nvSpPr>
          <p:cNvPr id="10" name="Titel 11">
            <a:extLst>
              <a:ext uri="{FF2B5EF4-FFF2-40B4-BE49-F238E27FC236}">
                <a16:creationId xmlns:a16="http://schemas.microsoft.com/office/drawing/2014/main" id="{6ECD06E5-1B68-FD6A-4822-BE368F969FE2}"/>
              </a:ext>
            </a:extLst>
          </p:cNvPr>
          <p:cNvSpPr txBox="1">
            <a:spLocks/>
          </p:cNvSpPr>
          <p:nvPr>
            <p:custDataLst>
              <p:tags r:id="rId2"/>
            </p:custDataLst>
          </p:nvPr>
        </p:nvSpPr>
        <p:spPr bwMode="gray">
          <a:xfrm>
            <a:off x="9989004" y="2110176"/>
            <a:ext cx="1856632"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12" name="Titel 5">
            <a:extLst>
              <a:ext uri="{FF2B5EF4-FFF2-40B4-BE49-F238E27FC236}">
                <a16:creationId xmlns:a16="http://schemas.microsoft.com/office/drawing/2014/main" id="{C19D1AA0-0D68-9625-DD6D-E9B6A8CFF0E0}"/>
              </a:ext>
            </a:extLst>
          </p:cNvPr>
          <p:cNvSpPr>
            <a:spLocks noGrp="1"/>
          </p:cNvSpPr>
          <p:nvPr>
            <p:ph type="title"/>
          </p:nvPr>
        </p:nvSpPr>
        <p:spPr>
          <a:xfrm>
            <a:off x="649008" y="620713"/>
            <a:ext cx="9807031" cy="738664"/>
          </a:xfrm>
        </p:spPr>
        <p:txBody>
          <a:bodyPr vert="horz"/>
          <a:lstStyle/>
          <a:p>
            <a:r>
              <a:rPr lang="de-DE">
                <a:ea typeface="+mn-lt"/>
                <a:cs typeface="+mn-lt"/>
              </a:rPr>
              <a:t>Wir bieten eine neuartige Lösung  für</a:t>
            </a:r>
            <a:br>
              <a:rPr lang="de-DE">
                <a:ea typeface="+mn-lt"/>
                <a:cs typeface="+mn-lt"/>
              </a:rPr>
            </a:br>
            <a:r>
              <a:rPr lang="de-DE" b="1">
                <a:ea typeface="+mn-lt"/>
                <a:cs typeface="+mn-lt"/>
              </a:rPr>
              <a:t>alle Arten von Bestandsherausforderungen  </a:t>
            </a:r>
            <a:endParaRPr lang="de-DE" b="1"/>
          </a:p>
        </p:txBody>
      </p:sp>
      <p:sp>
        <p:nvSpPr>
          <p:cNvPr id="14" name="Fußzeilenplatzhalter 1">
            <a:extLst>
              <a:ext uri="{FF2B5EF4-FFF2-40B4-BE49-F238E27FC236}">
                <a16:creationId xmlns:a16="http://schemas.microsoft.com/office/drawing/2014/main" id="{01F581C4-B650-9ACF-86B4-AED24E995174}"/>
              </a:ext>
            </a:extLst>
          </p:cNvPr>
          <p:cNvSpPr>
            <a:spLocks noGrp="1"/>
          </p:cNvSpPr>
          <p:nvPr>
            <p:ph type="ftr" sz="quarter" idx="10"/>
          </p:nvPr>
        </p:nvSpPr>
        <p:spPr>
          <a:xfrm>
            <a:off x="655780" y="6443762"/>
            <a:ext cx="4968501" cy="153888"/>
          </a:xfrm>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3A0B1C78-98E4-3811-438F-12B763CA1CD4}"/>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36</a:t>
            </a:fld>
            <a:endParaRPr lang="de-DE"/>
          </a:p>
        </p:txBody>
      </p:sp>
      <p:sp>
        <p:nvSpPr>
          <p:cNvPr id="24" name="Textfeld 23">
            <a:extLst>
              <a:ext uri="{FF2B5EF4-FFF2-40B4-BE49-F238E27FC236}">
                <a16:creationId xmlns:a16="http://schemas.microsoft.com/office/drawing/2014/main" id="{594B513F-4AE3-7379-8C3D-257789ABF931}"/>
              </a:ext>
            </a:extLst>
          </p:cNvPr>
          <p:cNvSpPr txBox="1"/>
          <p:nvPr>
            <p:custDataLst>
              <p:tags r:id="rId3"/>
            </p:custDataLst>
          </p:nvPr>
        </p:nvSpPr>
        <p:spPr>
          <a:xfrm>
            <a:off x="653194" y="1752919"/>
            <a:ext cx="4336334"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de-DE" sz="1400" b="1" dirty="0"/>
              <a:t>Ihre Herausforderung</a:t>
            </a:r>
          </a:p>
          <a:p>
            <a:pPr marL="215900" lvl="1" indent="-215900">
              <a:lnSpc>
                <a:spcPct val="95000"/>
              </a:lnSpc>
              <a:spcAft>
                <a:spcPts val="300"/>
              </a:spcAft>
            </a:pPr>
            <a:r>
              <a:rPr lang="de-DE" sz="1200" dirty="0"/>
              <a:t>Hemmnis für digitale Transformation/ Ablösung </a:t>
            </a:r>
            <a:br>
              <a:rPr lang="de-DE" sz="1200" dirty="0"/>
            </a:br>
            <a:r>
              <a:rPr lang="de-DE" sz="1200" dirty="0"/>
              <a:t>durch IT-Altsystem:</a:t>
            </a:r>
          </a:p>
          <a:p>
            <a:pPr marL="363220" lvl="2" indent="-134620">
              <a:lnSpc>
                <a:spcPct val="95000"/>
              </a:lnSpc>
              <a:spcAft>
                <a:spcPts val="300"/>
              </a:spcAft>
              <a:buClr>
                <a:srgbClr val="A01441"/>
              </a:buClr>
            </a:pPr>
            <a:r>
              <a:rPr lang="de-DE" sz="1200" dirty="0"/>
              <a:t>Hohe und steigende Stückosten bei </a:t>
            </a:r>
            <a:br>
              <a:rPr lang="de-DE" sz="1200" dirty="0"/>
            </a:br>
            <a:r>
              <a:rPr lang="de-DE" sz="1200" dirty="0"/>
              <a:t>abnehmender Größe</a:t>
            </a:r>
          </a:p>
          <a:p>
            <a:pPr marL="363220" lvl="2" indent="-134620">
              <a:lnSpc>
                <a:spcPct val="95000"/>
              </a:lnSpc>
              <a:spcAft>
                <a:spcPts val="300"/>
              </a:spcAft>
              <a:buClr>
                <a:srgbClr val="A01441"/>
              </a:buClr>
            </a:pPr>
            <a:r>
              <a:rPr lang="de-DE" sz="1200" dirty="0"/>
              <a:t>Ältere Produkt-/ Tarifgenerationen sind Blocker für Innovation</a:t>
            </a:r>
          </a:p>
          <a:p>
            <a:pPr marL="363220" lvl="2" indent="-134620">
              <a:lnSpc>
                <a:spcPct val="95000"/>
              </a:lnSpc>
              <a:spcAft>
                <a:spcPts val="300"/>
              </a:spcAft>
              <a:buClr>
                <a:srgbClr val="A01441"/>
              </a:buClr>
            </a:pPr>
            <a:r>
              <a:rPr lang="de-DE" sz="1200" dirty="0"/>
              <a:t>Änderung der Produkt- oder Geschäftsstrategie</a:t>
            </a:r>
          </a:p>
          <a:p>
            <a:pPr marL="363220" lvl="2" indent="-134620">
              <a:lnSpc>
                <a:spcPct val="95000"/>
              </a:lnSpc>
              <a:spcAft>
                <a:spcPts val="300"/>
              </a:spcAft>
              <a:buClr>
                <a:srgbClr val="A01441"/>
              </a:buClr>
            </a:pPr>
            <a:r>
              <a:rPr lang="de-DE" sz="1200" dirty="0"/>
              <a:t>M&amp;A: Bestände, die nicht in das strategische Zielbild passen</a:t>
            </a:r>
          </a:p>
          <a:p>
            <a:pPr marL="215900" lvl="1" indent="-215900">
              <a:lnSpc>
                <a:spcPct val="95000"/>
              </a:lnSpc>
              <a:spcAft>
                <a:spcPts val="300"/>
              </a:spcAft>
              <a:buClr>
                <a:srgbClr val="A01441"/>
              </a:buClr>
            </a:pPr>
            <a:r>
              <a:rPr lang="de-DE" sz="1200" dirty="0"/>
              <a:t>Alternativlösungen, wie Verkauf, Kündigung, Investition mit erheblichen Nachteilen verbunden und zu verwerfen</a:t>
            </a:r>
          </a:p>
          <a:p>
            <a:pPr>
              <a:lnSpc>
                <a:spcPct val="95000"/>
              </a:lnSpc>
              <a:spcAft>
                <a:spcPts val="300"/>
              </a:spcAft>
            </a:pPr>
            <a:endParaRPr lang="de-DE" sz="1400"/>
          </a:p>
        </p:txBody>
      </p:sp>
      <p:sp>
        <p:nvSpPr>
          <p:cNvPr id="26" name="Textfeld 25">
            <a:extLst>
              <a:ext uri="{FF2B5EF4-FFF2-40B4-BE49-F238E27FC236}">
                <a16:creationId xmlns:a16="http://schemas.microsoft.com/office/drawing/2014/main" id="{0D1354D7-4F4B-52C1-F7FA-3E756DB98ECC}"/>
              </a:ext>
            </a:extLst>
          </p:cNvPr>
          <p:cNvSpPr txBox="1"/>
          <p:nvPr>
            <p:custDataLst>
              <p:tags r:id="rId4"/>
            </p:custDataLst>
          </p:nvPr>
        </p:nvSpPr>
        <p:spPr>
          <a:xfrm>
            <a:off x="5227129" y="1752919"/>
            <a:ext cx="4238106" cy="91440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de-DE" sz="1400" b="1"/>
              <a:t>Ihr Nutzen</a:t>
            </a:r>
          </a:p>
          <a:p>
            <a:pPr marL="215900" lvl="1" indent="-215900">
              <a:lnSpc>
                <a:spcPct val="95000"/>
              </a:lnSpc>
              <a:spcAft>
                <a:spcPts val="300"/>
              </a:spcAft>
            </a:pPr>
            <a:r>
              <a:rPr lang="de-DE" sz="1200"/>
              <a:t>Nahezu vollständige operationelle und </a:t>
            </a:r>
            <a:br>
              <a:rPr lang="de-DE" sz="1200"/>
            </a:br>
            <a:r>
              <a:rPr lang="de-DE" sz="1200"/>
              <a:t>ökonomische Befreiung von einem </a:t>
            </a:r>
            <a:br>
              <a:rPr lang="de-DE" sz="1200"/>
            </a:br>
            <a:r>
              <a:rPr lang="de-DE" sz="1200"/>
              <a:t>Versicherungsbestand (Leben/Nicht-Leben), ohne Investitionskosten, Risiken, als Komplettlösung</a:t>
            </a:r>
          </a:p>
          <a:p>
            <a:pPr marL="215900" lvl="1" indent="-215900">
              <a:lnSpc>
                <a:spcPct val="95000"/>
              </a:lnSpc>
              <a:spcAft>
                <a:spcPts val="300"/>
              </a:spcAft>
            </a:pPr>
            <a:r>
              <a:rPr lang="de-DE" sz="1200"/>
              <a:t>Vermeidung der Nachteile bisheriger Lösungen, vollständige Neutralität, Kunde bleibt erhalten, kein Reputationsschaden</a:t>
            </a:r>
            <a:endParaRPr lang="de-DE" sz="1400"/>
          </a:p>
        </p:txBody>
      </p:sp>
      <p:sp>
        <p:nvSpPr>
          <p:cNvPr id="28" name="Textfeld 27">
            <a:extLst>
              <a:ext uri="{FF2B5EF4-FFF2-40B4-BE49-F238E27FC236}">
                <a16:creationId xmlns:a16="http://schemas.microsoft.com/office/drawing/2014/main" id="{5D0556BD-9D90-CC7A-B59F-20FF651B6F91}"/>
              </a:ext>
            </a:extLst>
          </p:cNvPr>
          <p:cNvSpPr txBox="1"/>
          <p:nvPr>
            <p:custDataLst>
              <p:tags r:id="rId5"/>
            </p:custDataLst>
          </p:nvPr>
        </p:nvSpPr>
        <p:spPr>
          <a:xfrm>
            <a:off x="653195" y="4095595"/>
            <a:ext cx="4457843" cy="2236873"/>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de-DE" sz="1400" b="1" dirty="0"/>
              <a:t>Unser Angebot</a:t>
            </a:r>
            <a:r>
              <a:rPr lang="de-DE" sz="1200" dirty="0"/>
              <a:t> </a:t>
            </a:r>
          </a:p>
          <a:p>
            <a:pPr marL="215900" lvl="1" indent="-215900">
              <a:lnSpc>
                <a:spcPct val="95000"/>
              </a:lnSpc>
              <a:spcAft>
                <a:spcPts val="300"/>
              </a:spcAft>
            </a:pPr>
            <a:r>
              <a:rPr lang="de-DE" sz="1200" spc="-30" dirty="0"/>
              <a:t>LPP kombiniert Bestandsmanagement und </a:t>
            </a:r>
            <a:br>
              <a:rPr lang="de-DE" sz="1200" spc="-30" dirty="0"/>
            </a:br>
            <a:r>
              <a:rPr lang="de-DE" sz="1200" spc="-30" dirty="0"/>
              <a:t>Rückversicherung, ohne rechtlichen Portfoliotransfer</a:t>
            </a:r>
          </a:p>
          <a:p>
            <a:pPr marL="215900" lvl="1" indent="-215900">
              <a:lnSpc>
                <a:spcPct val="95000"/>
              </a:lnSpc>
              <a:spcAft>
                <a:spcPts val="300"/>
              </a:spcAft>
            </a:pPr>
            <a:r>
              <a:rPr lang="de-DE" sz="1200" dirty="0"/>
              <a:t>Operationelle Lösung: Migration auf </a:t>
            </a:r>
            <a:r>
              <a:rPr lang="de-DE" sz="1200" dirty="0" err="1"/>
              <a:t>msg</a:t>
            </a:r>
            <a:r>
              <a:rPr lang="de-DE" sz="1200" dirty="0"/>
              <a:t>-Plattform, </a:t>
            </a:r>
            <a:br>
              <a:rPr lang="de-DE" sz="1200" dirty="0"/>
            </a:br>
            <a:r>
              <a:rPr lang="de-DE" sz="1200" dirty="0"/>
              <a:t>Bestandsbetreuung durch Assekuradeur LPP inkl. Kundenservice, Vertrags- und Schadenbearbeitung, </a:t>
            </a:r>
            <a:br>
              <a:rPr lang="de-DE" sz="1200" dirty="0"/>
            </a:br>
            <a:r>
              <a:rPr lang="de-DE" sz="1200" dirty="0"/>
              <a:t>Überleitung von Vertriebsanlässen</a:t>
            </a:r>
          </a:p>
          <a:p>
            <a:pPr marL="215900" lvl="1" indent="-215900">
              <a:lnSpc>
                <a:spcPct val="95000"/>
              </a:lnSpc>
              <a:spcAft>
                <a:spcPts val="300"/>
              </a:spcAft>
            </a:pPr>
            <a:r>
              <a:rPr lang="de-DE" sz="1200" dirty="0"/>
              <a:t>Optionale Ergänzung um ökonomische Lösung: Mehrjahresquoten-Rückversicherungsvertrag für ökonomische Entlastung und Finanzierung der Lösung</a:t>
            </a:r>
            <a:br>
              <a:rPr lang="de-DE" sz="1200" dirty="0"/>
            </a:br>
            <a:endParaRPr lang="de-DE" sz="1200" dirty="0"/>
          </a:p>
        </p:txBody>
      </p:sp>
      <p:sp>
        <p:nvSpPr>
          <p:cNvPr id="30" name="Textfeld 29">
            <a:extLst>
              <a:ext uri="{FF2B5EF4-FFF2-40B4-BE49-F238E27FC236}">
                <a16:creationId xmlns:a16="http://schemas.microsoft.com/office/drawing/2014/main" id="{6F994C87-E505-17C8-71C0-6603669E93E7}"/>
              </a:ext>
            </a:extLst>
          </p:cNvPr>
          <p:cNvSpPr txBox="1"/>
          <p:nvPr>
            <p:custDataLst>
              <p:tags r:id="rId6"/>
            </p:custDataLst>
          </p:nvPr>
        </p:nvSpPr>
        <p:spPr>
          <a:xfrm>
            <a:off x="5227129" y="4095595"/>
            <a:ext cx="4238105" cy="91440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de-DE"/>
              <a:t>Unsere Partner und Referenzen</a:t>
            </a:r>
          </a:p>
          <a:p>
            <a:pPr marL="215900" lvl="1" indent="-215900">
              <a:lnSpc>
                <a:spcPct val="95000"/>
              </a:lnSpc>
              <a:spcAft>
                <a:spcPts val="300"/>
              </a:spcAft>
            </a:pPr>
            <a:r>
              <a:rPr lang="de-DE" sz="1200" spc="-30"/>
              <a:t>Nutzung der msg Versicherungsplattform-Lösung</a:t>
            </a:r>
            <a:br>
              <a:rPr lang="de-DE" sz="1200" spc="-30"/>
            </a:br>
            <a:r>
              <a:rPr lang="de-DE" sz="1200" spc="-30"/>
              <a:t>sowie Implementierungs- und Migrations-Expertise</a:t>
            </a:r>
          </a:p>
          <a:p>
            <a:pPr marL="215900" lvl="1" indent="-215900">
              <a:lnSpc>
                <a:spcPct val="95000"/>
              </a:lnSpc>
              <a:spcAft>
                <a:spcPts val="300"/>
              </a:spcAft>
            </a:pPr>
            <a:r>
              <a:rPr lang="de-DE" sz="1200"/>
              <a:t>Exklusive Partnerschaft mit der Swiss Re</a:t>
            </a:r>
          </a:p>
          <a:p>
            <a:pPr marL="215900" lvl="1" indent="-215900">
              <a:lnSpc>
                <a:spcPct val="95000"/>
              </a:lnSpc>
              <a:spcAft>
                <a:spcPts val="300"/>
              </a:spcAft>
            </a:pPr>
            <a:r>
              <a:rPr lang="de-DE" sz="1200"/>
              <a:t>Ausgewählte Kunden:</a:t>
            </a:r>
          </a:p>
          <a:p>
            <a:pPr marL="363538" lvl="2" indent="-134938">
              <a:lnSpc>
                <a:spcPct val="95000"/>
              </a:lnSpc>
              <a:spcAft>
                <a:spcPts val="300"/>
              </a:spcAft>
              <a:buClr>
                <a:srgbClr val="A01441"/>
              </a:buClr>
            </a:pPr>
            <a:r>
              <a:rPr lang="de-DE" sz="1200" err="1"/>
              <a:t>Kompositversicherer</a:t>
            </a:r>
            <a:r>
              <a:rPr lang="de-DE" sz="1200"/>
              <a:t>: Privatsparten aller Art sowie UBR Portfolios (Unfall mit Beitragsrückgewähr)</a:t>
            </a:r>
          </a:p>
          <a:p>
            <a:pPr marL="363538" lvl="2" indent="-134938">
              <a:lnSpc>
                <a:spcPct val="95000"/>
              </a:lnSpc>
              <a:spcAft>
                <a:spcPts val="300"/>
              </a:spcAft>
              <a:buClr>
                <a:srgbClr val="A01441"/>
              </a:buClr>
            </a:pPr>
            <a:r>
              <a:rPr lang="de-DE" sz="1200"/>
              <a:t>Lebensversicherer</a:t>
            </a:r>
          </a:p>
          <a:p>
            <a:pPr marL="363538" lvl="2" indent="-134938">
              <a:lnSpc>
                <a:spcPct val="95000"/>
              </a:lnSpc>
              <a:spcAft>
                <a:spcPts val="300"/>
              </a:spcAft>
              <a:buClr>
                <a:srgbClr val="A01441"/>
              </a:buClr>
            </a:pPr>
            <a:r>
              <a:rPr lang="de-DE" sz="1200"/>
              <a:t>Captives</a:t>
            </a:r>
          </a:p>
          <a:p>
            <a:pPr marL="363538" lvl="2" indent="-134938">
              <a:lnSpc>
                <a:spcPct val="95000"/>
              </a:lnSpc>
              <a:spcAft>
                <a:spcPts val="300"/>
              </a:spcAft>
              <a:buClr>
                <a:srgbClr val="A01441"/>
              </a:buClr>
            </a:pPr>
            <a:r>
              <a:rPr lang="de-DE" sz="1200"/>
              <a:t>OEMs mit Versicherungsgeschäft</a:t>
            </a:r>
          </a:p>
        </p:txBody>
      </p:sp>
      <p:cxnSp>
        <p:nvCxnSpPr>
          <p:cNvPr id="5" name="Gerader Verbinder 19">
            <a:extLst>
              <a:ext uri="{FF2B5EF4-FFF2-40B4-BE49-F238E27FC236}">
                <a16:creationId xmlns:a16="http://schemas.microsoft.com/office/drawing/2014/main" id="{CBF6C517-5ACD-BF13-47E9-6E66E531CD72}"/>
              </a:ext>
            </a:extLst>
          </p:cNvPr>
          <p:cNvCxnSpPr>
            <a:cxnSpLocks/>
          </p:cNvCxnSpPr>
          <p:nvPr/>
        </p:nvCxnSpPr>
        <p:spPr>
          <a:xfrm>
            <a:off x="51083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4" name="Picture 3" descr="Leading Portfolio Partners">
            <a:extLst>
              <a:ext uri="{FF2B5EF4-FFF2-40B4-BE49-F238E27FC236}">
                <a16:creationId xmlns:a16="http://schemas.microsoft.com/office/drawing/2014/main" id="{97BD7289-9068-BD01-B146-85B974273125}"/>
              </a:ext>
            </a:extLst>
          </p:cNvPr>
          <p:cNvPicPr>
            <a:picLocks noChangeAspect="1"/>
          </p:cNvPicPr>
          <p:nvPr/>
        </p:nvPicPr>
        <p:blipFill>
          <a:blip r:embed="rId15"/>
          <a:stretch>
            <a:fillRect/>
          </a:stretch>
        </p:blipFill>
        <p:spPr>
          <a:xfrm>
            <a:off x="10002859" y="2249942"/>
            <a:ext cx="1822629" cy="324050"/>
          </a:xfrm>
          <a:prstGeom prst="rect">
            <a:avLst/>
          </a:prstGeom>
        </p:spPr>
      </p:pic>
      <p:grpSp>
        <p:nvGrpSpPr>
          <p:cNvPr id="13" name="Gruppieren 12">
            <a:extLst>
              <a:ext uri="{FF2B5EF4-FFF2-40B4-BE49-F238E27FC236}">
                <a16:creationId xmlns:a16="http://schemas.microsoft.com/office/drawing/2014/main" id="{B0CFAF60-4049-D1C4-98A1-F7B6FA1CB750}"/>
              </a:ext>
            </a:extLst>
          </p:cNvPr>
          <p:cNvGrpSpPr/>
          <p:nvPr/>
        </p:nvGrpSpPr>
        <p:grpSpPr>
          <a:xfrm>
            <a:off x="4215007" y="1771450"/>
            <a:ext cx="703694" cy="703694"/>
            <a:chOff x="3460071" y="1779904"/>
            <a:chExt cx="869145" cy="869145"/>
          </a:xfrm>
        </p:grpSpPr>
        <p:sp>
          <p:nvSpPr>
            <p:cNvPr id="15" name="Kreis: nicht ausgefüllt 14">
              <a:extLst>
                <a:ext uri="{FF2B5EF4-FFF2-40B4-BE49-F238E27FC236}">
                  <a16:creationId xmlns:a16="http://schemas.microsoft.com/office/drawing/2014/main" id="{960E517E-402A-1251-95DA-EBF45FC40311}"/>
                </a:ext>
              </a:extLst>
            </p:cNvPr>
            <p:cNvSpPr/>
            <p:nvPr>
              <p:custDataLst>
                <p:tags r:id="rId10"/>
              </p:custDataLst>
            </p:nvPr>
          </p:nvSpPr>
          <p:spPr>
            <a:xfrm>
              <a:off x="3460071" y="1779904"/>
              <a:ext cx="869145" cy="869145"/>
            </a:xfrm>
            <a:prstGeom prst="donut">
              <a:avLst>
                <a:gd name="adj" fmla="val 5998"/>
              </a:avLst>
            </a:prstGeom>
            <a:blipFill>
              <a:blip r:embed="rId1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7" name="Grafik 16">
              <a:extLst>
                <a:ext uri="{FF2B5EF4-FFF2-40B4-BE49-F238E27FC236}">
                  <a16:creationId xmlns:a16="http://schemas.microsoft.com/office/drawing/2014/main" id="{30F594A3-0918-D65E-961E-D157259AD065}"/>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3496632" y="1796942"/>
              <a:ext cx="809625" cy="809625"/>
            </a:xfrm>
            <a:prstGeom prst="rect">
              <a:avLst/>
            </a:prstGeom>
          </p:spPr>
        </p:pic>
      </p:grpSp>
      <p:grpSp>
        <p:nvGrpSpPr>
          <p:cNvPr id="18" name="Gruppieren 17">
            <a:extLst>
              <a:ext uri="{FF2B5EF4-FFF2-40B4-BE49-F238E27FC236}">
                <a16:creationId xmlns:a16="http://schemas.microsoft.com/office/drawing/2014/main" id="{DF1AB946-1E31-31D4-AF85-E1E7270E2EDB}"/>
              </a:ext>
            </a:extLst>
          </p:cNvPr>
          <p:cNvGrpSpPr/>
          <p:nvPr/>
        </p:nvGrpSpPr>
        <p:grpSpPr>
          <a:xfrm>
            <a:off x="8761542" y="4086986"/>
            <a:ext cx="703694" cy="703694"/>
            <a:chOff x="8575325" y="4111833"/>
            <a:chExt cx="869145" cy="869145"/>
          </a:xfrm>
        </p:grpSpPr>
        <p:sp>
          <p:nvSpPr>
            <p:cNvPr id="19" name="Kreis: nicht ausgefüllt 18">
              <a:extLst>
                <a:ext uri="{FF2B5EF4-FFF2-40B4-BE49-F238E27FC236}">
                  <a16:creationId xmlns:a16="http://schemas.microsoft.com/office/drawing/2014/main" id="{6153F280-E5C6-2E67-CA1E-9A426A74BAF4}"/>
                </a:ext>
              </a:extLst>
            </p:cNvPr>
            <p:cNvSpPr/>
            <p:nvPr>
              <p:custDataLst>
                <p:tags r:id="rId9"/>
              </p:custDataLst>
            </p:nvPr>
          </p:nvSpPr>
          <p:spPr>
            <a:xfrm>
              <a:off x="8575325" y="4111833"/>
              <a:ext cx="869145" cy="869145"/>
            </a:xfrm>
            <a:prstGeom prst="donut">
              <a:avLst>
                <a:gd name="adj" fmla="val 5998"/>
              </a:avLst>
            </a:prstGeom>
            <a:blipFill>
              <a:blip r:embed="rId1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0" name="Grafik 19">
              <a:extLst>
                <a:ext uri="{FF2B5EF4-FFF2-40B4-BE49-F238E27FC236}">
                  <a16:creationId xmlns:a16="http://schemas.microsoft.com/office/drawing/2014/main" id="{45FE8FE6-C0AE-C5E8-464B-DF949D5CB686}"/>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8608010" y="4171353"/>
              <a:ext cx="809625" cy="809625"/>
            </a:xfrm>
            <a:prstGeom prst="rect">
              <a:avLst/>
            </a:prstGeom>
          </p:spPr>
        </p:pic>
      </p:grpSp>
      <p:grpSp>
        <p:nvGrpSpPr>
          <p:cNvPr id="21" name="Gruppieren 20">
            <a:extLst>
              <a:ext uri="{FF2B5EF4-FFF2-40B4-BE49-F238E27FC236}">
                <a16:creationId xmlns:a16="http://schemas.microsoft.com/office/drawing/2014/main" id="{B172AEDD-389C-A216-63EA-ACD6B5AEB757}"/>
              </a:ext>
            </a:extLst>
          </p:cNvPr>
          <p:cNvGrpSpPr/>
          <p:nvPr/>
        </p:nvGrpSpPr>
        <p:grpSpPr>
          <a:xfrm>
            <a:off x="4215007" y="4086986"/>
            <a:ext cx="703694" cy="703694"/>
            <a:chOff x="3460071" y="4111833"/>
            <a:chExt cx="869145" cy="869145"/>
          </a:xfrm>
        </p:grpSpPr>
        <p:sp>
          <p:nvSpPr>
            <p:cNvPr id="22" name="Kreis: nicht ausgefüllt 21">
              <a:extLst>
                <a:ext uri="{FF2B5EF4-FFF2-40B4-BE49-F238E27FC236}">
                  <a16:creationId xmlns:a16="http://schemas.microsoft.com/office/drawing/2014/main" id="{8C7B2F19-3B6F-FAC3-C44B-7EB450949FC6}"/>
                </a:ext>
              </a:extLst>
            </p:cNvPr>
            <p:cNvSpPr/>
            <p:nvPr>
              <p:custDataLst>
                <p:tags r:id="rId8"/>
              </p:custDataLst>
            </p:nvPr>
          </p:nvSpPr>
          <p:spPr>
            <a:xfrm>
              <a:off x="3460071" y="4111833"/>
              <a:ext cx="869145" cy="869145"/>
            </a:xfrm>
            <a:prstGeom prst="donut">
              <a:avLst>
                <a:gd name="adj" fmla="val 5998"/>
              </a:avLst>
            </a:prstGeom>
            <a:blipFill>
              <a:blip r:embed="rId1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8" name="Grafik 37">
              <a:extLst>
                <a:ext uri="{FF2B5EF4-FFF2-40B4-BE49-F238E27FC236}">
                  <a16:creationId xmlns:a16="http://schemas.microsoft.com/office/drawing/2014/main" id="{C227FB72-71D6-6FB5-552D-B9B04CE5C937}"/>
                </a:ext>
              </a:extLst>
            </p:cNvPr>
            <p:cNvPicPr>
              <a:picLocks noChangeAspect="1"/>
            </p:cNvPicPr>
            <p:nvPr/>
          </p:nvPicPr>
          <p:blipFill>
            <a:blip>
              <a:extLst>
                <a:ext uri="{96DAC541-7B7A-43D3-8B79-37D633B846F1}">
                  <asvg:svgBlip xmlns:asvg="http://schemas.microsoft.com/office/drawing/2016/SVG/main" r:embed="rId18"/>
                </a:ext>
              </a:extLst>
            </a:blip>
            <a:stretch>
              <a:fillRect/>
            </a:stretch>
          </p:blipFill>
          <p:spPr>
            <a:xfrm>
              <a:off x="3489830" y="4141593"/>
              <a:ext cx="809625" cy="809625"/>
            </a:xfrm>
            <a:prstGeom prst="rect">
              <a:avLst/>
            </a:prstGeom>
          </p:spPr>
        </p:pic>
      </p:grpSp>
      <p:grpSp>
        <p:nvGrpSpPr>
          <p:cNvPr id="39" name="Gruppieren 38">
            <a:extLst>
              <a:ext uri="{FF2B5EF4-FFF2-40B4-BE49-F238E27FC236}">
                <a16:creationId xmlns:a16="http://schemas.microsoft.com/office/drawing/2014/main" id="{310329A1-A2C3-AD19-B2F0-E1E3885507F1}"/>
              </a:ext>
            </a:extLst>
          </p:cNvPr>
          <p:cNvGrpSpPr/>
          <p:nvPr/>
        </p:nvGrpSpPr>
        <p:grpSpPr>
          <a:xfrm>
            <a:off x="8761541" y="1771450"/>
            <a:ext cx="703694" cy="703694"/>
            <a:chOff x="7459565" y="1779904"/>
            <a:chExt cx="869145" cy="869145"/>
          </a:xfrm>
        </p:grpSpPr>
        <p:sp>
          <p:nvSpPr>
            <p:cNvPr id="40" name="Kreis: nicht ausgefüllt 39">
              <a:extLst>
                <a:ext uri="{FF2B5EF4-FFF2-40B4-BE49-F238E27FC236}">
                  <a16:creationId xmlns:a16="http://schemas.microsoft.com/office/drawing/2014/main" id="{3DF66DA3-31D8-CF05-1792-B7703A32C5C4}"/>
                </a:ext>
              </a:extLst>
            </p:cNvPr>
            <p:cNvSpPr/>
            <p:nvPr>
              <p:custDataLst>
                <p:tags r:id="rId7"/>
              </p:custDataLst>
            </p:nvPr>
          </p:nvSpPr>
          <p:spPr>
            <a:xfrm>
              <a:off x="7459565" y="1779904"/>
              <a:ext cx="869145" cy="869145"/>
            </a:xfrm>
            <a:prstGeom prst="donut">
              <a:avLst>
                <a:gd name="adj" fmla="val 5998"/>
              </a:avLst>
            </a:prstGeom>
            <a:blipFill>
              <a:blip r:embed="rId1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41" name="Grafik 40">
              <a:extLst>
                <a:ext uri="{FF2B5EF4-FFF2-40B4-BE49-F238E27FC236}">
                  <a16:creationId xmlns:a16="http://schemas.microsoft.com/office/drawing/2014/main" id="{83A4CBBF-CC58-98D1-B0C9-4CAEAB5B89D9}"/>
                </a:ext>
              </a:extLst>
            </p:cNvPr>
            <p:cNvPicPr>
              <a:picLocks noChangeAspect="1"/>
            </p:cNvPicPr>
            <p:nvPr/>
          </p:nvPicPr>
          <p:blipFill>
            <a:blip>
              <a:extLst>
                <a:ext uri="{96DAC541-7B7A-43D3-8B79-37D633B846F1}">
                  <asvg:svgBlip xmlns:asvg="http://schemas.microsoft.com/office/drawing/2016/SVG/main" r:embed="rId19"/>
                </a:ext>
              </a:extLst>
            </a:blip>
            <a:stretch>
              <a:fillRect/>
            </a:stretch>
          </p:blipFill>
          <p:spPr>
            <a:xfrm>
              <a:off x="7493685" y="1797686"/>
              <a:ext cx="809625" cy="809625"/>
            </a:xfrm>
            <a:prstGeom prst="rect">
              <a:avLst/>
            </a:prstGeom>
          </p:spPr>
        </p:pic>
      </p:grpSp>
      <p:sp>
        <p:nvSpPr>
          <p:cNvPr id="42" name="Textfeld 41">
            <a:extLst>
              <a:ext uri="{FF2B5EF4-FFF2-40B4-BE49-F238E27FC236}">
                <a16:creationId xmlns:a16="http://schemas.microsoft.com/office/drawing/2014/main" id="{8BED0A0F-3397-375D-5C3B-42A49E5CCC6C}"/>
              </a:ext>
            </a:extLst>
          </p:cNvPr>
          <p:cNvSpPr txBox="1"/>
          <p:nvPr/>
        </p:nvSpPr>
        <p:spPr>
          <a:xfrm>
            <a:off x="9998838" y="2852402"/>
            <a:ext cx="1856631" cy="914400"/>
          </a:xfrm>
          <a:prstGeom prst="rect">
            <a:avLst/>
          </a:prstGeom>
          <a:noFill/>
        </p:spPr>
        <p:txBody>
          <a:bodyPr wrap="none" lIns="0" tIns="0" rIns="0" bIns="0" rtlCol="0">
            <a:noAutofit/>
          </a:bodyPr>
          <a:lstStyle/>
          <a:p>
            <a:pPr algn="l"/>
            <a:r>
              <a:rPr lang="de-DE" sz="1100" b="1">
                <a:solidFill>
                  <a:schemeClr val="bg1"/>
                </a:solidFill>
              </a:rPr>
              <a:t>Mastering </a:t>
            </a:r>
            <a:r>
              <a:rPr lang="de-DE" sz="1100" b="1" err="1">
                <a:solidFill>
                  <a:schemeClr val="bg1"/>
                </a:solidFill>
              </a:rPr>
              <a:t>insurance</a:t>
            </a:r>
            <a:r>
              <a:rPr lang="de-DE" sz="1100" b="1">
                <a:solidFill>
                  <a:schemeClr val="bg1"/>
                </a:solidFill>
              </a:rPr>
              <a:t> </a:t>
            </a:r>
            <a:r>
              <a:rPr lang="de-DE" sz="1100" b="1" err="1">
                <a:solidFill>
                  <a:schemeClr val="bg1"/>
                </a:solidFill>
              </a:rPr>
              <a:t>portfolio</a:t>
            </a:r>
            <a:r>
              <a:rPr lang="de-DE" sz="1100" b="1">
                <a:solidFill>
                  <a:schemeClr val="bg1"/>
                </a:solidFill>
              </a:rPr>
              <a:t> </a:t>
            </a:r>
            <a:br>
              <a:rPr lang="de-DE" sz="1100" b="1">
                <a:solidFill>
                  <a:schemeClr val="bg1"/>
                </a:solidFill>
              </a:rPr>
            </a:br>
            <a:r>
              <a:rPr lang="de-DE" sz="1100" b="1" err="1">
                <a:solidFill>
                  <a:schemeClr val="bg1"/>
                </a:solidFill>
              </a:rPr>
              <a:t>challenges</a:t>
            </a:r>
            <a:r>
              <a:rPr lang="de-DE" sz="1100" b="1">
                <a:solidFill>
                  <a:schemeClr val="bg1"/>
                </a:solidFill>
              </a:rPr>
              <a:t>. </a:t>
            </a:r>
            <a:r>
              <a:rPr lang="de-DE" sz="1100" b="1" err="1">
                <a:solidFill>
                  <a:schemeClr val="bg1"/>
                </a:solidFill>
              </a:rPr>
              <a:t>Together</a:t>
            </a:r>
            <a:r>
              <a:rPr lang="de-DE" sz="1100" b="1">
                <a:solidFill>
                  <a:schemeClr val="bg1"/>
                </a:solidFill>
              </a:rPr>
              <a:t>.</a:t>
            </a:r>
          </a:p>
        </p:txBody>
      </p:sp>
    </p:spTree>
    <p:extLst>
      <p:ext uri="{BB962C8B-B14F-4D97-AF65-F5344CB8AC3E}">
        <p14:creationId xmlns:p14="http://schemas.microsoft.com/office/powerpoint/2010/main" val="23200303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64B28F-3A84-66D9-E7F8-D6984BC8ABB8}"/>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F9971694-61B6-7C80-3742-F8D6D704F614}"/>
              </a:ext>
            </a:extLst>
          </p:cNvPr>
          <p:cNvSpPr/>
          <p:nvPr/>
        </p:nvSpPr>
        <p:spPr>
          <a:xfrm>
            <a:off x="9671370" y="1781092"/>
            <a:ext cx="2685600" cy="4311733"/>
          </a:xfrm>
          <a:prstGeom prst="round2DiagRect">
            <a:avLst>
              <a:gd name="adj1" fmla="val 0"/>
              <a:gd name="adj2" fmla="val 4143"/>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de-DE" sz="1200" b="1">
                <a:ea typeface="+mn-lt"/>
                <a:cs typeface="+mn-lt"/>
              </a:rPr>
              <a:t>Ansprechpartner</a:t>
            </a:r>
            <a:endParaRPr lang="en-US" sz="1200" b="1"/>
          </a:p>
          <a:p>
            <a:r>
              <a:rPr lang="de-DE" sz="1200">
                <a:ea typeface="+mn-lt"/>
                <a:cs typeface="+mn-lt"/>
              </a:rPr>
              <a:t>Conny Barth</a:t>
            </a:r>
          </a:p>
          <a:p>
            <a:r>
              <a:rPr lang="de-DE" sz="1200">
                <a:ea typeface="+mn-lt"/>
                <a:cs typeface="+mn-lt"/>
              </a:rPr>
              <a:t>+49 177 823 6401</a:t>
            </a:r>
          </a:p>
          <a:p>
            <a:r>
              <a:rPr lang="de-DE" sz="1200" err="1">
                <a:ea typeface="+mn-lt"/>
                <a:cs typeface="+mn-lt"/>
              </a:rPr>
              <a:t>conny.bart@compin.eu</a:t>
            </a:r>
            <a:endParaRPr lang="de-DE" sz="1200">
              <a:ea typeface="+mn-lt"/>
              <a:cs typeface="+mn-lt"/>
            </a:endParaRPr>
          </a:p>
          <a:p>
            <a:endParaRPr lang="de-DE" sz="1200">
              <a:ea typeface="+mn-lt"/>
              <a:cs typeface="+mn-lt"/>
            </a:endParaRPr>
          </a:p>
          <a:p>
            <a:r>
              <a:rPr lang="de-DE" sz="1200">
                <a:ea typeface="+mn-lt"/>
                <a:cs typeface="+mn-lt"/>
              </a:rPr>
              <a:t>Miroslav Mitrovic</a:t>
            </a:r>
            <a:endParaRPr lang="de-DE" sz="1200"/>
          </a:p>
          <a:p>
            <a:r>
              <a:rPr lang="de-DE" sz="1200">
                <a:ea typeface="+mn-lt"/>
                <a:cs typeface="+mn-lt"/>
              </a:rPr>
              <a:t>+49 160 969 08502</a:t>
            </a:r>
            <a:endParaRPr lang="de-DE"/>
          </a:p>
          <a:p>
            <a:r>
              <a:rPr lang="de-DE" sz="1200" err="1">
                <a:ea typeface="+mn-lt"/>
                <a:cs typeface="+mn-lt"/>
              </a:rPr>
              <a:t>miroslav.mitrovic@compin.eu</a:t>
            </a:r>
            <a:endParaRPr lang="de-DE"/>
          </a:p>
        </p:txBody>
      </p:sp>
      <p:sp>
        <p:nvSpPr>
          <p:cNvPr id="7" name="Titel 11">
            <a:extLst>
              <a:ext uri="{FF2B5EF4-FFF2-40B4-BE49-F238E27FC236}">
                <a16:creationId xmlns:a16="http://schemas.microsoft.com/office/drawing/2014/main" id="{EBB660B8-20CA-BC4B-723E-B4315A7FF2B4}"/>
              </a:ext>
            </a:extLst>
          </p:cNvPr>
          <p:cNvSpPr txBox="1">
            <a:spLocks/>
          </p:cNvSpPr>
          <p:nvPr>
            <p:custDataLst>
              <p:tags r:id="rId1"/>
            </p:custDataLst>
          </p:nvPr>
        </p:nvSpPr>
        <p:spPr bwMode="gray">
          <a:xfrm>
            <a:off x="9989004" y="2110176"/>
            <a:ext cx="1856632"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12" name="Titel 5">
            <a:extLst>
              <a:ext uri="{FF2B5EF4-FFF2-40B4-BE49-F238E27FC236}">
                <a16:creationId xmlns:a16="http://schemas.microsoft.com/office/drawing/2014/main" id="{ED165774-123D-A7B5-5D81-ABCB5E7A7886}"/>
              </a:ext>
            </a:extLst>
          </p:cNvPr>
          <p:cNvSpPr>
            <a:spLocks noGrp="1"/>
          </p:cNvSpPr>
          <p:nvPr>
            <p:ph type="title"/>
          </p:nvPr>
        </p:nvSpPr>
        <p:spPr>
          <a:xfrm>
            <a:off x="649008" y="620713"/>
            <a:ext cx="9807031" cy="738664"/>
          </a:xfrm>
        </p:spPr>
        <p:txBody>
          <a:bodyPr vert="horz"/>
          <a:lstStyle/>
          <a:p>
            <a:r>
              <a:rPr lang="de-DE" dirty="0" err="1">
                <a:ea typeface="+mn-lt"/>
                <a:cs typeface="+mn-lt"/>
              </a:rPr>
              <a:t>Competent</a:t>
            </a:r>
            <a:r>
              <a:rPr lang="de-DE" dirty="0">
                <a:ea typeface="+mn-lt"/>
                <a:cs typeface="+mn-lt"/>
              </a:rPr>
              <a:t> Insurance Services</a:t>
            </a:r>
            <a:br>
              <a:rPr lang="de-DE" dirty="0">
                <a:ea typeface="+mn-lt"/>
                <a:cs typeface="+mn-lt"/>
              </a:rPr>
            </a:br>
            <a:r>
              <a:rPr lang="de-DE" b="1" dirty="0">
                <a:ea typeface="+mn-lt"/>
                <a:cs typeface="+mn-lt"/>
              </a:rPr>
              <a:t>Sourcing-Lösungen für versicherungsspezifische Sachbearbeitung</a:t>
            </a:r>
            <a:endParaRPr lang="de-DE" b="1" dirty="0"/>
          </a:p>
        </p:txBody>
      </p:sp>
      <p:sp>
        <p:nvSpPr>
          <p:cNvPr id="14" name="Fußzeilenplatzhalter 1">
            <a:extLst>
              <a:ext uri="{FF2B5EF4-FFF2-40B4-BE49-F238E27FC236}">
                <a16:creationId xmlns:a16="http://schemas.microsoft.com/office/drawing/2014/main" id="{61EC00FE-782D-A7EA-AA1B-32194924832E}"/>
              </a:ext>
            </a:extLst>
          </p:cNvPr>
          <p:cNvSpPr>
            <a:spLocks noGrp="1"/>
          </p:cNvSpPr>
          <p:nvPr>
            <p:ph type="ftr" sz="quarter" idx="10"/>
          </p:nvPr>
        </p:nvSpPr>
        <p:spPr>
          <a:xfrm>
            <a:off x="655780" y="6443762"/>
            <a:ext cx="4968501" cy="153888"/>
          </a:xfrm>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D6ACF124-014E-D7A8-6096-A380E781C490}"/>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37</a:t>
            </a:fld>
            <a:endParaRPr lang="de-DE"/>
          </a:p>
        </p:txBody>
      </p:sp>
      <p:sp>
        <p:nvSpPr>
          <p:cNvPr id="24" name="Textfeld 23">
            <a:extLst>
              <a:ext uri="{FF2B5EF4-FFF2-40B4-BE49-F238E27FC236}">
                <a16:creationId xmlns:a16="http://schemas.microsoft.com/office/drawing/2014/main" id="{801BF759-C3C1-1FD9-A8C8-986261711377}"/>
              </a:ext>
            </a:extLst>
          </p:cNvPr>
          <p:cNvSpPr txBox="1"/>
          <p:nvPr>
            <p:custDataLst>
              <p:tags r:id="rId2"/>
            </p:custDataLst>
          </p:nvPr>
        </p:nvSpPr>
        <p:spPr>
          <a:xfrm>
            <a:off x="655780" y="1752919"/>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300"/>
              </a:spcAft>
            </a:pPr>
            <a:r>
              <a:rPr lang="de-DE" sz="1400" b="1"/>
              <a:t>Ihre Herausforderung</a:t>
            </a:r>
          </a:p>
          <a:p>
            <a:pPr marL="215900" lvl="1" indent="-215900">
              <a:lnSpc>
                <a:spcPct val="90000"/>
              </a:lnSpc>
              <a:spcAft>
                <a:spcPts val="300"/>
              </a:spcAft>
            </a:pPr>
            <a:r>
              <a:rPr lang="de-DE" sz="1200"/>
              <a:t>Hoher operativer Druck in der Sachbearbeitung</a:t>
            </a:r>
          </a:p>
          <a:p>
            <a:pPr marL="215900" lvl="1" indent="-215900">
              <a:lnSpc>
                <a:spcPct val="90000"/>
              </a:lnSpc>
              <a:spcAft>
                <a:spcPts val="300"/>
              </a:spcAft>
            </a:pPr>
            <a:r>
              <a:rPr lang="de-DE" sz="1200"/>
              <a:t>Aufkommende Kapazitätsengpässe durch</a:t>
            </a:r>
            <a:br>
              <a:rPr lang="de-DE" sz="1200"/>
            </a:br>
            <a:r>
              <a:rPr lang="de-DE" sz="1200"/>
              <a:t>saisonale Lastspitzen und unerwarteten</a:t>
            </a:r>
            <a:br>
              <a:rPr lang="de-DE" sz="1200"/>
            </a:br>
            <a:r>
              <a:rPr lang="de-DE" sz="1200"/>
              <a:t>Entwicklungen</a:t>
            </a:r>
          </a:p>
          <a:p>
            <a:pPr marL="215900" lvl="1" indent="-215900">
              <a:lnSpc>
                <a:spcPct val="90000"/>
              </a:lnSpc>
              <a:spcAft>
                <a:spcPts val="300"/>
              </a:spcAft>
            </a:pPr>
            <a:r>
              <a:rPr lang="de-DE" sz="1200"/>
              <a:t>Fehlende Flexibilität in der Steuerung und Bereitstellung qualifizierter Ressourcen</a:t>
            </a:r>
          </a:p>
          <a:p>
            <a:pPr marL="215900" lvl="1" indent="-215900">
              <a:lnSpc>
                <a:spcPct val="90000"/>
              </a:lnSpc>
              <a:spcAft>
                <a:spcPts val="300"/>
              </a:spcAft>
            </a:pPr>
            <a:r>
              <a:rPr lang="de-DE" sz="1200"/>
              <a:t>Verzögerung von notwendigen Transformationsinitiativen durch fehlende Fachressourcen aus den Operationseinheiten</a:t>
            </a:r>
          </a:p>
          <a:p>
            <a:pPr marL="215900" lvl="1" indent="-215900">
              <a:lnSpc>
                <a:spcPct val="90000"/>
              </a:lnSpc>
              <a:spcAft>
                <a:spcPts val="300"/>
              </a:spcAft>
            </a:pPr>
            <a:r>
              <a:rPr lang="de-DE" sz="1200"/>
              <a:t>Geringe Skalierbarkeit bei einzelnen Prozessen oder der Administration bestimmter Vertragsportfolios</a:t>
            </a:r>
          </a:p>
          <a:p>
            <a:pPr marL="215900" lvl="1" indent="-215900">
              <a:lnSpc>
                <a:spcPct val="90000"/>
              </a:lnSpc>
              <a:spcAft>
                <a:spcPts val="300"/>
              </a:spcAft>
            </a:pPr>
            <a:endParaRPr lang="de-DE" sz="800"/>
          </a:p>
        </p:txBody>
      </p:sp>
      <p:sp>
        <p:nvSpPr>
          <p:cNvPr id="26" name="Textfeld 25">
            <a:extLst>
              <a:ext uri="{FF2B5EF4-FFF2-40B4-BE49-F238E27FC236}">
                <a16:creationId xmlns:a16="http://schemas.microsoft.com/office/drawing/2014/main" id="{05D1BD0D-9422-5949-B749-1723951B11D5}"/>
              </a:ext>
            </a:extLst>
          </p:cNvPr>
          <p:cNvSpPr txBox="1"/>
          <p:nvPr>
            <p:custDataLst>
              <p:tags r:id="rId3"/>
            </p:custDataLst>
          </p:nvPr>
        </p:nvSpPr>
        <p:spPr>
          <a:xfrm>
            <a:off x="5229715" y="1752919"/>
            <a:ext cx="4125526" cy="91440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400"/>
              </a:spcAft>
            </a:pPr>
            <a:r>
              <a:rPr lang="de-DE" sz="1400" b="1" dirty="0"/>
              <a:t>Ihr Nutzen</a:t>
            </a:r>
          </a:p>
          <a:p>
            <a:pPr marL="215900" lvl="1" indent="-215900">
              <a:lnSpc>
                <a:spcPct val="90000"/>
              </a:lnSpc>
              <a:spcAft>
                <a:spcPts val="400"/>
              </a:spcAft>
            </a:pPr>
            <a:r>
              <a:rPr lang="de-DE" sz="1200" dirty="0"/>
              <a:t>Punktuelle </a:t>
            </a:r>
            <a:r>
              <a:rPr lang="de-DE" sz="1200" b="1" dirty="0"/>
              <a:t>Entlastung</a:t>
            </a:r>
            <a:r>
              <a:rPr lang="de-DE" sz="1200" dirty="0"/>
              <a:t> durch gezielten </a:t>
            </a:r>
            <a:br>
              <a:rPr lang="de-DE" sz="1200" dirty="0"/>
            </a:br>
            <a:r>
              <a:rPr lang="de-DE" sz="1200" dirty="0"/>
              <a:t>Einsatz </a:t>
            </a:r>
            <a:r>
              <a:rPr lang="de-DE" sz="1200" dirty="0" err="1"/>
              <a:t>vonCOMPIN</a:t>
            </a:r>
            <a:r>
              <a:rPr lang="de-DE" sz="1200" dirty="0"/>
              <a:t>-Kapazitäten zur wirksamen </a:t>
            </a:r>
            <a:br>
              <a:rPr lang="de-DE" sz="1200" dirty="0"/>
            </a:br>
            <a:r>
              <a:rPr lang="de-DE" sz="1200" dirty="0"/>
              <a:t>Reduzierung von Rückständen oder Abfedern von Lastspitzen</a:t>
            </a:r>
          </a:p>
          <a:p>
            <a:pPr marL="215900" lvl="1" indent="-215900">
              <a:lnSpc>
                <a:spcPct val="90000"/>
              </a:lnSpc>
              <a:spcAft>
                <a:spcPts val="400"/>
              </a:spcAft>
            </a:pPr>
            <a:r>
              <a:rPr lang="de-DE" sz="1200" dirty="0"/>
              <a:t>Nachhaltige </a:t>
            </a:r>
            <a:r>
              <a:rPr lang="de-DE" sz="1200" b="1" dirty="0"/>
              <a:t>Flexibilisierung</a:t>
            </a:r>
            <a:r>
              <a:rPr lang="de-DE" sz="1200" dirty="0"/>
              <a:t> durch planbaren und variablen Einsatz von COMPIN-Kapazitäten zur bedarfsgerechten Sicherstellung notwendiger Ressourcen</a:t>
            </a:r>
          </a:p>
          <a:p>
            <a:pPr marL="215900" lvl="1" indent="-215900">
              <a:lnSpc>
                <a:spcPct val="90000"/>
              </a:lnSpc>
              <a:spcAft>
                <a:spcPts val="400"/>
              </a:spcAft>
            </a:pPr>
            <a:r>
              <a:rPr lang="de-DE" sz="1200" dirty="0"/>
              <a:t>operative </a:t>
            </a:r>
            <a:r>
              <a:rPr lang="de-DE" sz="1200" b="1" dirty="0"/>
              <a:t>Fokussierung</a:t>
            </a:r>
            <a:r>
              <a:rPr lang="de-DE" sz="1200" dirty="0"/>
              <a:t> durch dauerhaften Einsatz von COMPIN-Kapazitäten zur zielgerichteten Konzentration der eigenen Ressourcen auf strategisch relevante Kerntätigkeiten</a:t>
            </a:r>
          </a:p>
          <a:p>
            <a:pPr>
              <a:lnSpc>
                <a:spcPct val="90000"/>
              </a:lnSpc>
              <a:spcAft>
                <a:spcPts val="400"/>
              </a:spcAft>
            </a:pPr>
            <a:endParaRPr lang="de-DE" sz="1400" dirty="0"/>
          </a:p>
        </p:txBody>
      </p:sp>
      <p:sp>
        <p:nvSpPr>
          <p:cNvPr id="28" name="Textfeld 27">
            <a:extLst>
              <a:ext uri="{FF2B5EF4-FFF2-40B4-BE49-F238E27FC236}">
                <a16:creationId xmlns:a16="http://schemas.microsoft.com/office/drawing/2014/main" id="{2953764C-18DC-29C1-07F7-6951864BD96F}"/>
              </a:ext>
            </a:extLst>
          </p:cNvPr>
          <p:cNvSpPr txBox="1"/>
          <p:nvPr>
            <p:custDataLst>
              <p:tags r:id="rId4"/>
            </p:custDataLst>
          </p:nvPr>
        </p:nvSpPr>
        <p:spPr>
          <a:xfrm>
            <a:off x="653195" y="4095595"/>
            <a:ext cx="4490500" cy="210624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400"/>
              </a:spcAft>
            </a:pPr>
            <a:r>
              <a:rPr lang="de-DE" sz="1400" b="1" dirty="0"/>
              <a:t>Unser Angebot</a:t>
            </a:r>
          </a:p>
          <a:p>
            <a:pPr marL="215900" lvl="1" indent="-215900">
              <a:lnSpc>
                <a:spcPct val="90000"/>
              </a:lnSpc>
              <a:spcAft>
                <a:spcPts val="400"/>
              </a:spcAft>
            </a:pPr>
            <a:r>
              <a:rPr lang="de-DE" sz="1200" dirty="0"/>
              <a:t>Qualifizierte Sachbearbeitung in den Bereichen</a:t>
            </a:r>
            <a:br>
              <a:rPr lang="de-DE" sz="1200" dirty="0"/>
            </a:br>
            <a:r>
              <a:rPr lang="de-DE" sz="1200" dirty="0"/>
              <a:t>Antrag, Vertrag, Schaden/Leistung</a:t>
            </a:r>
          </a:p>
          <a:p>
            <a:pPr marL="215900" lvl="1" indent="-215900">
              <a:lnSpc>
                <a:spcPct val="90000"/>
              </a:lnSpc>
              <a:spcAft>
                <a:spcPts val="400"/>
              </a:spcAft>
            </a:pPr>
            <a:r>
              <a:rPr lang="de-DE" sz="1200" spc="-20" dirty="0"/>
              <a:t>In den Sparten Leben, Kranken, Komposit für einfache</a:t>
            </a:r>
            <a:br>
              <a:rPr lang="de-DE" sz="1200" spc="-20" dirty="0"/>
            </a:br>
            <a:r>
              <a:rPr lang="de-DE" sz="1200" spc="-20" dirty="0"/>
              <a:t>bis hin zu komplexe Geschäftsvorfälle und ganze Prozesse</a:t>
            </a:r>
          </a:p>
          <a:p>
            <a:pPr marL="215900" lvl="1" indent="-215900">
              <a:lnSpc>
                <a:spcPct val="90000"/>
              </a:lnSpc>
              <a:spcAft>
                <a:spcPts val="400"/>
              </a:spcAft>
            </a:pPr>
            <a:r>
              <a:rPr lang="de-DE" sz="1200" dirty="0"/>
              <a:t>Auf den bestehenden IT-Systemen und -Anwendungen</a:t>
            </a:r>
          </a:p>
          <a:p>
            <a:pPr marL="215900" lvl="1" indent="-215900">
              <a:lnSpc>
                <a:spcPct val="90000"/>
              </a:lnSpc>
              <a:spcAft>
                <a:spcPts val="400"/>
              </a:spcAft>
            </a:pPr>
            <a:r>
              <a:rPr lang="de-DE" sz="1200" dirty="0"/>
              <a:t>Mit maßgeschneidertem Serviceumfang und nahtloser Integration in den bestehenden Versicherungsbetrieb</a:t>
            </a:r>
          </a:p>
          <a:p>
            <a:pPr marL="215900" lvl="1" indent="-215900">
              <a:lnSpc>
                <a:spcPct val="90000"/>
              </a:lnSpc>
              <a:spcAft>
                <a:spcPts val="400"/>
              </a:spcAft>
            </a:pPr>
            <a:r>
              <a:rPr lang="de-DE" sz="1200" spc="-20" dirty="0"/>
              <a:t>OPTIONAL mit Einbindung geeigneter Automatisierungslösungen unter Berücksichtigung der existierenden IT-Infrastruktur</a:t>
            </a:r>
            <a:endParaRPr lang="de-DE" spc="-20" dirty="0"/>
          </a:p>
        </p:txBody>
      </p:sp>
      <p:sp>
        <p:nvSpPr>
          <p:cNvPr id="30" name="Textfeld 29">
            <a:extLst>
              <a:ext uri="{FF2B5EF4-FFF2-40B4-BE49-F238E27FC236}">
                <a16:creationId xmlns:a16="http://schemas.microsoft.com/office/drawing/2014/main" id="{0C6CA2CA-2F39-D1BA-3553-F92E0EAF8E9D}"/>
              </a:ext>
            </a:extLst>
          </p:cNvPr>
          <p:cNvSpPr txBox="1"/>
          <p:nvPr>
            <p:custDataLst>
              <p:tags r:id="rId5"/>
            </p:custDataLst>
          </p:nvPr>
        </p:nvSpPr>
        <p:spPr>
          <a:xfrm>
            <a:off x="5227129" y="4095595"/>
            <a:ext cx="4336333" cy="91440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400"/>
              </a:spcAft>
            </a:pPr>
            <a:r>
              <a:rPr lang="de-DE" dirty="0"/>
              <a:t>Unsere Partner und Referenzen</a:t>
            </a:r>
          </a:p>
          <a:p>
            <a:pPr marL="215900" lvl="1" indent="-215900">
              <a:lnSpc>
                <a:spcPct val="90000"/>
              </a:lnSpc>
              <a:spcAft>
                <a:spcPts val="400"/>
              </a:spcAft>
            </a:pPr>
            <a:r>
              <a:rPr lang="de-DE" sz="1200" dirty="0"/>
              <a:t>Enge Zusammenarbeit mit msg</a:t>
            </a:r>
          </a:p>
          <a:p>
            <a:pPr marL="215900" lvl="1" indent="-215900">
              <a:lnSpc>
                <a:spcPct val="90000"/>
              </a:lnSpc>
              <a:spcAft>
                <a:spcPts val="400"/>
              </a:spcAft>
            </a:pPr>
            <a:r>
              <a:rPr lang="de-DE" sz="1200" dirty="0"/>
              <a:t>Ausgewählte Kunden:</a:t>
            </a:r>
          </a:p>
          <a:p>
            <a:pPr marL="363538" lvl="2" indent="-134938">
              <a:lnSpc>
                <a:spcPct val="95000"/>
              </a:lnSpc>
              <a:spcAft>
                <a:spcPts val="300"/>
              </a:spcAft>
              <a:buClr>
                <a:srgbClr val="A01441"/>
              </a:buClr>
            </a:pPr>
            <a:r>
              <a:rPr lang="de-DE" sz="1200" dirty="0"/>
              <a:t>Krankenversicherer – Bereich Risikovoranfragen </a:t>
            </a:r>
            <a:br>
              <a:rPr lang="de-DE" sz="1200" dirty="0"/>
            </a:br>
            <a:r>
              <a:rPr lang="de-DE" sz="1200" dirty="0"/>
              <a:t>und Leistungsbearbeitung</a:t>
            </a:r>
          </a:p>
          <a:p>
            <a:pPr marL="363538" lvl="2" indent="-134938">
              <a:lnSpc>
                <a:spcPct val="95000"/>
              </a:lnSpc>
              <a:spcAft>
                <a:spcPts val="300"/>
              </a:spcAft>
              <a:buClr>
                <a:srgbClr val="A01441"/>
              </a:buClr>
            </a:pPr>
            <a:r>
              <a:rPr lang="de-DE" sz="1200" dirty="0" err="1"/>
              <a:t>Kompositversicherer</a:t>
            </a:r>
            <a:r>
              <a:rPr lang="de-DE" sz="1200" dirty="0"/>
              <a:t> – Bereich Kundenservice </a:t>
            </a:r>
            <a:r>
              <a:rPr lang="de-DE" sz="1200" dirty="0" err="1"/>
              <a:t>KfZ</a:t>
            </a:r>
            <a:endParaRPr lang="de-DE" sz="1200" dirty="0"/>
          </a:p>
          <a:p>
            <a:pPr marL="363538" lvl="2" indent="-134938">
              <a:lnSpc>
                <a:spcPct val="95000"/>
              </a:lnSpc>
              <a:spcAft>
                <a:spcPts val="300"/>
              </a:spcAft>
              <a:buClr>
                <a:srgbClr val="A01441"/>
              </a:buClr>
            </a:pPr>
            <a:r>
              <a:rPr lang="de-DE" sz="1200" dirty="0"/>
              <a:t>Lebensversicherung – Bereich Antrags &amp; Vertrags-Services</a:t>
            </a:r>
          </a:p>
          <a:p>
            <a:pPr marL="363538" lvl="2" indent="-134938">
              <a:lnSpc>
                <a:spcPct val="95000"/>
              </a:lnSpc>
              <a:spcAft>
                <a:spcPts val="300"/>
              </a:spcAft>
              <a:buClr>
                <a:srgbClr val="A01441"/>
              </a:buClr>
            </a:pPr>
            <a:r>
              <a:rPr lang="de-DE" sz="1200" dirty="0"/>
              <a:t>Assekuradeur – Bereich Kundenservice</a:t>
            </a:r>
          </a:p>
        </p:txBody>
      </p:sp>
      <p:pic>
        <p:nvPicPr>
          <p:cNvPr id="9" name="Picture 8">
            <a:extLst>
              <a:ext uri="{FF2B5EF4-FFF2-40B4-BE49-F238E27FC236}">
                <a16:creationId xmlns:a16="http://schemas.microsoft.com/office/drawing/2014/main" id="{F1DFEC85-D899-0A28-C7A6-81703E07EC90}"/>
              </a:ext>
            </a:extLst>
          </p:cNvPr>
          <p:cNvPicPr>
            <a:picLocks noChangeAspect="1"/>
          </p:cNvPicPr>
          <p:nvPr/>
        </p:nvPicPr>
        <p:blipFill>
          <a:blip r:embed="rId13"/>
          <a:stretch>
            <a:fillRect/>
          </a:stretch>
        </p:blipFill>
        <p:spPr>
          <a:xfrm>
            <a:off x="10179132" y="2237688"/>
            <a:ext cx="1476375" cy="361952"/>
          </a:xfrm>
          <a:prstGeom prst="rect">
            <a:avLst/>
          </a:prstGeom>
        </p:spPr>
      </p:pic>
      <p:cxnSp>
        <p:nvCxnSpPr>
          <p:cNvPr id="10" name="Gerader Verbinder 19">
            <a:extLst>
              <a:ext uri="{FF2B5EF4-FFF2-40B4-BE49-F238E27FC236}">
                <a16:creationId xmlns:a16="http://schemas.microsoft.com/office/drawing/2014/main" id="{34905F9D-EBE7-FB8C-27B9-A4408B9821DF}"/>
              </a:ext>
            </a:extLst>
          </p:cNvPr>
          <p:cNvCxnSpPr>
            <a:cxnSpLocks/>
          </p:cNvCxnSpPr>
          <p:nvPr/>
        </p:nvCxnSpPr>
        <p:spPr>
          <a:xfrm>
            <a:off x="51083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9" name="Gruppieren 38">
            <a:extLst>
              <a:ext uri="{FF2B5EF4-FFF2-40B4-BE49-F238E27FC236}">
                <a16:creationId xmlns:a16="http://schemas.microsoft.com/office/drawing/2014/main" id="{B54F8FF7-C46E-5D49-9047-87095D1252A5}"/>
              </a:ext>
            </a:extLst>
          </p:cNvPr>
          <p:cNvGrpSpPr/>
          <p:nvPr/>
        </p:nvGrpSpPr>
        <p:grpSpPr>
          <a:xfrm>
            <a:off x="4215007" y="1771450"/>
            <a:ext cx="703694" cy="703694"/>
            <a:chOff x="3460071" y="1779904"/>
            <a:chExt cx="869145" cy="869145"/>
          </a:xfrm>
        </p:grpSpPr>
        <p:sp>
          <p:nvSpPr>
            <p:cNvPr id="40" name="Kreis: nicht ausgefüllt 39">
              <a:extLst>
                <a:ext uri="{FF2B5EF4-FFF2-40B4-BE49-F238E27FC236}">
                  <a16:creationId xmlns:a16="http://schemas.microsoft.com/office/drawing/2014/main" id="{40B581EA-E01D-D215-AD34-CA688A69AD54}"/>
                </a:ext>
              </a:extLst>
            </p:cNvPr>
            <p:cNvSpPr/>
            <p:nvPr>
              <p:custDataLst>
                <p:tags r:id="rId9"/>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41" name="Grafik 40">
              <a:extLst>
                <a:ext uri="{FF2B5EF4-FFF2-40B4-BE49-F238E27FC236}">
                  <a16:creationId xmlns:a16="http://schemas.microsoft.com/office/drawing/2014/main" id="{F3A9E6DE-DBF8-AE38-7AF6-11C54889051D}"/>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3496632" y="1796942"/>
              <a:ext cx="809625" cy="809625"/>
            </a:xfrm>
            <a:prstGeom prst="rect">
              <a:avLst/>
            </a:prstGeom>
          </p:spPr>
        </p:pic>
      </p:grpSp>
      <p:grpSp>
        <p:nvGrpSpPr>
          <p:cNvPr id="42" name="Gruppieren 41">
            <a:extLst>
              <a:ext uri="{FF2B5EF4-FFF2-40B4-BE49-F238E27FC236}">
                <a16:creationId xmlns:a16="http://schemas.microsoft.com/office/drawing/2014/main" id="{998B882E-6C2D-5791-580F-98046F686531}"/>
              </a:ext>
            </a:extLst>
          </p:cNvPr>
          <p:cNvGrpSpPr/>
          <p:nvPr/>
        </p:nvGrpSpPr>
        <p:grpSpPr>
          <a:xfrm>
            <a:off x="8761542" y="4086986"/>
            <a:ext cx="703694" cy="703694"/>
            <a:chOff x="8575325" y="4111833"/>
            <a:chExt cx="869145" cy="869145"/>
          </a:xfrm>
        </p:grpSpPr>
        <p:sp>
          <p:nvSpPr>
            <p:cNvPr id="43" name="Kreis: nicht ausgefüllt 42">
              <a:extLst>
                <a:ext uri="{FF2B5EF4-FFF2-40B4-BE49-F238E27FC236}">
                  <a16:creationId xmlns:a16="http://schemas.microsoft.com/office/drawing/2014/main" id="{5FF990CE-A5A1-CB26-EA64-13961D80595C}"/>
                </a:ext>
              </a:extLst>
            </p:cNvPr>
            <p:cNvSpPr/>
            <p:nvPr>
              <p:custDataLst>
                <p:tags r:id="rId8"/>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44" name="Grafik 43">
              <a:extLst>
                <a:ext uri="{FF2B5EF4-FFF2-40B4-BE49-F238E27FC236}">
                  <a16:creationId xmlns:a16="http://schemas.microsoft.com/office/drawing/2014/main" id="{CF8C675B-A81B-509A-E14F-CEA86FF428F3}"/>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8608010" y="4171353"/>
              <a:ext cx="809625" cy="809625"/>
            </a:xfrm>
            <a:prstGeom prst="rect">
              <a:avLst/>
            </a:prstGeom>
          </p:spPr>
        </p:pic>
      </p:grpSp>
      <p:grpSp>
        <p:nvGrpSpPr>
          <p:cNvPr id="45" name="Gruppieren 44">
            <a:extLst>
              <a:ext uri="{FF2B5EF4-FFF2-40B4-BE49-F238E27FC236}">
                <a16:creationId xmlns:a16="http://schemas.microsoft.com/office/drawing/2014/main" id="{0A1EE080-6995-C0AE-042C-C1E47A5CE019}"/>
              </a:ext>
            </a:extLst>
          </p:cNvPr>
          <p:cNvGrpSpPr/>
          <p:nvPr/>
        </p:nvGrpSpPr>
        <p:grpSpPr>
          <a:xfrm>
            <a:off x="4215007" y="4086986"/>
            <a:ext cx="703694" cy="703694"/>
            <a:chOff x="3460071" y="4111833"/>
            <a:chExt cx="869145" cy="869145"/>
          </a:xfrm>
        </p:grpSpPr>
        <p:sp>
          <p:nvSpPr>
            <p:cNvPr id="46" name="Kreis: nicht ausgefüllt 45">
              <a:extLst>
                <a:ext uri="{FF2B5EF4-FFF2-40B4-BE49-F238E27FC236}">
                  <a16:creationId xmlns:a16="http://schemas.microsoft.com/office/drawing/2014/main" id="{427FE618-210E-FE15-8EA4-B4754F8F3AF4}"/>
                </a:ext>
              </a:extLst>
            </p:cNvPr>
            <p:cNvSpPr/>
            <p:nvPr>
              <p:custDataLst>
                <p:tags r:id="rId7"/>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47" name="Grafik 46">
              <a:extLst>
                <a:ext uri="{FF2B5EF4-FFF2-40B4-BE49-F238E27FC236}">
                  <a16:creationId xmlns:a16="http://schemas.microsoft.com/office/drawing/2014/main" id="{ADA988C1-FD7F-3688-A7EB-55004E2AC949}"/>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3489830" y="4141593"/>
              <a:ext cx="809625" cy="809625"/>
            </a:xfrm>
            <a:prstGeom prst="rect">
              <a:avLst/>
            </a:prstGeom>
          </p:spPr>
        </p:pic>
      </p:grpSp>
      <p:grpSp>
        <p:nvGrpSpPr>
          <p:cNvPr id="48" name="Gruppieren 47">
            <a:extLst>
              <a:ext uri="{FF2B5EF4-FFF2-40B4-BE49-F238E27FC236}">
                <a16:creationId xmlns:a16="http://schemas.microsoft.com/office/drawing/2014/main" id="{32EBE1A0-2DC8-9F35-36F4-6880FD342E97}"/>
              </a:ext>
            </a:extLst>
          </p:cNvPr>
          <p:cNvGrpSpPr/>
          <p:nvPr/>
        </p:nvGrpSpPr>
        <p:grpSpPr>
          <a:xfrm>
            <a:off x="8761541" y="1771450"/>
            <a:ext cx="703694" cy="703694"/>
            <a:chOff x="7459565" y="1779904"/>
            <a:chExt cx="869145" cy="869145"/>
          </a:xfrm>
        </p:grpSpPr>
        <p:sp>
          <p:nvSpPr>
            <p:cNvPr id="49" name="Kreis: nicht ausgefüllt 48">
              <a:extLst>
                <a:ext uri="{FF2B5EF4-FFF2-40B4-BE49-F238E27FC236}">
                  <a16:creationId xmlns:a16="http://schemas.microsoft.com/office/drawing/2014/main" id="{B58BDD13-C864-7B37-6103-EC50743EB52A}"/>
                </a:ext>
              </a:extLst>
            </p:cNvPr>
            <p:cNvSpPr/>
            <p:nvPr>
              <p:custDataLst>
                <p:tags r:id="rId6"/>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50" name="Grafik 49">
              <a:extLst>
                <a:ext uri="{FF2B5EF4-FFF2-40B4-BE49-F238E27FC236}">
                  <a16:creationId xmlns:a16="http://schemas.microsoft.com/office/drawing/2014/main" id="{EB61E076-7BAA-F570-9965-53A5129B843D}"/>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7493685" y="1797686"/>
              <a:ext cx="809625" cy="809625"/>
            </a:xfrm>
            <a:prstGeom prst="rect">
              <a:avLst/>
            </a:prstGeom>
          </p:spPr>
        </p:pic>
      </p:grpSp>
    </p:spTree>
    <p:extLst>
      <p:ext uri="{BB962C8B-B14F-4D97-AF65-F5344CB8AC3E}">
        <p14:creationId xmlns:p14="http://schemas.microsoft.com/office/powerpoint/2010/main" val="3932824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E6C98-87A5-43BC-4D52-6FF7CCD30CF9}"/>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7397DEA8-B86F-7079-D4B9-CE50FB379AEF}"/>
              </a:ext>
            </a:extLst>
          </p:cNvPr>
          <p:cNvSpPr/>
          <p:nvPr/>
        </p:nvSpPr>
        <p:spPr>
          <a:xfrm>
            <a:off x="9671370" y="1781092"/>
            <a:ext cx="2685600" cy="4311733"/>
          </a:xfrm>
          <a:prstGeom prst="round2DiagRect">
            <a:avLst>
              <a:gd name="adj1" fmla="val 0"/>
              <a:gd name="adj2" fmla="val 4143"/>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de-DE" sz="1200" b="1" dirty="0">
                <a:ea typeface="+mn-lt"/>
                <a:cs typeface="+mn-lt"/>
              </a:rPr>
              <a:t>Ansprechpartner</a:t>
            </a:r>
            <a:endParaRPr lang="en-US" sz="1200" b="1" dirty="0"/>
          </a:p>
          <a:p>
            <a:r>
              <a:rPr lang="de-DE" sz="1200" dirty="0">
                <a:ea typeface="+mn-lt"/>
                <a:cs typeface="+mn-lt"/>
              </a:rPr>
              <a:t>Holger </a:t>
            </a:r>
            <a:r>
              <a:rPr lang="de-DE" sz="1200" dirty="0" err="1">
                <a:ea typeface="+mn-lt"/>
                <a:cs typeface="+mn-lt"/>
              </a:rPr>
              <a:t>Hornik</a:t>
            </a:r>
            <a:endParaRPr lang="de-DE" sz="1200" dirty="0" err="1"/>
          </a:p>
          <a:p>
            <a:r>
              <a:rPr lang="de-DE" sz="1200" dirty="0">
                <a:ea typeface="+mn-lt"/>
                <a:cs typeface="+mn-lt"/>
              </a:rPr>
              <a:t>+49 173 8954169</a:t>
            </a:r>
            <a:br>
              <a:rPr lang="de-DE" sz="1200" dirty="0">
                <a:ea typeface="+mn-lt"/>
                <a:cs typeface="+mn-lt"/>
              </a:rPr>
            </a:br>
            <a:r>
              <a:rPr lang="de-DE" sz="1200" dirty="0" err="1">
                <a:ea typeface="+mn-lt"/>
                <a:cs typeface="+mn-lt"/>
              </a:rPr>
              <a:t>Holger.Hornik@msg.group</a:t>
            </a:r>
            <a:endParaRPr lang="de-DE" dirty="0" err="1"/>
          </a:p>
        </p:txBody>
      </p:sp>
      <p:sp>
        <p:nvSpPr>
          <p:cNvPr id="12" name="Titel 5">
            <a:extLst>
              <a:ext uri="{FF2B5EF4-FFF2-40B4-BE49-F238E27FC236}">
                <a16:creationId xmlns:a16="http://schemas.microsoft.com/office/drawing/2014/main" id="{0AECB2D7-EF26-32D7-92F5-AC9BBC7F9C5E}"/>
              </a:ext>
            </a:extLst>
          </p:cNvPr>
          <p:cNvSpPr>
            <a:spLocks noGrp="1"/>
          </p:cNvSpPr>
          <p:nvPr>
            <p:ph type="title"/>
          </p:nvPr>
        </p:nvSpPr>
        <p:spPr>
          <a:xfrm>
            <a:off x="649008" y="620713"/>
            <a:ext cx="9807031" cy="738664"/>
          </a:xfrm>
        </p:spPr>
        <p:txBody>
          <a:bodyPr vert="horz"/>
          <a:lstStyle/>
          <a:p>
            <a:r>
              <a:rPr lang="de-DE" dirty="0">
                <a:ea typeface="+mn-lt"/>
                <a:cs typeface="+mn-lt"/>
              </a:rPr>
              <a:t>Digitale Beratungs- und Abschlussstrecken – sicher und </a:t>
            </a:r>
            <a:r>
              <a:rPr lang="de-DE" dirty="0" err="1">
                <a:ea typeface="+mn-lt"/>
                <a:cs typeface="+mn-lt"/>
              </a:rPr>
              <a:t>compliant</a:t>
            </a:r>
            <a:br>
              <a:rPr lang="de-DE" dirty="0">
                <a:ea typeface="+mn-lt"/>
                <a:cs typeface="+mn-lt"/>
              </a:rPr>
            </a:br>
            <a:r>
              <a:rPr lang="de-DE" b="1" dirty="0" err="1">
                <a:ea typeface="+mn-lt"/>
                <a:cs typeface="+mn-lt"/>
              </a:rPr>
              <a:t>Conversational</a:t>
            </a:r>
            <a:r>
              <a:rPr lang="de-DE" b="1" dirty="0">
                <a:ea typeface="+mn-lt"/>
                <a:cs typeface="+mn-lt"/>
              </a:rPr>
              <a:t> AI: Neohelden Plattform</a:t>
            </a:r>
            <a:endParaRPr lang="de-DE" b="1" dirty="0"/>
          </a:p>
        </p:txBody>
      </p:sp>
      <p:sp>
        <p:nvSpPr>
          <p:cNvPr id="14" name="Fußzeilenplatzhalter 1">
            <a:extLst>
              <a:ext uri="{FF2B5EF4-FFF2-40B4-BE49-F238E27FC236}">
                <a16:creationId xmlns:a16="http://schemas.microsoft.com/office/drawing/2014/main" id="{168CFF42-91D3-67DE-CB4B-DF8F41C6641E}"/>
              </a:ext>
            </a:extLst>
          </p:cNvPr>
          <p:cNvSpPr>
            <a:spLocks noGrp="1"/>
          </p:cNvSpPr>
          <p:nvPr>
            <p:ph type="ftr" sz="quarter" idx="10"/>
          </p:nvPr>
        </p:nvSpPr>
        <p:spPr>
          <a:xfrm>
            <a:off x="655780" y="6443762"/>
            <a:ext cx="4968501" cy="153888"/>
          </a:xfrm>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C270EAED-AF55-1F6F-6EB6-E556BE67BB38}"/>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38</a:t>
            </a:fld>
            <a:endParaRPr lang="de-DE"/>
          </a:p>
        </p:txBody>
      </p:sp>
      <p:sp>
        <p:nvSpPr>
          <p:cNvPr id="24" name="Textfeld 23">
            <a:extLst>
              <a:ext uri="{FF2B5EF4-FFF2-40B4-BE49-F238E27FC236}">
                <a16:creationId xmlns:a16="http://schemas.microsoft.com/office/drawing/2014/main" id="{391BCE87-5D2D-90FA-9F6F-E5C39D2CFCBA}"/>
              </a:ext>
            </a:extLst>
          </p:cNvPr>
          <p:cNvSpPr txBox="1"/>
          <p:nvPr>
            <p:custDataLst>
              <p:tags r:id="rId1"/>
            </p:custDataLst>
          </p:nvPr>
        </p:nvSpPr>
        <p:spPr>
          <a:xfrm>
            <a:off x="653194" y="1757105"/>
            <a:ext cx="4164770"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Ihre Herausforderung</a:t>
            </a:r>
            <a:endParaRPr lang="de-DE" dirty="0"/>
          </a:p>
          <a:p>
            <a:pPr marL="171450" indent="-171450">
              <a:lnSpc>
                <a:spcPct val="90000"/>
              </a:lnSpc>
              <a:spcAft>
                <a:spcPts val="200"/>
              </a:spcAft>
              <a:buClr>
                <a:srgbClr val="A01441"/>
              </a:buClr>
              <a:buFont typeface="Arial" panose="020B0604020202020204" pitchFamily="34" charset="0"/>
              <a:buChar char="•"/>
            </a:pPr>
            <a:r>
              <a:rPr lang="de-DE" sz="1200" b="1" dirty="0">
                <a:ea typeface="+mn-lt"/>
                <a:cs typeface="+mn-lt"/>
              </a:rPr>
              <a:t>Hohe Anfragevolumen:</a:t>
            </a:r>
            <a:r>
              <a:rPr lang="de-DE" sz="1200" dirty="0">
                <a:ea typeface="+mn-lt"/>
                <a:cs typeface="+mn-lt"/>
              </a:rPr>
              <a:t> Kunden erwarten rund </a:t>
            </a:r>
            <a:br>
              <a:rPr lang="de-DE" sz="1200" dirty="0">
                <a:ea typeface="+mn-lt"/>
                <a:cs typeface="+mn-lt"/>
              </a:rPr>
            </a:br>
            <a:r>
              <a:rPr lang="de-DE" sz="1200" dirty="0">
                <a:ea typeface="+mn-lt"/>
                <a:cs typeface="+mn-lt"/>
              </a:rPr>
              <a:t>um die Uhr schnelle Antworten, während viele </a:t>
            </a:r>
            <a:br>
              <a:rPr lang="de-DE" sz="1200" dirty="0">
                <a:ea typeface="+mn-lt"/>
                <a:cs typeface="+mn-lt"/>
              </a:rPr>
            </a:br>
            <a:r>
              <a:rPr lang="de-DE" sz="1200" dirty="0">
                <a:ea typeface="+mn-lt"/>
                <a:cs typeface="+mn-lt"/>
              </a:rPr>
              <a:t>Anfragen noch manuell bearbeitet werden</a:t>
            </a:r>
            <a:endParaRPr lang="de-DE" sz="1200" dirty="0">
              <a:latin typeface="Aptos"/>
            </a:endParaRPr>
          </a:p>
          <a:p>
            <a:pPr marL="215900" lvl="1" indent="-215900">
              <a:lnSpc>
                <a:spcPct val="90000"/>
              </a:lnSpc>
              <a:spcAft>
                <a:spcPts val="200"/>
              </a:spcAft>
            </a:pPr>
            <a:r>
              <a:rPr lang="de-DE" sz="1200" b="1" dirty="0">
                <a:ea typeface="+mn-lt"/>
                <a:cs typeface="+mn-lt"/>
              </a:rPr>
              <a:t>Prozessineffizienz:</a:t>
            </a:r>
            <a:r>
              <a:rPr lang="de-DE" sz="1200" dirty="0">
                <a:ea typeface="+mn-lt"/>
                <a:cs typeface="+mn-lt"/>
              </a:rPr>
              <a:t> Starke Abhängigkeit von Fachpersonal führt zu Engpässen und fehlendem Wissenstransfer</a:t>
            </a:r>
            <a:endParaRPr lang="de-DE" dirty="0">
              <a:ea typeface="+mn-lt"/>
              <a:cs typeface="+mn-lt"/>
            </a:endParaRPr>
          </a:p>
          <a:p>
            <a:pPr marL="215900" lvl="1" indent="-215900">
              <a:lnSpc>
                <a:spcPct val="90000"/>
              </a:lnSpc>
              <a:spcAft>
                <a:spcPts val="200"/>
              </a:spcAft>
            </a:pPr>
            <a:r>
              <a:rPr lang="de-DE" sz="1200" b="1" dirty="0">
                <a:ea typeface="+mn-lt"/>
                <a:cs typeface="+mn-lt"/>
              </a:rPr>
              <a:t>Komplexe Systemlandschaft:</a:t>
            </a:r>
            <a:r>
              <a:rPr lang="de-DE" sz="1200" dirty="0">
                <a:ea typeface="+mn-lt"/>
                <a:cs typeface="+mn-lt"/>
              </a:rPr>
              <a:t> Prozesse sind über verschiedene Systeme verteilt, was eine nahtlose Integration ohne große Investitionen in Benutzeroberflächen erschwert</a:t>
            </a:r>
            <a:endParaRPr lang="de-DE" dirty="0">
              <a:ea typeface="+mn-lt"/>
              <a:cs typeface="+mn-lt"/>
            </a:endParaRPr>
          </a:p>
          <a:p>
            <a:pPr marL="215900" lvl="1" indent="-215900">
              <a:lnSpc>
                <a:spcPct val="90000"/>
              </a:lnSpc>
              <a:spcAft>
                <a:spcPts val="200"/>
              </a:spcAft>
              <a:buClr>
                <a:srgbClr val="A01441"/>
              </a:buClr>
            </a:pPr>
            <a:endParaRPr lang="de-DE" sz="1200" dirty="0">
              <a:latin typeface="Aptos"/>
            </a:endParaRPr>
          </a:p>
          <a:p>
            <a:pPr marL="215900" lvl="1" indent="-215900">
              <a:lnSpc>
                <a:spcPct val="90000"/>
              </a:lnSpc>
              <a:spcAft>
                <a:spcPts val="200"/>
              </a:spcAft>
            </a:pPr>
            <a:endParaRPr lang="de-DE" sz="1200" dirty="0"/>
          </a:p>
          <a:p>
            <a:pPr marL="285750" indent="-285750">
              <a:lnSpc>
                <a:spcPct val="90000"/>
              </a:lnSpc>
              <a:spcAft>
                <a:spcPts val="200"/>
              </a:spcAft>
              <a:buChar char="•"/>
            </a:pPr>
            <a:endParaRPr lang="de-DE" sz="1400" dirty="0"/>
          </a:p>
        </p:txBody>
      </p:sp>
      <p:sp>
        <p:nvSpPr>
          <p:cNvPr id="26" name="Textfeld 25">
            <a:extLst>
              <a:ext uri="{FF2B5EF4-FFF2-40B4-BE49-F238E27FC236}">
                <a16:creationId xmlns:a16="http://schemas.microsoft.com/office/drawing/2014/main" id="{5C28FAB2-3D2F-28CE-1747-B6342B756E4A}"/>
              </a:ext>
            </a:extLst>
          </p:cNvPr>
          <p:cNvSpPr txBox="1"/>
          <p:nvPr>
            <p:custDataLst>
              <p:tags r:id="rId2"/>
            </p:custDataLst>
          </p:nvPr>
        </p:nvSpPr>
        <p:spPr>
          <a:xfrm>
            <a:off x="5227129" y="1752919"/>
            <a:ext cx="4142568" cy="3424694"/>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Ihr Nutzen</a:t>
            </a:r>
            <a:endParaRPr lang="de-DE" dirty="0"/>
          </a:p>
          <a:p>
            <a:pPr marL="215900" lvl="1" indent="-215900">
              <a:lnSpc>
                <a:spcPct val="90000"/>
              </a:lnSpc>
              <a:spcAft>
                <a:spcPts val="200"/>
              </a:spcAft>
            </a:pPr>
            <a:r>
              <a:rPr lang="de-DE" sz="1200" spc="-20" dirty="0">
                <a:ea typeface="+mn-lt"/>
                <a:cs typeface="+mn-lt"/>
              </a:rPr>
              <a:t>Anfragen automatisch triagieren und dringende</a:t>
            </a:r>
            <a:br>
              <a:rPr lang="de-DE" sz="1200" spc="-20" dirty="0">
                <a:ea typeface="+mn-lt"/>
                <a:cs typeface="+mn-lt"/>
              </a:rPr>
            </a:br>
            <a:r>
              <a:rPr lang="de-DE" sz="1200" spc="-20" dirty="0">
                <a:ea typeface="+mn-lt"/>
                <a:cs typeface="+mn-lt"/>
              </a:rPr>
              <a:t>Fälle sofort zum richtigen Ansprechpartner routen</a:t>
            </a:r>
          </a:p>
          <a:p>
            <a:pPr marL="215900" lvl="1" indent="-215900">
              <a:lnSpc>
                <a:spcPct val="90000"/>
              </a:lnSpc>
              <a:spcAft>
                <a:spcPts val="200"/>
              </a:spcAft>
            </a:pPr>
            <a:r>
              <a:rPr lang="de-DE" sz="1200" spc="-20" dirty="0">
                <a:ea typeface="+mn-lt"/>
                <a:cs typeface="+mn-lt"/>
              </a:rPr>
              <a:t>Alle Anfragen zentral organisieren, kein Mitschreiben, </a:t>
            </a:r>
            <a:br>
              <a:rPr lang="de-DE" sz="1200" spc="-20" dirty="0">
                <a:ea typeface="+mn-lt"/>
                <a:cs typeface="+mn-lt"/>
              </a:rPr>
            </a:br>
            <a:r>
              <a:rPr lang="de-DE" sz="1200" spc="-20" dirty="0">
                <a:ea typeface="+mn-lt"/>
                <a:cs typeface="+mn-lt"/>
              </a:rPr>
              <a:t>keine Fehler, volle Transparenz</a:t>
            </a:r>
          </a:p>
          <a:p>
            <a:pPr marL="215900" lvl="1" indent="-215900">
              <a:lnSpc>
                <a:spcPct val="90000"/>
              </a:lnSpc>
              <a:spcAft>
                <a:spcPts val="200"/>
              </a:spcAft>
            </a:pPr>
            <a:r>
              <a:rPr lang="de-DE" sz="1200" dirty="0">
                <a:ea typeface="+mn-lt"/>
                <a:cs typeface="+mn-lt"/>
              </a:rPr>
              <a:t>Formulare können bequem ausgefüllt, Anträge direkt im Chat eingereicht oder Fallaufnahmen telefonisch erfasst werden</a:t>
            </a:r>
          </a:p>
          <a:p>
            <a:pPr marL="215900" lvl="1" indent="-215900">
              <a:lnSpc>
                <a:spcPct val="90000"/>
              </a:lnSpc>
              <a:spcAft>
                <a:spcPts val="200"/>
              </a:spcAft>
            </a:pPr>
            <a:r>
              <a:rPr lang="de-DE" sz="1200" dirty="0">
                <a:ea typeface="+mn-lt"/>
                <a:cs typeface="+mn-lt"/>
              </a:rPr>
              <a:t>Nahtlose Integration in bestehende Prozesse und Systeme</a:t>
            </a:r>
          </a:p>
          <a:p>
            <a:pPr marL="215900" lvl="1" indent="-215900">
              <a:lnSpc>
                <a:spcPct val="90000"/>
              </a:lnSpc>
              <a:spcAft>
                <a:spcPts val="200"/>
              </a:spcAft>
            </a:pPr>
            <a:r>
              <a:rPr lang="de-DE" sz="1200" dirty="0">
                <a:ea typeface="+mn-lt"/>
                <a:cs typeface="+mn-lt"/>
              </a:rPr>
              <a:t>Maximale Sicherheit für ihre Daten!</a:t>
            </a:r>
            <a:br>
              <a:rPr lang="de-DE" sz="1200" dirty="0">
                <a:ea typeface="+mn-lt"/>
                <a:cs typeface="+mn-lt"/>
              </a:rPr>
            </a:br>
            <a:r>
              <a:rPr lang="de-DE" sz="1200" dirty="0">
                <a:ea typeface="+mn-lt"/>
                <a:cs typeface="+mn-lt"/>
              </a:rPr>
              <a:t>(FHIR, HL7, ISO27001, ISO9001, DSGVO)</a:t>
            </a:r>
          </a:p>
          <a:p>
            <a:pPr marL="215900" lvl="1" indent="-215900">
              <a:lnSpc>
                <a:spcPct val="90000"/>
              </a:lnSpc>
              <a:spcAft>
                <a:spcPts val="200"/>
              </a:spcAft>
            </a:pPr>
            <a:endParaRPr lang="de-DE" sz="1200" dirty="0">
              <a:ea typeface="+mn-lt"/>
              <a:cs typeface="+mn-lt"/>
            </a:endParaRPr>
          </a:p>
          <a:p>
            <a:pPr marL="0" lvl="1" indent="0">
              <a:lnSpc>
                <a:spcPct val="90000"/>
              </a:lnSpc>
              <a:spcAft>
                <a:spcPts val="200"/>
              </a:spcAft>
              <a:buNone/>
            </a:pPr>
            <a:endParaRPr lang="de-DE" sz="1200" dirty="0">
              <a:ea typeface="+mn-lt"/>
              <a:cs typeface="+mn-lt"/>
            </a:endParaRPr>
          </a:p>
          <a:p>
            <a:pPr marL="215900" lvl="1" indent="-215900">
              <a:lnSpc>
                <a:spcPct val="90000"/>
              </a:lnSpc>
              <a:spcAft>
                <a:spcPts val="200"/>
              </a:spcAft>
            </a:pPr>
            <a:endParaRPr lang="de-DE" sz="1200" dirty="0">
              <a:latin typeface="Aptos"/>
            </a:endParaRPr>
          </a:p>
          <a:p>
            <a:pPr marL="215900" lvl="1" indent="-215900">
              <a:lnSpc>
                <a:spcPct val="90000"/>
              </a:lnSpc>
              <a:spcAft>
                <a:spcPts val="200"/>
              </a:spcAft>
            </a:pPr>
            <a:endParaRPr lang="de-DE" sz="1200" dirty="0">
              <a:latin typeface="Aptos"/>
            </a:endParaRPr>
          </a:p>
          <a:p>
            <a:pPr marL="215900" lvl="1" indent="-215900">
              <a:lnSpc>
                <a:spcPct val="90000"/>
              </a:lnSpc>
              <a:spcAft>
                <a:spcPts val="200"/>
              </a:spcAft>
            </a:pPr>
            <a:endParaRPr lang="de-DE" sz="1200" dirty="0">
              <a:latin typeface="Aptos"/>
            </a:endParaRPr>
          </a:p>
        </p:txBody>
      </p:sp>
      <p:sp>
        <p:nvSpPr>
          <p:cNvPr id="28" name="Textfeld 27">
            <a:extLst>
              <a:ext uri="{FF2B5EF4-FFF2-40B4-BE49-F238E27FC236}">
                <a16:creationId xmlns:a16="http://schemas.microsoft.com/office/drawing/2014/main" id="{4F6348FE-F848-E434-51BD-123839BE7104}"/>
              </a:ext>
            </a:extLst>
          </p:cNvPr>
          <p:cNvSpPr txBox="1"/>
          <p:nvPr>
            <p:custDataLst>
              <p:tags r:id="rId3"/>
            </p:custDataLst>
          </p:nvPr>
        </p:nvSpPr>
        <p:spPr>
          <a:xfrm>
            <a:off x="653195" y="4093830"/>
            <a:ext cx="4370185" cy="2116271"/>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Unser Angebot</a:t>
            </a:r>
          </a:p>
          <a:p>
            <a:pPr marL="215900" lvl="1" indent="-215900">
              <a:lnSpc>
                <a:spcPct val="90000"/>
              </a:lnSpc>
              <a:spcAft>
                <a:spcPts val="200"/>
              </a:spcAft>
            </a:pPr>
            <a:r>
              <a:rPr lang="de-DE" sz="1200" dirty="0">
                <a:ea typeface="+mn-lt"/>
                <a:cs typeface="+mn-lt"/>
              </a:rPr>
              <a:t>Omnichannel </a:t>
            </a:r>
            <a:r>
              <a:rPr lang="de-DE" sz="1200" dirty="0" err="1">
                <a:ea typeface="+mn-lt"/>
                <a:cs typeface="+mn-lt"/>
              </a:rPr>
              <a:t>Conversational</a:t>
            </a:r>
            <a:r>
              <a:rPr lang="de-DE" sz="1200" dirty="0">
                <a:ea typeface="+mn-lt"/>
                <a:cs typeface="+mn-lt"/>
              </a:rPr>
              <a:t> AI Plattform für</a:t>
            </a:r>
            <a:br>
              <a:rPr lang="de-DE" sz="1200" dirty="0">
                <a:ea typeface="+mn-lt"/>
                <a:cs typeface="+mn-lt"/>
              </a:rPr>
            </a:br>
            <a:r>
              <a:rPr lang="de-DE" sz="1200" dirty="0">
                <a:ea typeface="+mn-lt"/>
                <a:cs typeface="+mn-lt"/>
              </a:rPr>
              <a:t>Telefonie, Chat, Web App, Native App aus</a:t>
            </a:r>
            <a:br>
              <a:rPr lang="de-DE" sz="1200" dirty="0">
                <a:ea typeface="+mn-lt"/>
                <a:cs typeface="+mn-lt"/>
              </a:rPr>
            </a:br>
            <a:r>
              <a:rPr lang="de-DE" sz="1200" dirty="0">
                <a:ea typeface="+mn-lt"/>
                <a:cs typeface="+mn-lt"/>
              </a:rPr>
              <a:t>Deutschland mit BSI C5 Testat </a:t>
            </a:r>
            <a:r>
              <a:rPr lang="de-DE" sz="1050" dirty="0">
                <a:ea typeface="+mn-lt"/>
                <a:cs typeface="+mn-lt"/>
              </a:rPr>
              <a:t>(</a:t>
            </a:r>
            <a:r>
              <a:rPr lang="de-DE" sz="1050" dirty="0" err="1">
                <a:ea typeface="+mn-lt"/>
                <a:cs typeface="+mn-lt"/>
              </a:rPr>
              <a:t>vsl</a:t>
            </a:r>
            <a:r>
              <a:rPr lang="de-DE" sz="1050" dirty="0">
                <a:ea typeface="+mn-lt"/>
                <a:cs typeface="+mn-lt"/>
              </a:rPr>
              <a:t>. ab 10/2025)</a:t>
            </a:r>
          </a:p>
          <a:p>
            <a:pPr marL="215900" lvl="1" indent="-215900">
              <a:lnSpc>
                <a:spcPct val="90000"/>
              </a:lnSpc>
              <a:spcAft>
                <a:spcPts val="200"/>
              </a:spcAft>
            </a:pPr>
            <a:r>
              <a:rPr lang="de-DE" sz="1200" dirty="0">
                <a:ea typeface="+mn-lt"/>
                <a:cs typeface="+mn-lt"/>
              </a:rPr>
              <a:t>Lösungsbibliothek mit Anwendungsfällen aus Bereichen Gesundheit, Vertriebs- &amp; Maklermanagement, Claims, Förderbeantragung, Call-Center, Wartung, administrativer Prozesse </a:t>
            </a:r>
            <a:r>
              <a:rPr lang="de-DE" sz="1200" dirty="0" err="1">
                <a:ea typeface="+mn-lt"/>
                <a:cs typeface="+mn-lt"/>
              </a:rPr>
              <a:t>uvm</a:t>
            </a:r>
            <a:r>
              <a:rPr lang="de-DE" sz="1200" dirty="0">
                <a:ea typeface="+mn-lt"/>
                <a:cs typeface="+mn-lt"/>
              </a:rPr>
              <a:t>.</a:t>
            </a:r>
          </a:p>
          <a:p>
            <a:pPr marL="215900" lvl="1" indent="-215900">
              <a:lnSpc>
                <a:spcPct val="90000"/>
              </a:lnSpc>
              <a:spcAft>
                <a:spcPts val="200"/>
              </a:spcAft>
            </a:pPr>
            <a:r>
              <a:rPr lang="de-DE" sz="1200" dirty="0">
                <a:ea typeface="+mn-lt"/>
                <a:cs typeface="+mn-lt"/>
              </a:rPr>
              <a:t>Alles aus einer Hand - Support, Wartung &amp; Betrieb in DE</a:t>
            </a:r>
            <a:endParaRPr lang="de-DE" dirty="0">
              <a:ea typeface="+mn-lt"/>
              <a:cs typeface="+mn-lt"/>
            </a:endParaRPr>
          </a:p>
          <a:p>
            <a:pPr marL="215900" lvl="1" indent="-215900">
              <a:lnSpc>
                <a:spcPct val="90000"/>
              </a:lnSpc>
              <a:spcAft>
                <a:spcPts val="200"/>
              </a:spcAft>
            </a:pPr>
            <a:r>
              <a:rPr lang="de-DE" sz="1200" dirty="0">
                <a:ea typeface="+mn-lt"/>
                <a:cs typeface="+mn-lt"/>
              </a:rPr>
              <a:t>Cloud-agnostisch - PaaS, SaaS oder Use Case </a:t>
            </a:r>
            <a:r>
              <a:rPr lang="de-DE" sz="1200" dirty="0" err="1">
                <a:ea typeface="+mn-lt"/>
                <a:cs typeface="+mn-lt"/>
              </a:rPr>
              <a:t>as</a:t>
            </a:r>
            <a:r>
              <a:rPr lang="de-DE" sz="1200" dirty="0">
                <a:ea typeface="+mn-lt"/>
                <a:cs typeface="+mn-lt"/>
              </a:rPr>
              <a:t> a Service</a:t>
            </a:r>
            <a:endParaRPr lang="de-DE" dirty="0"/>
          </a:p>
          <a:p>
            <a:pPr marL="215900" lvl="1" indent="-215900">
              <a:lnSpc>
                <a:spcPct val="90000"/>
              </a:lnSpc>
              <a:spcAft>
                <a:spcPts val="200"/>
              </a:spcAft>
            </a:pPr>
            <a:r>
              <a:rPr lang="de-DE" sz="1200" dirty="0" err="1">
                <a:ea typeface="+mn-lt"/>
                <a:cs typeface="+mn-lt"/>
              </a:rPr>
              <a:t>Whitelabel</a:t>
            </a:r>
            <a:r>
              <a:rPr lang="de-DE" sz="1200" dirty="0">
                <a:ea typeface="+mn-lt"/>
                <a:cs typeface="+mn-lt"/>
              </a:rPr>
              <a:t>-Lösung für nahtlose Markenintegration</a:t>
            </a:r>
            <a:endParaRPr lang="de-DE" dirty="0"/>
          </a:p>
          <a:p>
            <a:pPr marL="215900" lvl="1" indent="-215900">
              <a:lnSpc>
                <a:spcPct val="90000"/>
              </a:lnSpc>
              <a:spcAft>
                <a:spcPts val="200"/>
              </a:spcAft>
            </a:pPr>
            <a:endParaRPr lang="de-DE" sz="1200" dirty="0"/>
          </a:p>
        </p:txBody>
      </p:sp>
      <p:sp>
        <p:nvSpPr>
          <p:cNvPr id="30" name="Textfeld 29">
            <a:extLst>
              <a:ext uri="{FF2B5EF4-FFF2-40B4-BE49-F238E27FC236}">
                <a16:creationId xmlns:a16="http://schemas.microsoft.com/office/drawing/2014/main" id="{B7E88052-34F9-A2F8-6459-567F74E497A9}"/>
              </a:ext>
            </a:extLst>
          </p:cNvPr>
          <p:cNvSpPr txBox="1"/>
          <p:nvPr>
            <p:custDataLst>
              <p:tags r:id="rId4"/>
            </p:custDataLst>
          </p:nvPr>
        </p:nvSpPr>
        <p:spPr>
          <a:xfrm>
            <a:off x="5227128" y="4119231"/>
            <a:ext cx="4216781" cy="240914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dirty="0"/>
              <a:t>Unsere Partner und Referenzen</a:t>
            </a:r>
          </a:p>
          <a:p>
            <a:pPr marL="215900" lvl="1" indent="-215900">
              <a:lnSpc>
                <a:spcPct val="90000"/>
              </a:lnSpc>
              <a:spcAft>
                <a:spcPts val="200"/>
              </a:spcAft>
            </a:pPr>
            <a:r>
              <a:rPr lang="de-DE" sz="1200" spc="-20" dirty="0"/>
              <a:t>Partner: BSI, VÖB, NT AG </a:t>
            </a:r>
            <a:r>
              <a:rPr lang="de-DE" sz="1200" spc="-20" dirty="0" err="1"/>
              <a:t>CyberForum</a:t>
            </a:r>
            <a:r>
              <a:rPr lang="de-DE" sz="1200" spc="-20" dirty="0"/>
              <a:t>, CCV, </a:t>
            </a:r>
            <a:r>
              <a:rPr lang="de-DE" sz="1200" spc="-20" dirty="0" err="1"/>
              <a:t>BITMi</a:t>
            </a:r>
            <a:endParaRPr lang="de-DE" sz="1200" spc="-20" dirty="0"/>
          </a:p>
          <a:p>
            <a:pPr marL="215900" lvl="1" indent="-215900">
              <a:lnSpc>
                <a:spcPct val="90000"/>
              </a:lnSpc>
              <a:spcAft>
                <a:spcPts val="200"/>
              </a:spcAft>
            </a:pPr>
            <a:r>
              <a:rPr lang="de-DE" sz="1200" spc="-20" dirty="0"/>
              <a:t>KVB: KI-Telefonassistenz in der Terminservicestelle </a:t>
            </a:r>
            <a:br>
              <a:rPr lang="de-DE" sz="1200" spc="-20" dirty="0"/>
            </a:br>
            <a:r>
              <a:rPr lang="de-DE" sz="1200" spc="-20" dirty="0"/>
              <a:t>116117 hilft Patienten bei der Terminvereinbarung </a:t>
            </a:r>
          </a:p>
          <a:p>
            <a:pPr marL="215900" lvl="1" indent="-215900">
              <a:lnSpc>
                <a:spcPct val="90000"/>
              </a:lnSpc>
              <a:spcAft>
                <a:spcPts val="200"/>
              </a:spcAft>
            </a:pPr>
            <a:r>
              <a:rPr lang="de-DE" sz="1200" dirty="0" err="1"/>
              <a:t>Amedes</a:t>
            </a:r>
            <a:r>
              <a:rPr lang="de-DE" sz="1200" dirty="0"/>
              <a:t> Group: KI-Telefonassistenz im zentralen Kundenservice und in der Patiententelefonie</a:t>
            </a:r>
          </a:p>
          <a:p>
            <a:pPr marL="215900" lvl="1" indent="-215900">
              <a:lnSpc>
                <a:spcPct val="90000"/>
              </a:lnSpc>
              <a:spcAft>
                <a:spcPts val="200"/>
              </a:spcAft>
            </a:pPr>
            <a:r>
              <a:rPr lang="de-DE" sz="1200" dirty="0"/>
              <a:t>Ranger International: KI-Telefonassistenzsystem zur smarten Vertragsverifizierung und </a:t>
            </a:r>
            <a:r>
              <a:rPr lang="de-DE" sz="1200" dirty="0" err="1"/>
              <a:t>SalesBuddy</a:t>
            </a:r>
            <a:r>
              <a:rPr lang="de-DE" sz="1200" dirty="0"/>
              <a:t>, zur Unterstützung im Feld direkt auf dem iPad – mit schnellen Antworten, relevanten Informationen und praxisnaher Hilfe rund um den Vertriebsalltag.</a:t>
            </a:r>
          </a:p>
        </p:txBody>
      </p:sp>
      <p:grpSp>
        <p:nvGrpSpPr>
          <p:cNvPr id="2" name="Gruppieren 1">
            <a:extLst>
              <a:ext uri="{FF2B5EF4-FFF2-40B4-BE49-F238E27FC236}">
                <a16:creationId xmlns:a16="http://schemas.microsoft.com/office/drawing/2014/main" id="{2D7E5C11-6B4C-9910-E20D-EC9B0B78B5FA}"/>
              </a:ext>
            </a:extLst>
          </p:cNvPr>
          <p:cNvGrpSpPr/>
          <p:nvPr/>
        </p:nvGrpSpPr>
        <p:grpSpPr>
          <a:xfrm>
            <a:off x="4138804" y="1771450"/>
            <a:ext cx="703694" cy="703694"/>
            <a:chOff x="3460071" y="1779904"/>
            <a:chExt cx="869145" cy="869145"/>
          </a:xfrm>
        </p:grpSpPr>
        <p:sp>
          <p:nvSpPr>
            <p:cNvPr id="3" name="Kreis: nicht ausgefüllt 2">
              <a:extLst>
                <a:ext uri="{FF2B5EF4-FFF2-40B4-BE49-F238E27FC236}">
                  <a16:creationId xmlns:a16="http://schemas.microsoft.com/office/drawing/2014/main" id="{E356A111-9F15-1894-14AA-80A63D7B7D9D}"/>
                </a:ext>
              </a:extLst>
            </p:cNvPr>
            <p:cNvSpPr/>
            <p:nvPr>
              <p:custDataLst>
                <p:tags r:id="rId8"/>
              </p:custDataLst>
            </p:nvPr>
          </p:nvSpPr>
          <p:spPr>
            <a:xfrm>
              <a:off x="3460071"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3" name="Grafik 22">
              <a:extLst>
                <a:ext uri="{FF2B5EF4-FFF2-40B4-BE49-F238E27FC236}">
                  <a16:creationId xmlns:a16="http://schemas.microsoft.com/office/drawing/2014/main" id="{BCFEECF7-2C6B-8CDA-8797-76B09444FDCA}"/>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3496632" y="1796942"/>
              <a:ext cx="809625" cy="809625"/>
            </a:xfrm>
            <a:prstGeom prst="rect">
              <a:avLst/>
            </a:prstGeom>
          </p:spPr>
        </p:pic>
      </p:grpSp>
      <p:grpSp>
        <p:nvGrpSpPr>
          <p:cNvPr id="25" name="Gruppieren 24">
            <a:extLst>
              <a:ext uri="{FF2B5EF4-FFF2-40B4-BE49-F238E27FC236}">
                <a16:creationId xmlns:a16="http://schemas.microsoft.com/office/drawing/2014/main" id="{4E258394-4984-EAB7-B180-25BA937EAB76}"/>
              </a:ext>
            </a:extLst>
          </p:cNvPr>
          <p:cNvGrpSpPr/>
          <p:nvPr/>
        </p:nvGrpSpPr>
        <p:grpSpPr>
          <a:xfrm>
            <a:off x="8767799" y="3977952"/>
            <a:ext cx="703694" cy="703694"/>
            <a:chOff x="8575325" y="4111833"/>
            <a:chExt cx="869145" cy="869145"/>
          </a:xfrm>
        </p:grpSpPr>
        <p:sp>
          <p:nvSpPr>
            <p:cNvPr id="27" name="Kreis: nicht ausgefüllt 26">
              <a:extLst>
                <a:ext uri="{FF2B5EF4-FFF2-40B4-BE49-F238E27FC236}">
                  <a16:creationId xmlns:a16="http://schemas.microsoft.com/office/drawing/2014/main" id="{1DDC9F2D-1726-FC7D-DB20-309D08D9617F}"/>
                </a:ext>
              </a:extLst>
            </p:cNvPr>
            <p:cNvSpPr/>
            <p:nvPr>
              <p:custDataLst>
                <p:tags r:id="rId7"/>
              </p:custDataLst>
            </p:nvPr>
          </p:nvSpPr>
          <p:spPr>
            <a:xfrm>
              <a:off x="8575325"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9" name="Grafik 28">
              <a:extLst>
                <a:ext uri="{FF2B5EF4-FFF2-40B4-BE49-F238E27FC236}">
                  <a16:creationId xmlns:a16="http://schemas.microsoft.com/office/drawing/2014/main" id="{E8E3463F-DF7C-34C2-9CF1-CCD1CD5CA9AE}"/>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8608010" y="4171353"/>
              <a:ext cx="809625" cy="809625"/>
            </a:xfrm>
            <a:prstGeom prst="rect">
              <a:avLst/>
            </a:prstGeom>
          </p:spPr>
        </p:pic>
      </p:grpSp>
      <p:grpSp>
        <p:nvGrpSpPr>
          <p:cNvPr id="31" name="Gruppieren 30">
            <a:extLst>
              <a:ext uri="{FF2B5EF4-FFF2-40B4-BE49-F238E27FC236}">
                <a16:creationId xmlns:a16="http://schemas.microsoft.com/office/drawing/2014/main" id="{948AE4D9-4BD8-2108-1396-2E223AA2A6C4}"/>
              </a:ext>
            </a:extLst>
          </p:cNvPr>
          <p:cNvGrpSpPr/>
          <p:nvPr/>
        </p:nvGrpSpPr>
        <p:grpSpPr>
          <a:xfrm>
            <a:off x="4138804" y="3977952"/>
            <a:ext cx="703694" cy="703694"/>
            <a:chOff x="3460071" y="4111833"/>
            <a:chExt cx="869145" cy="869145"/>
          </a:xfrm>
        </p:grpSpPr>
        <p:sp>
          <p:nvSpPr>
            <p:cNvPr id="32" name="Kreis: nicht ausgefüllt 31">
              <a:extLst>
                <a:ext uri="{FF2B5EF4-FFF2-40B4-BE49-F238E27FC236}">
                  <a16:creationId xmlns:a16="http://schemas.microsoft.com/office/drawing/2014/main" id="{AD4D9903-BB09-E9E0-8B94-A7334B1879A3}"/>
                </a:ext>
              </a:extLst>
            </p:cNvPr>
            <p:cNvSpPr/>
            <p:nvPr>
              <p:custDataLst>
                <p:tags r:id="rId6"/>
              </p:custDataLst>
            </p:nvPr>
          </p:nvSpPr>
          <p:spPr>
            <a:xfrm>
              <a:off x="3460071"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3" name="Grafik 32">
              <a:extLst>
                <a:ext uri="{FF2B5EF4-FFF2-40B4-BE49-F238E27FC236}">
                  <a16:creationId xmlns:a16="http://schemas.microsoft.com/office/drawing/2014/main" id="{C4C469F6-1F03-69F1-4A17-49FA0CB80C52}"/>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89830" y="4141593"/>
              <a:ext cx="809625" cy="809625"/>
            </a:xfrm>
            <a:prstGeom prst="rect">
              <a:avLst/>
            </a:prstGeom>
          </p:spPr>
        </p:pic>
      </p:grpSp>
      <p:grpSp>
        <p:nvGrpSpPr>
          <p:cNvPr id="34" name="Gruppieren 33">
            <a:extLst>
              <a:ext uri="{FF2B5EF4-FFF2-40B4-BE49-F238E27FC236}">
                <a16:creationId xmlns:a16="http://schemas.microsoft.com/office/drawing/2014/main" id="{3CC833D2-4AAA-A187-C532-6CCAD559C365}"/>
              </a:ext>
            </a:extLst>
          </p:cNvPr>
          <p:cNvGrpSpPr/>
          <p:nvPr/>
        </p:nvGrpSpPr>
        <p:grpSpPr>
          <a:xfrm>
            <a:off x="8760780" y="1771450"/>
            <a:ext cx="703694" cy="703694"/>
            <a:chOff x="7459565" y="1779904"/>
            <a:chExt cx="869145" cy="869145"/>
          </a:xfrm>
        </p:grpSpPr>
        <p:sp>
          <p:nvSpPr>
            <p:cNvPr id="35" name="Kreis: nicht ausgefüllt 34">
              <a:extLst>
                <a:ext uri="{FF2B5EF4-FFF2-40B4-BE49-F238E27FC236}">
                  <a16:creationId xmlns:a16="http://schemas.microsoft.com/office/drawing/2014/main" id="{B32BAF01-C0C1-4F5F-159C-509B228B792E}"/>
                </a:ext>
              </a:extLst>
            </p:cNvPr>
            <p:cNvSpPr/>
            <p:nvPr>
              <p:custDataLst>
                <p:tags r:id="rId5"/>
              </p:custDataLst>
            </p:nvPr>
          </p:nvSpPr>
          <p:spPr>
            <a:xfrm>
              <a:off x="7459565"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6" name="Grafik 35">
              <a:extLst>
                <a:ext uri="{FF2B5EF4-FFF2-40B4-BE49-F238E27FC236}">
                  <a16:creationId xmlns:a16="http://schemas.microsoft.com/office/drawing/2014/main" id="{EC3471C3-82EF-5735-88A5-B3188EE19057}"/>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7493685" y="1797686"/>
              <a:ext cx="809625" cy="809625"/>
            </a:xfrm>
            <a:prstGeom prst="rect">
              <a:avLst/>
            </a:prstGeom>
          </p:spPr>
        </p:pic>
      </p:grpSp>
      <p:pic>
        <p:nvPicPr>
          <p:cNvPr id="4" name="Picture 3">
            <a:extLst>
              <a:ext uri="{FF2B5EF4-FFF2-40B4-BE49-F238E27FC236}">
                <a16:creationId xmlns:a16="http://schemas.microsoft.com/office/drawing/2014/main" id="{0687C6BC-548D-30CE-D92B-706481F8F37D}"/>
              </a:ext>
            </a:extLst>
          </p:cNvPr>
          <p:cNvPicPr>
            <a:picLocks noChangeAspect="1"/>
          </p:cNvPicPr>
          <p:nvPr/>
        </p:nvPicPr>
        <p:blipFill>
          <a:blip r:embed="rId15"/>
          <a:srcRect/>
          <a:stretch/>
        </p:blipFill>
        <p:spPr>
          <a:xfrm>
            <a:off x="10068906" y="2272145"/>
            <a:ext cx="1767151" cy="266875"/>
          </a:xfrm>
          <a:prstGeom prst="rect">
            <a:avLst/>
          </a:prstGeom>
        </p:spPr>
      </p:pic>
      <p:cxnSp>
        <p:nvCxnSpPr>
          <p:cNvPr id="6" name="Gerader Verbinder 19">
            <a:extLst>
              <a:ext uri="{FF2B5EF4-FFF2-40B4-BE49-F238E27FC236}">
                <a16:creationId xmlns:a16="http://schemas.microsoft.com/office/drawing/2014/main" id="{73440E6C-78CD-B0E3-B3C2-2D3D4B22E435}"/>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31839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E6C98-87A5-43BC-4D52-6FF7CCD30CF9}"/>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7397DEA8-B86F-7079-D4B9-CE50FB379AEF}"/>
              </a:ext>
            </a:extLst>
          </p:cNvPr>
          <p:cNvSpPr/>
          <p:nvPr/>
        </p:nvSpPr>
        <p:spPr>
          <a:xfrm>
            <a:off x="9667874" y="1781092"/>
            <a:ext cx="2689095" cy="4311733"/>
          </a:xfrm>
          <a:prstGeom prst="round2DiagRect">
            <a:avLst>
              <a:gd name="adj1" fmla="val 0"/>
              <a:gd name="adj2" fmla="val 4143"/>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de-DE" sz="1200" b="1" dirty="0">
                <a:ea typeface="+mn-lt"/>
                <a:cs typeface="+mn-lt"/>
              </a:rPr>
              <a:t>Ansprechpartner</a:t>
            </a:r>
            <a:endParaRPr lang="en-US" sz="1200" b="1" dirty="0"/>
          </a:p>
          <a:p>
            <a:r>
              <a:rPr lang="de-DE" sz="1200" dirty="0">
                <a:ea typeface="+mn-lt"/>
                <a:cs typeface="+mn-lt"/>
              </a:rPr>
              <a:t>Holger </a:t>
            </a:r>
            <a:r>
              <a:rPr lang="de-DE" sz="1200" dirty="0" err="1">
                <a:ea typeface="+mn-lt"/>
                <a:cs typeface="+mn-lt"/>
              </a:rPr>
              <a:t>Hornik</a:t>
            </a:r>
            <a:endParaRPr lang="de-DE" sz="1200" dirty="0" err="1"/>
          </a:p>
          <a:p>
            <a:r>
              <a:rPr lang="de-DE" sz="1200" dirty="0">
                <a:ea typeface="+mn-lt"/>
                <a:cs typeface="+mn-lt"/>
              </a:rPr>
              <a:t>+49 173 8954169</a:t>
            </a:r>
            <a:br>
              <a:rPr lang="de-DE" sz="1200" dirty="0">
                <a:ea typeface="+mn-lt"/>
                <a:cs typeface="+mn-lt"/>
              </a:rPr>
            </a:br>
            <a:r>
              <a:rPr lang="de-DE" sz="1200" dirty="0" err="1">
                <a:ea typeface="+mn-lt"/>
                <a:cs typeface="+mn-lt"/>
              </a:rPr>
              <a:t>Holger.Hornik@msg.group</a:t>
            </a:r>
            <a:endParaRPr lang="de-DE" dirty="0" err="1"/>
          </a:p>
        </p:txBody>
      </p:sp>
      <p:sp>
        <p:nvSpPr>
          <p:cNvPr id="12" name="Titel 5">
            <a:extLst>
              <a:ext uri="{FF2B5EF4-FFF2-40B4-BE49-F238E27FC236}">
                <a16:creationId xmlns:a16="http://schemas.microsoft.com/office/drawing/2014/main" id="{0AECB2D7-EF26-32D7-92F5-AC9BBC7F9C5E}"/>
              </a:ext>
            </a:extLst>
          </p:cNvPr>
          <p:cNvSpPr>
            <a:spLocks noGrp="1"/>
          </p:cNvSpPr>
          <p:nvPr>
            <p:ph type="title"/>
          </p:nvPr>
        </p:nvSpPr>
        <p:spPr>
          <a:xfrm>
            <a:off x="649008" y="620713"/>
            <a:ext cx="9807031" cy="738664"/>
          </a:xfrm>
        </p:spPr>
        <p:txBody>
          <a:bodyPr vert="horz"/>
          <a:lstStyle/>
          <a:p>
            <a:r>
              <a:rPr lang="de-DE" dirty="0">
                <a:ea typeface="+mn-lt"/>
                <a:cs typeface="+mn-lt"/>
              </a:rPr>
              <a:t>Das kann Deutschlands Gesundheitsheld</a:t>
            </a:r>
            <a:br>
              <a:rPr lang="de-DE" dirty="0">
                <a:ea typeface="+mn-lt"/>
                <a:cs typeface="+mn-lt"/>
              </a:rPr>
            </a:br>
            <a:r>
              <a:rPr lang="de-DE" b="1" dirty="0">
                <a:ea typeface="+mn-lt"/>
                <a:cs typeface="+mn-lt"/>
              </a:rPr>
              <a:t>Neohelden: Health-</a:t>
            </a:r>
            <a:r>
              <a:rPr lang="de-DE" b="1" dirty="0" err="1">
                <a:ea typeface="+mn-lt"/>
                <a:cs typeface="+mn-lt"/>
              </a:rPr>
              <a:t>as</a:t>
            </a:r>
            <a:r>
              <a:rPr lang="de-DE" b="1" dirty="0">
                <a:ea typeface="+mn-lt"/>
                <a:cs typeface="+mn-lt"/>
              </a:rPr>
              <a:t>-a-Service</a:t>
            </a:r>
            <a:endParaRPr lang="de-DE" b="1" dirty="0"/>
          </a:p>
        </p:txBody>
      </p:sp>
      <p:sp>
        <p:nvSpPr>
          <p:cNvPr id="14" name="Fußzeilenplatzhalter 1">
            <a:extLst>
              <a:ext uri="{FF2B5EF4-FFF2-40B4-BE49-F238E27FC236}">
                <a16:creationId xmlns:a16="http://schemas.microsoft.com/office/drawing/2014/main" id="{168CFF42-91D3-67DE-CB4B-DF8F41C6641E}"/>
              </a:ext>
            </a:extLst>
          </p:cNvPr>
          <p:cNvSpPr>
            <a:spLocks noGrp="1"/>
          </p:cNvSpPr>
          <p:nvPr>
            <p:ph type="ftr" sz="quarter" idx="10"/>
          </p:nvPr>
        </p:nvSpPr>
        <p:spPr>
          <a:xfrm>
            <a:off x="655780" y="6443762"/>
            <a:ext cx="4968501" cy="153888"/>
          </a:xfrm>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C270EAED-AF55-1F6F-6EB6-E556BE67BB38}"/>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39</a:t>
            </a:fld>
            <a:endParaRPr lang="de-DE"/>
          </a:p>
        </p:txBody>
      </p:sp>
      <p:sp>
        <p:nvSpPr>
          <p:cNvPr id="24" name="Textfeld 23">
            <a:extLst>
              <a:ext uri="{FF2B5EF4-FFF2-40B4-BE49-F238E27FC236}">
                <a16:creationId xmlns:a16="http://schemas.microsoft.com/office/drawing/2014/main" id="{391BCE87-5D2D-90FA-9F6F-E5C39D2CFCBA}"/>
              </a:ext>
            </a:extLst>
          </p:cNvPr>
          <p:cNvSpPr txBox="1"/>
          <p:nvPr>
            <p:custDataLst>
              <p:tags r:id="rId1"/>
            </p:custDataLst>
          </p:nvPr>
        </p:nvSpPr>
        <p:spPr>
          <a:xfrm>
            <a:off x="653193" y="1757105"/>
            <a:ext cx="4251741"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Ihre Herausforderung</a:t>
            </a:r>
            <a:endParaRPr lang="de-DE" dirty="0"/>
          </a:p>
          <a:p>
            <a:pPr marL="171450" indent="-171450">
              <a:lnSpc>
                <a:spcPct val="90000"/>
              </a:lnSpc>
              <a:spcAft>
                <a:spcPts val="200"/>
              </a:spcAft>
              <a:buClr>
                <a:srgbClr val="A01441"/>
              </a:buClr>
              <a:buFont typeface="Arial" panose="020B0604020202020204" pitchFamily="34" charset="0"/>
              <a:buChar char="•"/>
            </a:pPr>
            <a:r>
              <a:rPr lang="de-DE" sz="1200" dirty="0">
                <a:solidFill>
                  <a:srgbClr val="131313"/>
                </a:solidFill>
                <a:ea typeface="+mn-lt"/>
                <a:cs typeface="+mn-lt"/>
              </a:rPr>
              <a:t>Demografischer Wandel, steigende </a:t>
            </a:r>
            <a:br>
              <a:rPr lang="de-DE" sz="1200" dirty="0">
                <a:solidFill>
                  <a:srgbClr val="131313"/>
                </a:solidFill>
                <a:ea typeface="+mn-lt"/>
                <a:cs typeface="+mn-lt"/>
              </a:rPr>
            </a:br>
            <a:r>
              <a:rPr lang="de-DE" sz="1200" dirty="0">
                <a:solidFill>
                  <a:srgbClr val="131313"/>
                </a:solidFill>
                <a:ea typeface="+mn-lt"/>
                <a:cs typeface="+mn-lt"/>
              </a:rPr>
              <a:t>Patientenzahlen und Bürokratie belasten das Gesundheitswesen </a:t>
            </a:r>
          </a:p>
          <a:p>
            <a:pPr marL="171450" indent="-171450">
              <a:lnSpc>
                <a:spcPct val="90000"/>
              </a:lnSpc>
              <a:spcAft>
                <a:spcPts val="200"/>
              </a:spcAft>
              <a:buClr>
                <a:srgbClr val="A01441"/>
              </a:buClr>
              <a:buFont typeface="Arial" panose="020B0604020202020204" pitchFamily="34" charset="0"/>
              <a:buChar char="•"/>
            </a:pPr>
            <a:r>
              <a:rPr lang="de-DE" sz="1200" dirty="0">
                <a:solidFill>
                  <a:srgbClr val="131313"/>
                </a:solidFill>
                <a:ea typeface="+mn-lt"/>
                <a:cs typeface="+mn-lt"/>
              </a:rPr>
              <a:t>Überlastung von Gesundheitseinrichtungen und Personalengpässe, schlechte Erreichbarkeit &amp; Servicequalität</a:t>
            </a:r>
          </a:p>
          <a:p>
            <a:pPr marL="171450" indent="-171450">
              <a:lnSpc>
                <a:spcPct val="90000"/>
              </a:lnSpc>
              <a:spcAft>
                <a:spcPts val="200"/>
              </a:spcAft>
              <a:buClr>
                <a:srgbClr val="A01441"/>
              </a:buClr>
              <a:buFont typeface="Arial" panose="020B0604020202020204" pitchFamily="34" charset="0"/>
              <a:buChar char="•"/>
            </a:pPr>
            <a:r>
              <a:rPr lang="de-DE" sz="1200" dirty="0">
                <a:solidFill>
                  <a:srgbClr val="131313"/>
                </a:solidFill>
                <a:ea typeface="+mn-lt"/>
                <a:cs typeface="+mn-lt"/>
              </a:rPr>
              <a:t>Fehlende Digitalisierung und Medienbrüche</a:t>
            </a:r>
          </a:p>
          <a:p>
            <a:pPr marL="171450" indent="-171450">
              <a:lnSpc>
                <a:spcPct val="90000"/>
              </a:lnSpc>
              <a:spcAft>
                <a:spcPts val="200"/>
              </a:spcAft>
              <a:buClr>
                <a:srgbClr val="A01441"/>
              </a:buClr>
              <a:buFont typeface="Arial" panose="020B0604020202020204" pitchFamily="34" charset="0"/>
              <a:buChar char="•"/>
            </a:pPr>
            <a:r>
              <a:rPr lang="de-DE" sz="1200" dirty="0">
                <a:solidFill>
                  <a:srgbClr val="131313"/>
                </a:solidFill>
                <a:ea typeface="+mn-lt"/>
                <a:cs typeface="+mn-lt"/>
              </a:rPr>
              <a:t>Unbesetzte Stellen wegen Fachkräftemangel</a:t>
            </a:r>
          </a:p>
          <a:p>
            <a:pPr marL="171450" indent="-171450">
              <a:lnSpc>
                <a:spcPct val="90000"/>
              </a:lnSpc>
              <a:spcAft>
                <a:spcPts val="200"/>
              </a:spcAft>
              <a:buClr>
                <a:srgbClr val="A01441"/>
              </a:buClr>
              <a:buFont typeface="Arial" panose="020B0604020202020204" pitchFamily="34" charset="0"/>
              <a:buChar char="•"/>
            </a:pPr>
            <a:r>
              <a:rPr lang="de-DE" sz="1200" dirty="0">
                <a:solidFill>
                  <a:srgbClr val="131313"/>
                </a:solidFill>
                <a:ea typeface="+mn-lt"/>
                <a:cs typeface="+mn-lt"/>
              </a:rPr>
              <a:t>Sprachbarrieren bei Patienten und Fachpersonal</a:t>
            </a:r>
          </a:p>
        </p:txBody>
      </p:sp>
      <p:sp>
        <p:nvSpPr>
          <p:cNvPr id="26" name="Textfeld 25">
            <a:extLst>
              <a:ext uri="{FF2B5EF4-FFF2-40B4-BE49-F238E27FC236}">
                <a16:creationId xmlns:a16="http://schemas.microsoft.com/office/drawing/2014/main" id="{5C28FAB2-3D2F-28CE-1747-B6342B756E4A}"/>
              </a:ext>
            </a:extLst>
          </p:cNvPr>
          <p:cNvSpPr txBox="1"/>
          <p:nvPr>
            <p:custDataLst>
              <p:tags r:id="rId2"/>
            </p:custDataLst>
          </p:nvPr>
        </p:nvSpPr>
        <p:spPr>
          <a:xfrm>
            <a:off x="5227128" y="1752919"/>
            <a:ext cx="4259861" cy="2628253"/>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Ihr Nutzen</a:t>
            </a:r>
            <a:endParaRPr lang="de-DE" dirty="0"/>
          </a:p>
          <a:p>
            <a:pPr marL="215900" lvl="1" indent="-215900">
              <a:lnSpc>
                <a:spcPct val="90000"/>
              </a:lnSpc>
              <a:spcAft>
                <a:spcPts val="200"/>
              </a:spcAft>
            </a:pPr>
            <a:r>
              <a:rPr lang="de-DE" sz="1200" spc="-20" dirty="0">
                <a:solidFill>
                  <a:srgbClr val="131313"/>
                </a:solidFill>
                <a:ea typeface="+mn-lt"/>
                <a:cs typeface="+mn-lt"/>
              </a:rPr>
              <a:t>Anrufe automatisch triagieren und dringende </a:t>
            </a:r>
            <a:br>
              <a:rPr lang="de-DE" sz="1200" spc="-20" dirty="0">
                <a:solidFill>
                  <a:srgbClr val="131313"/>
                </a:solidFill>
                <a:ea typeface="+mn-lt"/>
                <a:cs typeface="+mn-lt"/>
              </a:rPr>
            </a:br>
            <a:r>
              <a:rPr lang="de-DE" sz="1200" spc="-20" dirty="0">
                <a:solidFill>
                  <a:srgbClr val="131313"/>
                </a:solidFill>
                <a:ea typeface="+mn-lt"/>
                <a:cs typeface="+mn-lt"/>
              </a:rPr>
              <a:t>Fälle sofort zum richtigen Ansprechpartner routen</a:t>
            </a:r>
          </a:p>
          <a:p>
            <a:pPr marL="215900" lvl="1" indent="-215900">
              <a:lnSpc>
                <a:spcPct val="90000"/>
              </a:lnSpc>
              <a:spcAft>
                <a:spcPts val="200"/>
              </a:spcAft>
            </a:pPr>
            <a:r>
              <a:rPr lang="de-DE" sz="1200" dirty="0">
                <a:solidFill>
                  <a:srgbClr val="131313"/>
                </a:solidFill>
                <a:ea typeface="+mn-lt"/>
                <a:cs typeface="+mn-lt"/>
              </a:rPr>
              <a:t>Rezept- und Terminwünsche u.v.m. vollautomatisch annehmen, dokumentieren und bearbeiten, ganz ohne Wartezeit</a:t>
            </a:r>
          </a:p>
          <a:p>
            <a:pPr marL="215900" lvl="1" indent="-215900">
              <a:lnSpc>
                <a:spcPct val="90000"/>
              </a:lnSpc>
              <a:spcAft>
                <a:spcPts val="200"/>
              </a:spcAft>
            </a:pPr>
            <a:r>
              <a:rPr lang="de-DE" sz="1200" dirty="0">
                <a:solidFill>
                  <a:srgbClr val="131313"/>
                </a:solidFill>
                <a:ea typeface="+mn-lt"/>
                <a:cs typeface="+mn-lt"/>
              </a:rPr>
              <a:t>Alle Anfragen zentral organisieren, kein Mitschreiben, keine Fehler, volle Transparenz</a:t>
            </a:r>
          </a:p>
          <a:p>
            <a:pPr marL="215900" lvl="1" indent="-215900">
              <a:lnSpc>
                <a:spcPct val="90000"/>
              </a:lnSpc>
              <a:spcAft>
                <a:spcPts val="200"/>
              </a:spcAft>
            </a:pPr>
            <a:r>
              <a:rPr lang="de-DE" sz="1200" dirty="0">
                <a:solidFill>
                  <a:srgbClr val="131313"/>
                </a:solidFill>
                <a:ea typeface="+mn-lt"/>
                <a:cs typeface="+mn-lt"/>
              </a:rPr>
              <a:t>Überweisungsscheine und PTV-Formulare automatisiert verarbeiten</a:t>
            </a:r>
          </a:p>
          <a:p>
            <a:pPr marL="215900" lvl="1" indent="-215900">
              <a:lnSpc>
                <a:spcPct val="90000"/>
              </a:lnSpc>
              <a:spcAft>
                <a:spcPts val="200"/>
              </a:spcAft>
            </a:pPr>
            <a:r>
              <a:rPr lang="de-DE" sz="1200" dirty="0">
                <a:solidFill>
                  <a:srgbClr val="131313"/>
                </a:solidFill>
                <a:ea typeface="+mn-lt"/>
                <a:cs typeface="+mn-lt"/>
              </a:rPr>
              <a:t>Direktes Beantworten der Anfragen per SMS, beispielsweise für E-Rezepte &amp; Terminbestätigungen</a:t>
            </a:r>
            <a:endParaRPr lang="de-DE" sz="1200" dirty="0">
              <a:solidFill>
                <a:srgbClr val="131313"/>
              </a:solidFill>
              <a:latin typeface="Aptos"/>
            </a:endParaRPr>
          </a:p>
        </p:txBody>
      </p:sp>
      <p:sp>
        <p:nvSpPr>
          <p:cNvPr id="28" name="Textfeld 27">
            <a:extLst>
              <a:ext uri="{FF2B5EF4-FFF2-40B4-BE49-F238E27FC236}">
                <a16:creationId xmlns:a16="http://schemas.microsoft.com/office/drawing/2014/main" id="{4F6348FE-F848-E434-51BD-123839BE7104}"/>
              </a:ext>
            </a:extLst>
          </p:cNvPr>
          <p:cNvSpPr txBox="1"/>
          <p:nvPr>
            <p:custDataLst>
              <p:tags r:id="rId3"/>
            </p:custDataLst>
          </p:nvPr>
        </p:nvSpPr>
        <p:spPr>
          <a:xfrm>
            <a:off x="653195" y="3893193"/>
            <a:ext cx="4370185" cy="1959868"/>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Unser Angebot</a:t>
            </a:r>
          </a:p>
          <a:p>
            <a:pPr marL="215900" lvl="1" indent="-215900">
              <a:lnSpc>
                <a:spcPct val="90000"/>
              </a:lnSpc>
              <a:spcAft>
                <a:spcPts val="200"/>
              </a:spcAft>
            </a:pPr>
            <a:r>
              <a:rPr lang="de-DE" sz="1200" spc="-20" dirty="0">
                <a:solidFill>
                  <a:srgbClr val="131313"/>
                </a:solidFill>
                <a:ea typeface="+mn-lt"/>
                <a:cs typeface="+mn-lt"/>
              </a:rPr>
              <a:t>KI-Telefonassistent – </a:t>
            </a:r>
            <a:br>
              <a:rPr lang="de-DE" sz="1200" spc="-20" dirty="0">
                <a:solidFill>
                  <a:srgbClr val="131313"/>
                </a:solidFill>
                <a:ea typeface="+mn-lt"/>
                <a:cs typeface="+mn-lt"/>
              </a:rPr>
            </a:br>
            <a:r>
              <a:rPr lang="de-DE" sz="1200" spc="-20" dirty="0">
                <a:solidFill>
                  <a:srgbClr val="131313"/>
                </a:solidFill>
                <a:ea typeface="+mn-lt"/>
                <a:cs typeface="+mn-lt"/>
              </a:rPr>
              <a:t>GENIAL. EINFACH. SICHER.</a:t>
            </a:r>
          </a:p>
          <a:p>
            <a:pPr marL="215900" lvl="1" indent="-215900">
              <a:lnSpc>
                <a:spcPct val="90000"/>
              </a:lnSpc>
              <a:spcAft>
                <a:spcPts val="200"/>
              </a:spcAft>
            </a:pPr>
            <a:r>
              <a:rPr lang="de-DE" sz="1200" spc="-20" dirty="0">
                <a:solidFill>
                  <a:srgbClr val="131313"/>
                </a:solidFill>
                <a:ea typeface="+mn-lt"/>
                <a:cs typeface="+mn-lt"/>
              </a:rPr>
              <a:t>Keine besetzte Leitung durch parallele </a:t>
            </a:r>
            <a:br>
              <a:rPr lang="de-DE" sz="1200" spc="-20" dirty="0">
                <a:solidFill>
                  <a:srgbClr val="131313"/>
                </a:solidFill>
                <a:ea typeface="+mn-lt"/>
                <a:cs typeface="+mn-lt"/>
              </a:rPr>
            </a:br>
            <a:r>
              <a:rPr lang="de-DE" sz="1200" spc="-20" dirty="0">
                <a:solidFill>
                  <a:srgbClr val="131313"/>
                </a:solidFill>
                <a:ea typeface="+mn-lt"/>
                <a:cs typeface="+mn-lt"/>
              </a:rPr>
              <a:t>Anrufannahme</a:t>
            </a:r>
          </a:p>
          <a:p>
            <a:pPr marL="215900" lvl="1" indent="-215900">
              <a:lnSpc>
                <a:spcPct val="90000"/>
              </a:lnSpc>
              <a:spcAft>
                <a:spcPts val="200"/>
              </a:spcAft>
            </a:pPr>
            <a:r>
              <a:rPr lang="de-DE" sz="1200" dirty="0">
                <a:solidFill>
                  <a:srgbClr val="131313"/>
                </a:solidFill>
                <a:ea typeface="+mn-lt"/>
                <a:cs typeface="+mn-lt"/>
              </a:rPr>
              <a:t>Vordefinierte Lösung als PaaS &amp; SaaS für Kliniken, Praxen, Labore, GKV und PKV</a:t>
            </a:r>
          </a:p>
          <a:p>
            <a:pPr marL="215900" lvl="1" indent="-215900">
              <a:lnSpc>
                <a:spcPct val="90000"/>
              </a:lnSpc>
              <a:spcAft>
                <a:spcPts val="200"/>
              </a:spcAft>
            </a:pPr>
            <a:r>
              <a:rPr lang="de-DE" sz="1200" dirty="0">
                <a:solidFill>
                  <a:srgbClr val="131313"/>
                </a:solidFill>
                <a:ea typeface="+mn-lt"/>
                <a:cs typeface="+mn-lt"/>
              </a:rPr>
              <a:t>Nahtlose Integration in bestehende Prozesse und Systeme</a:t>
            </a:r>
          </a:p>
          <a:p>
            <a:pPr marL="215900" lvl="1" indent="-215900">
              <a:lnSpc>
                <a:spcPct val="90000"/>
              </a:lnSpc>
              <a:spcAft>
                <a:spcPts val="200"/>
              </a:spcAft>
            </a:pPr>
            <a:r>
              <a:rPr lang="de-DE" sz="1200" dirty="0">
                <a:solidFill>
                  <a:srgbClr val="131313"/>
                </a:solidFill>
                <a:ea typeface="+mn-lt"/>
                <a:cs typeface="+mn-lt"/>
              </a:rPr>
              <a:t>Maximale Sicherheit für ihre Daten!</a:t>
            </a:r>
            <a:br>
              <a:rPr lang="de-DE" sz="1200" dirty="0">
                <a:solidFill>
                  <a:srgbClr val="131313"/>
                </a:solidFill>
                <a:ea typeface="+mn-lt"/>
                <a:cs typeface="+mn-lt"/>
              </a:rPr>
            </a:br>
            <a:r>
              <a:rPr lang="de-DE" sz="1200" dirty="0">
                <a:solidFill>
                  <a:srgbClr val="131313"/>
                </a:solidFill>
                <a:ea typeface="+mn-lt"/>
                <a:cs typeface="+mn-lt"/>
              </a:rPr>
              <a:t>(ISO27001, ISO9001, C5 Testat in Durchführung)</a:t>
            </a:r>
          </a:p>
          <a:p>
            <a:pPr marL="215900" lvl="1" indent="-215900">
              <a:lnSpc>
                <a:spcPct val="90000"/>
              </a:lnSpc>
              <a:spcAft>
                <a:spcPts val="200"/>
              </a:spcAft>
            </a:pPr>
            <a:r>
              <a:rPr lang="de-DE" sz="1200" dirty="0">
                <a:solidFill>
                  <a:srgbClr val="131313"/>
                </a:solidFill>
                <a:ea typeface="+mn-lt"/>
                <a:cs typeface="+mn-lt"/>
              </a:rPr>
              <a:t>Der KI-Telefonassistent unterstützt deutschlandweit mit mehr als 3 Mio. verarbeiteten Anliegen pro Jahr</a:t>
            </a:r>
          </a:p>
        </p:txBody>
      </p:sp>
      <p:sp>
        <p:nvSpPr>
          <p:cNvPr id="30" name="Textfeld 29">
            <a:extLst>
              <a:ext uri="{FF2B5EF4-FFF2-40B4-BE49-F238E27FC236}">
                <a16:creationId xmlns:a16="http://schemas.microsoft.com/office/drawing/2014/main" id="{B7E88052-34F9-A2F8-6459-567F74E497A9}"/>
              </a:ext>
            </a:extLst>
          </p:cNvPr>
          <p:cNvSpPr txBox="1"/>
          <p:nvPr>
            <p:custDataLst>
              <p:tags r:id="rId4"/>
            </p:custDataLst>
          </p:nvPr>
        </p:nvSpPr>
        <p:spPr>
          <a:xfrm>
            <a:off x="5227128" y="4233055"/>
            <a:ext cx="4215714" cy="1959868"/>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dirty="0"/>
              <a:t>Unsere Partner und Referenzen</a:t>
            </a:r>
          </a:p>
          <a:p>
            <a:pPr marL="215900" lvl="1" indent="-215900">
              <a:lnSpc>
                <a:spcPct val="90000"/>
              </a:lnSpc>
              <a:spcAft>
                <a:spcPts val="200"/>
              </a:spcAft>
            </a:pPr>
            <a:r>
              <a:rPr lang="de-DE" sz="1200" dirty="0"/>
              <a:t>Partner: NT AG, VIER, msg GBH</a:t>
            </a:r>
          </a:p>
          <a:p>
            <a:pPr marL="215900" lvl="1" indent="-215900">
              <a:lnSpc>
                <a:spcPct val="90000"/>
              </a:lnSpc>
              <a:spcAft>
                <a:spcPts val="200"/>
              </a:spcAft>
            </a:pPr>
            <a:r>
              <a:rPr lang="de-DE" sz="1200" spc="-20" dirty="0"/>
              <a:t>KVB: KI-Telefonassistenz in der Terminservicestelle </a:t>
            </a:r>
            <a:br>
              <a:rPr lang="de-DE" sz="1200" spc="-20" dirty="0"/>
            </a:br>
            <a:r>
              <a:rPr lang="de-DE" sz="1200" spc="-20" dirty="0"/>
              <a:t>116117 hilft Patienten bei der Terminvereinbarung </a:t>
            </a:r>
          </a:p>
          <a:p>
            <a:pPr marL="215900" lvl="1" indent="-215900">
              <a:lnSpc>
                <a:spcPct val="90000"/>
              </a:lnSpc>
              <a:spcAft>
                <a:spcPts val="200"/>
              </a:spcAft>
            </a:pPr>
            <a:r>
              <a:rPr lang="de-DE" sz="1200" dirty="0" err="1"/>
              <a:t>Amedes</a:t>
            </a:r>
            <a:r>
              <a:rPr lang="de-DE" sz="1200" dirty="0"/>
              <a:t> Group: KI-Telefonassistenz im zentralen Kundenservice und in der Patiententelefonie</a:t>
            </a:r>
          </a:p>
          <a:p>
            <a:pPr marL="215900" lvl="1" indent="-215900">
              <a:lnSpc>
                <a:spcPct val="90000"/>
              </a:lnSpc>
              <a:spcAft>
                <a:spcPts val="200"/>
              </a:spcAft>
            </a:pPr>
            <a:r>
              <a:rPr lang="de-DE" sz="1200" dirty="0"/>
              <a:t>IMD Labor Berlin: KI-Telefonassistenz zur Terminvereinbarung von Probeentnahmen und intelligente Anrufklassifikation und Routing an den Innendienst</a:t>
            </a:r>
          </a:p>
        </p:txBody>
      </p:sp>
      <p:cxnSp>
        <p:nvCxnSpPr>
          <p:cNvPr id="4" name="Gerader Verbinder 19">
            <a:extLst>
              <a:ext uri="{FF2B5EF4-FFF2-40B4-BE49-F238E27FC236}">
                <a16:creationId xmlns:a16="http://schemas.microsoft.com/office/drawing/2014/main" id="{525EE1D7-248D-7399-290A-3A4DB2C87790}"/>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5" name="Picture 3">
            <a:extLst>
              <a:ext uri="{FF2B5EF4-FFF2-40B4-BE49-F238E27FC236}">
                <a16:creationId xmlns:a16="http://schemas.microsoft.com/office/drawing/2014/main" id="{A8302DC5-C784-F8DF-B91E-AAB33DD721C6}"/>
              </a:ext>
            </a:extLst>
          </p:cNvPr>
          <p:cNvPicPr>
            <a:picLocks noChangeAspect="1"/>
          </p:cNvPicPr>
          <p:nvPr/>
        </p:nvPicPr>
        <p:blipFill>
          <a:blip r:embed="rId11"/>
          <a:srcRect/>
          <a:stretch/>
        </p:blipFill>
        <p:spPr>
          <a:xfrm>
            <a:off x="10068906" y="2272145"/>
            <a:ext cx="1767151" cy="266875"/>
          </a:xfrm>
          <a:prstGeom prst="rect">
            <a:avLst/>
          </a:prstGeom>
        </p:spPr>
      </p:pic>
      <p:grpSp>
        <p:nvGrpSpPr>
          <p:cNvPr id="6" name="Gruppieren 5">
            <a:extLst>
              <a:ext uri="{FF2B5EF4-FFF2-40B4-BE49-F238E27FC236}">
                <a16:creationId xmlns:a16="http://schemas.microsoft.com/office/drawing/2014/main" id="{B2F5B038-5E10-B77A-64B2-611F672A01C6}"/>
              </a:ext>
            </a:extLst>
          </p:cNvPr>
          <p:cNvGrpSpPr/>
          <p:nvPr/>
        </p:nvGrpSpPr>
        <p:grpSpPr>
          <a:xfrm>
            <a:off x="4138804" y="1771450"/>
            <a:ext cx="703694" cy="703694"/>
            <a:chOff x="3460071" y="1779904"/>
            <a:chExt cx="869145" cy="869145"/>
          </a:xfrm>
        </p:grpSpPr>
        <p:sp>
          <p:nvSpPr>
            <p:cNvPr id="7" name="Kreis: nicht ausgefüllt 6">
              <a:extLst>
                <a:ext uri="{FF2B5EF4-FFF2-40B4-BE49-F238E27FC236}">
                  <a16:creationId xmlns:a16="http://schemas.microsoft.com/office/drawing/2014/main" id="{293581A1-3CB8-10CE-E2EF-7E7F60D8379F}"/>
                </a:ext>
              </a:extLst>
            </p:cNvPr>
            <p:cNvSpPr/>
            <p:nvPr>
              <p:custDataLst>
                <p:tags r:id="rId8"/>
              </p:custDataLst>
            </p:nvPr>
          </p:nvSpPr>
          <p:spPr>
            <a:xfrm>
              <a:off x="3460071"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9" name="Grafik 8">
              <a:extLst>
                <a:ext uri="{FF2B5EF4-FFF2-40B4-BE49-F238E27FC236}">
                  <a16:creationId xmlns:a16="http://schemas.microsoft.com/office/drawing/2014/main" id="{8F10D158-AF4D-0967-6853-52AC8BB19AF8}"/>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496632" y="1796942"/>
              <a:ext cx="809625" cy="809625"/>
            </a:xfrm>
            <a:prstGeom prst="rect">
              <a:avLst/>
            </a:prstGeom>
          </p:spPr>
        </p:pic>
      </p:grpSp>
      <p:grpSp>
        <p:nvGrpSpPr>
          <p:cNvPr id="10" name="Gruppieren 9">
            <a:extLst>
              <a:ext uri="{FF2B5EF4-FFF2-40B4-BE49-F238E27FC236}">
                <a16:creationId xmlns:a16="http://schemas.microsoft.com/office/drawing/2014/main" id="{6EAAF189-8CE3-6F96-A65E-CC3F3B8D0DA6}"/>
              </a:ext>
            </a:extLst>
          </p:cNvPr>
          <p:cNvGrpSpPr/>
          <p:nvPr/>
        </p:nvGrpSpPr>
        <p:grpSpPr>
          <a:xfrm>
            <a:off x="8767799" y="4183850"/>
            <a:ext cx="703694" cy="703694"/>
            <a:chOff x="8575325" y="4111833"/>
            <a:chExt cx="869145" cy="869145"/>
          </a:xfrm>
        </p:grpSpPr>
        <p:sp>
          <p:nvSpPr>
            <p:cNvPr id="11" name="Kreis: nicht ausgefüllt 10">
              <a:extLst>
                <a:ext uri="{FF2B5EF4-FFF2-40B4-BE49-F238E27FC236}">
                  <a16:creationId xmlns:a16="http://schemas.microsoft.com/office/drawing/2014/main" id="{E3388193-131C-6D09-A8F5-1B8F82A3206C}"/>
                </a:ext>
              </a:extLst>
            </p:cNvPr>
            <p:cNvSpPr/>
            <p:nvPr>
              <p:custDataLst>
                <p:tags r:id="rId7"/>
              </p:custDataLst>
            </p:nvPr>
          </p:nvSpPr>
          <p:spPr>
            <a:xfrm>
              <a:off x="8575325"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3" name="Grafik 12">
              <a:extLst>
                <a:ext uri="{FF2B5EF4-FFF2-40B4-BE49-F238E27FC236}">
                  <a16:creationId xmlns:a16="http://schemas.microsoft.com/office/drawing/2014/main" id="{E566DCB7-09D5-A4E2-8D32-92B01E0EBF67}"/>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8608010" y="4171353"/>
              <a:ext cx="809625" cy="809625"/>
            </a:xfrm>
            <a:prstGeom prst="rect">
              <a:avLst/>
            </a:prstGeom>
          </p:spPr>
        </p:pic>
      </p:grpSp>
      <p:grpSp>
        <p:nvGrpSpPr>
          <p:cNvPr id="19" name="Gruppieren 18">
            <a:extLst>
              <a:ext uri="{FF2B5EF4-FFF2-40B4-BE49-F238E27FC236}">
                <a16:creationId xmlns:a16="http://schemas.microsoft.com/office/drawing/2014/main" id="{7089C3B6-FD04-4E8A-C903-129852CCEA7E}"/>
              </a:ext>
            </a:extLst>
          </p:cNvPr>
          <p:cNvGrpSpPr/>
          <p:nvPr/>
        </p:nvGrpSpPr>
        <p:grpSpPr>
          <a:xfrm>
            <a:off x="8760780" y="1771450"/>
            <a:ext cx="703694" cy="703694"/>
            <a:chOff x="7459565" y="1779904"/>
            <a:chExt cx="869145" cy="869145"/>
          </a:xfrm>
        </p:grpSpPr>
        <p:sp>
          <p:nvSpPr>
            <p:cNvPr id="20" name="Kreis: nicht ausgefüllt 19">
              <a:extLst>
                <a:ext uri="{FF2B5EF4-FFF2-40B4-BE49-F238E27FC236}">
                  <a16:creationId xmlns:a16="http://schemas.microsoft.com/office/drawing/2014/main" id="{D59D6426-3E20-5118-BCA0-BDD03B241F71}"/>
                </a:ext>
              </a:extLst>
            </p:cNvPr>
            <p:cNvSpPr/>
            <p:nvPr>
              <p:custDataLst>
                <p:tags r:id="rId6"/>
              </p:custDataLst>
            </p:nvPr>
          </p:nvSpPr>
          <p:spPr>
            <a:xfrm>
              <a:off x="7459565"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1" name="Grafik 20">
              <a:extLst>
                <a:ext uri="{FF2B5EF4-FFF2-40B4-BE49-F238E27FC236}">
                  <a16:creationId xmlns:a16="http://schemas.microsoft.com/office/drawing/2014/main" id="{75F075E9-8C6B-A6D5-8483-66A759EAFAB3}"/>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7493685" y="1797686"/>
              <a:ext cx="809625" cy="809625"/>
            </a:xfrm>
            <a:prstGeom prst="rect">
              <a:avLst/>
            </a:prstGeom>
          </p:spPr>
        </p:pic>
      </p:grpSp>
      <p:grpSp>
        <p:nvGrpSpPr>
          <p:cNvPr id="22" name="Gruppieren 21">
            <a:extLst>
              <a:ext uri="{FF2B5EF4-FFF2-40B4-BE49-F238E27FC236}">
                <a16:creationId xmlns:a16="http://schemas.microsoft.com/office/drawing/2014/main" id="{95873B91-648B-5D26-A78A-7EFE5E9C5D87}"/>
              </a:ext>
            </a:extLst>
          </p:cNvPr>
          <p:cNvGrpSpPr/>
          <p:nvPr/>
        </p:nvGrpSpPr>
        <p:grpSpPr>
          <a:xfrm>
            <a:off x="4138804" y="3816990"/>
            <a:ext cx="703694" cy="703694"/>
            <a:chOff x="3460071" y="4111833"/>
            <a:chExt cx="869145" cy="869145"/>
          </a:xfrm>
        </p:grpSpPr>
        <p:sp>
          <p:nvSpPr>
            <p:cNvPr id="37" name="Kreis: nicht ausgefüllt 36">
              <a:extLst>
                <a:ext uri="{FF2B5EF4-FFF2-40B4-BE49-F238E27FC236}">
                  <a16:creationId xmlns:a16="http://schemas.microsoft.com/office/drawing/2014/main" id="{71A2D624-C547-F1B6-61EC-2A5A4690422A}"/>
                </a:ext>
              </a:extLst>
            </p:cNvPr>
            <p:cNvSpPr/>
            <p:nvPr>
              <p:custDataLst>
                <p:tags r:id="rId5"/>
              </p:custDataLst>
            </p:nvPr>
          </p:nvSpPr>
          <p:spPr>
            <a:xfrm>
              <a:off x="3460071"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8" name="Grafik 37">
              <a:extLst>
                <a:ext uri="{FF2B5EF4-FFF2-40B4-BE49-F238E27FC236}">
                  <a16:creationId xmlns:a16="http://schemas.microsoft.com/office/drawing/2014/main" id="{CD62F92B-4DA7-45EE-9E62-1624184A7106}"/>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489830" y="4141593"/>
              <a:ext cx="809625" cy="809625"/>
            </a:xfrm>
            <a:prstGeom prst="rect">
              <a:avLst/>
            </a:prstGeom>
          </p:spPr>
        </p:pic>
      </p:grpSp>
    </p:spTree>
    <p:extLst>
      <p:ext uri="{BB962C8B-B14F-4D97-AF65-F5344CB8AC3E}">
        <p14:creationId xmlns:p14="http://schemas.microsoft.com/office/powerpoint/2010/main" val="41760529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descr="Ein Bild, das Grün, Farbigkeit, gelb, Wasser enthält.&#10;&#10;Automatisch generierte Beschreibung">
            <a:extLst>
              <a:ext uri="{FF2B5EF4-FFF2-40B4-BE49-F238E27FC236}">
                <a16:creationId xmlns:a16="http://schemas.microsoft.com/office/drawing/2014/main" id="{AC65818F-8B15-C695-96A8-C8A5AF0CDA00}"/>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V="1">
            <a:off x="2689409" y="-2689407"/>
            <a:ext cx="6858002" cy="12236817"/>
          </a:xfrm>
          <a:prstGeom prst="rect">
            <a:avLst/>
          </a:prstGeom>
        </p:spPr>
      </p:pic>
      <p:sp>
        <p:nvSpPr>
          <p:cNvPr id="4" name="Rechteck 3">
            <a:extLst>
              <a:ext uri="{FF2B5EF4-FFF2-40B4-BE49-F238E27FC236}">
                <a16:creationId xmlns:a16="http://schemas.microsoft.com/office/drawing/2014/main" id="{623433FC-4EA1-159E-396B-DAE8358B992D}"/>
              </a:ext>
            </a:extLst>
          </p:cNvPr>
          <p:cNvSpPr/>
          <p:nvPr/>
        </p:nvSpPr>
        <p:spPr>
          <a:xfrm>
            <a:off x="0" y="2721429"/>
            <a:ext cx="12242800" cy="4136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5" name="Diagonal liegende Ecken des Rechtecks abrunden 4">
            <a:extLst>
              <a:ext uri="{FF2B5EF4-FFF2-40B4-BE49-F238E27FC236}">
                <a16:creationId xmlns:a16="http://schemas.microsoft.com/office/drawing/2014/main" id="{6C8E3D4A-4BC7-C393-6031-23BADA7FAEAA}"/>
              </a:ext>
            </a:extLst>
          </p:cNvPr>
          <p:cNvSpPr/>
          <p:nvPr/>
        </p:nvSpPr>
        <p:spPr>
          <a:xfrm flipV="1">
            <a:off x="623888" y="2384425"/>
            <a:ext cx="7233975" cy="2970860"/>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61" name="think-cell data - do not delete" hidden="1">
            <a:extLst>
              <a:ext uri="{FF2B5EF4-FFF2-40B4-BE49-F238E27FC236}">
                <a16:creationId xmlns:a16="http://schemas.microsoft.com/office/drawing/2014/main" id="{A7FA0EB9-E636-3A04-807D-1581C4E898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61" name="think-cell data - do not delete" hidden="1">
                        <a:extLst>
                          <a:ext uri="{FF2B5EF4-FFF2-40B4-BE49-F238E27FC236}">
                            <a16:creationId xmlns:a16="http://schemas.microsoft.com/office/drawing/2014/main" id="{A7FA0EB9-E636-3A04-807D-1581C4E898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TextBox 22">
            <a:extLst>
              <a:ext uri="{FF2B5EF4-FFF2-40B4-BE49-F238E27FC236}">
                <a16:creationId xmlns:a16="http://schemas.microsoft.com/office/drawing/2014/main" id="{5233B6BC-A4E7-E3C9-84C6-15BFF053411F}"/>
              </a:ext>
            </a:extLst>
          </p:cNvPr>
          <p:cNvSpPr txBox="1">
            <a:spLocks/>
          </p:cNvSpPr>
          <p:nvPr/>
        </p:nvSpPr>
        <p:spPr>
          <a:xfrm>
            <a:off x="1262172" y="3140425"/>
            <a:ext cx="4394331"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dirty="0">
                <a:solidFill>
                  <a:schemeClr val="tx1"/>
                </a:solidFill>
              </a:rPr>
              <a:t>Intelligente Lösungen und IT-Beratung</a:t>
            </a:r>
          </a:p>
        </p:txBody>
      </p:sp>
      <p:pic>
        <p:nvPicPr>
          <p:cNvPr id="46" name="Grafik 45">
            <a:extLst>
              <a:ext uri="{FF2B5EF4-FFF2-40B4-BE49-F238E27FC236}">
                <a16:creationId xmlns:a16="http://schemas.microsoft.com/office/drawing/2014/main" id="{F422FFEF-3A97-F6EA-FF45-F2850F239DDB}"/>
              </a:ext>
            </a:extLst>
          </p:cNvPr>
          <p:cNvPicPr>
            <a:picLocks noChangeAspect="1"/>
          </p:cNvPicPr>
          <p:nvPr/>
        </p:nvPicPr>
        <p:blipFill rotWithShape="1">
          <a:blip r:embed="rId7"/>
          <a:srcRect t="25313" b="60889"/>
          <a:stretch/>
        </p:blipFill>
        <p:spPr>
          <a:xfrm>
            <a:off x="3610485" y="1284609"/>
            <a:ext cx="6059894" cy="1182833"/>
          </a:xfrm>
          <a:prstGeom prst="rect">
            <a:avLst/>
          </a:prstGeom>
        </p:spPr>
      </p:pic>
      <p:sp>
        <p:nvSpPr>
          <p:cNvPr id="49" name="TextBox 22">
            <a:extLst>
              <a:ext uri="{FF2B5EF4-FFF2-40B4-BE49-F238E27FC236}">
                <a16:creationId xmlns:a16="http://schemas.microsoft.com/office/drawing/2014/main" id="{6DC74FD7-BD25-EA02-EEE2-3A0C6B3EDC6C}"/>
              </a:ext>
            </a:extLst>
          </p:cNvPr>
          <p:cNvSpPr txBox="1">
            <a:spLocks/>
          </p:cNvSpPr>
          <p:nvPr/>
        </p:nvSpPr>
        <p:spPr>
          <a:xfrm>
            <a:off x="1262172" y="3652341"/>
            <a:ext cx="380864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dirty="0">
                <a:solidFill>
                  <a:schemeClr val="tx1"/>
                </a:solidFill>
              </a:rPr>
              <a:t>Überzeugende Erfolgsgeschichten</a:t>
            </a:r>
          </a:p>
        </p:txBody>
      </p:sp>
      <p:sp>
        <p:nvSpPr>
          <p:cNvPr id="51" name="TextBox 22">
            <a:extLst>
              <a:ext uri="{FF2B5EF4-FFF2-40B4-BE49-F238E27FC236}">
                <a16:creationId xmlns:a16="http://schemas.microsoft.com/office/drawing/2014/main" id="{B0BEB10C-63DE-1219-FD83-5E98DD7206E2}"/>
              </a:ext>
            </a:extLst>
          </p:cNvPr>
          <p:cNvSpPr txBox="1">
            <a:spLocks/>
          </p:cNvSpPr>
          <p:nvPr/>
        </p:nvSpPr>
        <p:spPr>
          <a:xfrm>
            <a:off x="1262172" y="4154698"/>
            <a:ext cx="380864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a:solidFill>
                  <a:schemeClr val="tx1"/>
                </a:solidFill>
              </a:rPr>
              <a:t>Unsere Stärken, Ihre Vorteile</a:t>
            </a:r>
          </a:p>
        </p:txBody>
      </p:sp>
      <p:sp>
        <p:nvSpPr>
          <p:cNvPr id="57" name="TextBox 22">
            <a:extLst>
              <a:ext uri="{FF2B5EF4-FFF2-40B4-BE49-F238E27FC236}">
                <a16:creationId xmlns:a16="http://schemas.microsoft.com/office/drawing/2014/main" id="{838E64A1-C164-FC1E-BB6C-BA5B280B9FD5}"/>
              </a:ext>
            </a:extLst>
          </p:cNvPr>
          <p:cNvSpPr txBox="1">
            <a:spLocks/>
          </p:cNvSpPr>
          <p:nvPr/>
        </p:nvSpPr>
        <p:spPr>
          <a:xfrm>
            <a:off x="1262172" y="2629133"/>
            <a:ext cx="380864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dirty="0">
                <a:solidFill>
                  <a:schemeClr val="tx1"/>
                </a:solidFill>
                <a:hlinkClick r:id="rId8" action="ppaction://hlinksldjump"/>
              </a:rPr>
              <a:t>Die </a:t>
            </a:r>
            <a:r>
              <a:rPr lang="de-DE" dirty="0" err="1">
                <a:solidFill>
                  <a:schemeClr val="tx1"/>
                </a:solidFill>
                <a:hlinkClick r:id="rId8" action="ppaction://hlinksldjump"/>
              </a:rPr>
              <a:t>msg</a:t>
            </a:r>
            <a:r>
              <a:rPr lang="de-DE" dirty="0">
                <a:solidFill>
                  <a:schemeClr val="tx1"/>
                </a:solidFill>
                <a:hlinkClick r:id="rId8" action="ppaction://hlinksldjump"/>
              </a:rPr>
              <a:t>-Gruppe im Überblick</a:t>
            </a:r>
            <a:endParaRPr lang="de-DE" dirty="0">
              <a:solidFill>
                <a:schemeClr val="tx1"/>
              </a:solidFill>
            </a:endParaRPr>
          </a:p>
        </p:txBody>
      </p:sp>
      <p:sp>
        <p:nvSpPr>
          <p:cNvPr id="58" name="TextBox 22">
            <a:extLst>
              <a:ext uri="{FF2B5EF4-FFF2-40B4-BE49-F238E27FC236}">
                <a16:creationId xmlns:a16="http://schemas.microsoft.com/office/drawing/2014/main" id="{8C61C2F8-654A-395A-CBE2-F7769D4236AB}"/>
              </a:ext>
            </a:extLst>
          </p:cNvPr>
          <p:cNvSpPr txBox="1">
            <a:spLocks/>
          </p:cNvSpPr>
          <p:nvPr/>
        </p:nvSpPr>
        <p:spPr>
          <a:xfrm>
            <a:off x="1262172" y="4661913"/>
            <a:ext cx="697263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a:solidFill>
                  <a:schemeClr val="tx1"/>
                </a:solidFill>
              </a:rPr>
              <a:t>Digitalisierung als zentraler Schlüssel für Nachhaltigkeit und ESG</a:t>
            </a:r>
          </a:p>
        </p:txBody>
      </p:sp>
      <p:sp>
        <p:nvSpPr>
          <p:cNvPr id="2" name="Fußzeilenplatzhalter 1">
            <a:extLst>
              <a:ext uri="{FF2B5EF4-FFF2-40B4-BE49-F238E27FC236}">
                <a16:creationId xmlns:a16="http://schemas.microsoft.com/office/drawing/2014/main" id="{D22CAA4B-070F-DA66-3B32-668D72BF4D4D}"/>
              </a:ext>
            </a:extLst>
          </p:cNvPr>
          <p:cNvSpPr>
            <a:spLocks noGrp="1"/>
          </p:cNvSpPr>
          <p:nvPr>
            <p:ph type="ftr" sz="quarter" idx="10"/>
          </p:nvPr>
        </p:nvSpPr>
        <p:spPr/>
        <p:txBody>
          <a:bodyPr/>
          <a:lstStyle/>
          <a:p>
            <a:r>
              <a:rPr lang="de-DE">
                <a:solidFill>
                  <a:schemeClr val="bg1"/>
                </a:solidFill>
              </a:rPr>
              <a:t>© msg systems ag | 2026 | msg-Unternehmenspräsentation</a:t>
            </a:r>
            <a:endParaRPr lang="de-DE" dirty="0">
              <a:solidFill>
                <a:schemeClr val="bg1"/>
              </a:solidFill>
            </a:endParaRPr>
          </a:p>
        </p:txBody>
      </p:sp>
      <p:sp>
        <p:nvSpPr>
          <p:cNvPr id="3" name="Foliennummernplatzhalter 2">
            <a:extLst>
              <a:ext uri="{FF2B5EF4-FFF2-40B4-BE49-F238E27FC236}">
                <a16:creationId xmlns:a16="http://schemas.microsoft.com/office/drawing/2014/main" id="{D7B1DD39-DE31-9AA2-228C-00741DEAB027}"/>
              </a:ext>
            </a:extLst>
          </p:cNvPr>
          <p:cNvSpPr>
            <a:spLocks noGrp="1"/>
          </p:cNvSpPr>
          <p:nvPr>
            <p:ph type="sldNum" sz="quarter" idx="11"/>
          </p:nvPr>
        </p:nvSpPr>
        <p:spPr/>
        <p:txBody>
          <a:bodyPr/>
          <a:lstStyle/>
          <a:p>
            <a:fld id="{B27B0579-4238-4E44-9A9E-134B676F827C}" type="slidenum">
              <a:rPr lang="de-DE" smtClean="0">
                <a:solidFill>
                  <a:schemeClr val="bg1"/>
                </a:solidFill>
              </a:rPr>
              <a:pPr/>
              <a:t>4</a:t>
            </a:fld>
            <a:endParaRPr lang="de-DE">
              <a:solidFill>
                <a:schemeClr val="bg1"/>
              </a:solidFill>
            </a:endParaRPr>
          </a:p>
        </p:txBody>
      </p:sp>
      <p:sp>
        <p:nvSpPr>
          <p:cNvPr id="16" name="Ellipse 13">
            <a:extLst>
              <a:ext uri="{FF2B5EF4-FFF2-40B4-BE49-F238E27FC236}">
                <a16:creationId xmlns:a16="http://schemas.microsoft.com/office/drawing/2014/main" id="{595DF329-3B3F-0CB2-831D-93CA43AC5D7C}"/>
              </a:ext>
            </a:extLst>
          </p:cNvPr>
          <p:cNvSpPr/>
          <p:nvPr/>
        </p:nvSpPr>
        <p:spPr>
          <a:xfrm>
            <a:off x="790715" y="3154273"/>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2</a:t>
            </a:r>
          </a:p>
        </p:txBody>
      </p:sp>
      <p:sp>
        <p:nvSpPr>
          <p:cNvPr id="37" name="Ellipse 16">
            <a:extLst>
              <a:ext uri="{FF2B5EF4-FFF2-40B4-BE49-F238E27FC236}">
                <a16:creationId xmlns:a16="http://schemas.microsoft.com/office/drawing/2014/main" id="{D8CC3100-318B-9C98-1436-84E05B60BD62}"/>
              </a:ext>
            </a:extLst>
          </p:cNvPr>
          <p:cNvSpPr/>
          <p:nvPr/>
        </p:nvSpPr>
        <p:spPr>
          <a:xfrm>
            <a:off x="790714" y="366295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3</a:t>
            </a:r>
          </a:p>
        </p:txBody>
      </p:sp>
      <p:sp>
        <p:nvSpPr>
          <p:cNvPr id="40" name="Ellipse 19">
            <a:extLst>
              <a:ext uri="{FF2B5EF4-FFF2-40B4-BE49-F238E27FC236}">
                <a16:creationId xmlns:a16="http://schemas.microsoft.com/office/drawing/2014/main" id="{C1622E3A-99D2-C699-7840-258E90B4433E}"/>
              </a:ext>
            </a:extLst>
          </p:cNvPr>
          <p:cNvSpPr/>
          <p:nvPr/>
        </p:nvSpPr>
        <p:spPr>
          <a:xfrm>
            <a:off x="790716" y="4165315"/>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4</a:t>
            </a:r>
          </a:p>
        </p:txBody>
      </p:sp>
      <p:sp>
        <p:nvSpPr>
          <p:cNvPr id="42" name="Ellipse 22">
            <a:extLst>
              <a:ext uri="{FF2B5EF4-FFF2-40B4-BE49-F238E27FC236}">
                <a16:creationId xmlns:a16="http://schemas.microsoft.com/office/drawing/2014/main" id="{73CC2348-9569-6EC4-EED8-F83C32715D6C}"/>
              </a:ext>
            </a:extLst>
          </p:cNvPr>
          <p:cNvSpPr/>
          <p:nvPr/>
        </p:nvSpPr>
        <p:spPr>
          <a:xfrm>
            <a:off x="790716" y="4670766"/>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5</a:t>
            </a:r>
          </a:p>
        </p:txBody>
      </p:sp>
      <p:sp>
        <p:nvSpPr>
          <p:cNvPr id="48" name="Ellipse 13">
            <a:extLst>
              <a:ext uri="{FF2B5EF4-FFF2-40B4-BE49-F238E27FC236}">
                <a16:creationId xmlns:a16="http://schemas.microsoft.com/office/drawing/2014/main" id="{7A60CB0C-F304-44FF-0825-E77380C10E19}"/>
              </a:ext>
            </a:extLst>
          </p:cNvPr>
          <p:cNvSpPr/>
          <p:nvPr/>
        </p:nvSpPr>
        <p:spPr>
          <a:xfrm>
            <a:off x="790714" y="2641865"/>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1</a:t>
            </a:r>
          </a:p>
        </p:txBody>
      </p:sp>
      <p:pic>
        <p:nvPicPr>
          <p:cNvPr id="7" name="Grafik 6">
            <a:extLst>
              <a:ext uri="{FF2B5EF4-FFF2-40B4-BE49-F238E27FC236}">
                <a16:creationId xmlns:a16="http://schemas.microsoft.com/office/drawing/2014/main" id="{8B7D62CA-3746-0DDD-E439-0B28027B22B2}"/>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3311308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E6C98-87A5-43BC-4D52-6FF7CCD30CF9}"/>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7397DEA8-B86F-7079-D4B9-CE50FB379AEF}"/>
              </a:ext>
            </a:extLst>
          </p:cNvPr>
          <p:cNvSpPr/>
          <p:nvPr/>
        </p:nvSpPr>
        <p:spPr>
          <a:xfrm>
            <a:off x="9680078" y="1781092"/>
            <a:ext cx="2676892" cy="4311733"/>
          </a:xfrm>
          <a:prstGeom prst="round2DiagRect">
            <a:avLst>
              <a:gd name="adj1" fmla="val 0"/>
              <a:gd name="adj2" fmla="val 4143"/>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de-DE" sz="1200" b="1" dirty="0">
                <a:ea typeface="+mn-lt"/>
                <a:cs typeface="+mn-lt"/>
              </a:rPr>
              <a:t>Ansprechpartner</a:t>
            </a:r>
            <a:endParaRPr lang="en-US" sz="1200" b="1" dirty="0"/>
          </a:p>
          <a:p>
            <a:r>
              <a:rPr lang="de-DE" sz="1200" dirty="0">
                <a:ea typeface="+mn-lt"/>
                <a:cs typeface="+mn-lt"/>
              </a:rPr>
              <a:t>Holger </a:t>
            </a:r>
            <a:r>
              <a:rPr lang="de-DE" sz="1200" dirty="0" err="1">
                <a:ea typeface="+mn-lt"/>
                <a:cs typeface="+mn-lt"/>
              </a:rPr>
              <a:t>Hornik</a:t>
            </a:r>
            <a:endParaRPr lang="de-DE" sz="1200" dirty="0" err="1"/>
          </a:p>
          <a:p>
            <a:r>
              <a:rPr lang="de-DE" sz="1200" dirty="0">
                <a:ea typeface="+mn-lt"/>
                <a:cs typeface="+mn-lt"/>
              </a:rPr>
              <a:t>+49 173 8954169</a:t>
            </a:r>
            <a:br>
              <a:rPr lang="de-DE" sz="1200" dirty="0">
                <a:ea typeface="+mn-lt"/>
                <a:cs typeface="+mn-lt"/>
              </a:rPr>
            </a:br>
            <a:r>
              <a:rPr lang="de-DE" sz="1200" dirty="0" err="1">
                <a:ea typeface="+mn-lt"/>
                <a:cs typeface="+mn-lt"/>
              </a:rPr>
              <a:t>Holger.Hornik@msg.group</a:t>
            </a:r>
            <a:endParaRPr lang="de-DE" dirty="0" err="1"/>
          </a:p>
        </p:txBody>
      </p:sp>
      <p:sp>
        <p:nvSpPr>
          <p:cNvPr id="12" name="Titel 5">
            <a:extLst>
              <a:ext uri="{FF2B5EF4-FFF2-40B4-BE49-F238E27FC236}">
                <a16:creationId xmlns:a16="http://schemas.microsoft.com/office/drawing/2014/main" id="{0AECB2D7-EF26-32D7-92F5-AC9BBC7F9C5E}"/>
              </a:ext>
            </a:extLst>
          </p:cNvPr>
          <p:cNvSpPr>
            <a:spLocks noGrp="1"/>
          </p:cNvSpPr>
          <p:nvPr>
            <p:ph type="title"/>
          </p:nvPr>
        </p:nvSpPr>
        <p:spPr>
          <a:xfrm>
            <a:off x="649008" y="620713"/>
            <a:ext cx="9807031" cy="738664"/>
          </a:xfrm>
        </p:spPr>
        <p:txBody>
          <a:bodyPr vert="horz"/>
          <a:lstStyle/>
          <a:p>
            <a:r>
              <a:rPr lang="de-DE" dirty="0">
                <a:ea typeface="+mn-lt"/>
                <a:cs typeface="+mn-lt"/>
              </a:rPr>
              <a:t>Digitale Fördermittelberatungs- und -abschlussstrecken</a:t>
            </a:r>
            <a:br>
              <a:rPr lang="de-DE" dirty="0">
                <a:ea typeface="+mn-lt"/>
                <a:cs typeface="+mn-lt"/>
              </a:rPr>
            </a:br>
            <a:r>
              <a:rPr lang="de-DE" b="1" dirty="0">
                <a:ea typeface="+mn-lt"/>
                <a:cs typeface="+mn-lt"/>
              </a:rPr>
              <a:t>Neohelden: SaaS Förderfinder</a:t>
            </a:r>
            <a:endParaRPr lang="de-DE" b="1" dirty="0"/>
          </a:p>
        </p:txBody>
      </p:sp>
      <p:sp>
        <p:nvSpPr>
          <p:cNvPr id="14" name="Fußzeilenplatzhalter 1">
            <a:extLst>
              <a:ext uri="{FF2B5EF4-FFF2-40B4-BE49-F238E27FC236}">
                <a16:creationId xmlns:a16="http://schemas.microsoft.com/office/drawing/2014/main" id="{168CFF42-91D3-67DE-CB4B-DF8F41C6641E}"/>
              </a:ext>
            </a:extLst>
          </p:cNvPr>
          <p:cNvSpPr>
            <a:spLocks noGrp="1"/>
          </p:cNvSpPr>
          <p:nvPr>
            <p:ph type="ftr" sz="quarter" idx="10"/>
          </p:nvPr>
        </p:nvSpPr>
        <p:spPr>
          <a:xfrm>
            <a:off x="655780" y="6443762"/>
            <a:ext cx="4968501" cy="153888"/>
          </a:xfrm>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C270EAED-AF55-1F6F-6EB6-E556BE67BB38}"/>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40</a:t>
            </a:fld>
            <a:endParaRPr lang="de-DE" dirty="0"/>
          </a:p>
        </p:txBody>
      </p:sp>
      <p:sp>
        <p:nvSpPr>
          <p:cNvPr id="24" name="Textfeld 23">
            <a:extLst>
              <a:ext uri="{FF2B5EF4-FFF2-40B4-BE49-F238E27FC236}">
                <a16:creationId xmlns:a16="http://schemas.microsoft.com/office/drawing/2014/main" id="{391BCE87-5D2D-90FA-9F6F-E5C39D2CFCBA}"/>
              </a:ext>
            </a:extLst>
          </p:cNvPr>
          <p:cNvSpPr txBox="1"/>
          <p:nvPr>
            <p:custDataLst>
              <p:tags r:id="rId1"/>
            </p:custDataLst>
          </p:nvPr>
        </p:nvSpPr>
        <p:spPr>
          <a:xfrm>
            <a:off x="653193" y="1757105"/>
            <a:ext cx="425436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Ihre Herausforderung</a:t>
            </a:r>
            <a:endParaRPr lang="de-DE" dirty="0"/>
          </a:p>
          <a:p>
            <a:pPr marL="171450" indent="-171450">
              <a:lnSpc>
                <a:spcPct val="90000"/>
              </a:lnSpc>
              <a:spcAft>
                <a:spcPts val="200"/>
              </a:spcAft>
              <a:buClr>
                <a:srgbClr val="A01441"/>
              </a:buClr>
              <a:buFont typeface="Arial" panose="020B0604020202020204" pitchFamily="34" charset="0"/>
              <a:buChar char="•"/>
            </a:pPr>
            <a:r>
              <a:rPr lang="de-DE" sz="1200" b="1" dirty="0">
                <a:solidFill>
                  <a:srgbClr val="131313"/>
                </a:solidFill>
                <a:ea typeface="+mn-lt"/>
                <a:cs typeface="+mn-lt"/>
              </a:rPr>
              <a:t>Überblick im Förderdschungel: </a:t>
            </a:r>
            <a:r>
              <a:rPr lang="de-DE" sz="1200" dirty="0">
                <a:solidFill>
                  <a:srgbClr val="131313"/>
                </a:solidFill>
                <a:ea typeface="+mn-lt"/>
                <a:cs typeface="+mn-lt"/>
              </a:rPr>
              <a:t>Vielfalt und </a:t>
            </a:r>
            <a:br>
              <a:rPr lang="de-DE" sz="1200" dirty="0">
                <a:solidFill>
                  <a:srgbClr val="131313"/>
                </a:solidFill>
                <a:ea typeface="+mn-lt"/>
                <a:cs typeface="+mn-lt"/>
              </a:rPr>
            </a:br>
            <a:r>
              <a:rPr lang="de-DE" sz="1200" dirty="0">
                <a:solidFill>
                  <a:srgbClr val="131313"/>
                </a:solidFill>
                <a:ea typeface="+mn-lt"/>
                <a:cs typeface="+mn-lt"/>
              </a:rPr>
              <a:t>Komplexität von Förderprogrammen</a:t>
            </a:r>
            <a:br>
              <a:rPr lang="de-DE" sz="1200" dirty="0">
                <a:solidFill>
                  <a:srgbClr val="131313"/>
                </a:solidFill>
                <a:ea typeface="+mn-lt"/>
                <a:cs typeface="+mn-lt"/>
              </a:rPr>
            </a:br>
            <a:r>
              <a:rPr lang="de-DE" sz="1200" dirty="0">
                <a:solidFill>
                  <a:srgbClr val="131313"/>
                </a:solidFill>
                <a:ea typeface="+mn-lt"/>
                <a:cs typeface="+mn-lt"/>
              </a:rPr>
              <a:t>erschweren den Zugang für Antragsteller erheblich</a:t>
            </a:r>
          </a:p>
          <a:p>
            <a:pPr marL="171450" indent="-171450">
              <a:lnSpc>
                <a:spcPct val="90000"/>
              </a:lnSpc>
              <a:spcAft>
                <a:spcPts val="200"/>
              </a:spcAft>
              <a:buClr>
                <a:srgbClr val="A01441"/>
              </a:buClr>
              <a:buFont typeface="Arial" panose="020B0604020202020204" pitchFamily="34" charset="0"/>
              <a:buChar char="•"/>
            </a:pPr>
            <a:r>
              <a:rPr lang="de-DE" sz="1200" b="1" dirty="0">
                <a:solidFill>
                  <a:srgbClr val="131313"/>
                </a:solidFill>
                <a:ea typeface="+mn-lt"/>
                <a:cs typeface="+mn-lt"/>
              </a:rPr>
              <a:t>Prozessineffizienz:</a:t>
            </a:r>
            <a:r>
              <a:rPr lang="de-DE" sz="1200" dirty="0">
                <a:solidFill>
                  <a:srgbClr val="131313"/>
                </a:solidFill>
                <a:ea typeface="+mn-lt"/>
                <a:cs typeface="+mn-lt"/>
              </a:rPr>
              <a:t> Starke Abhängigkeit von Fachpersonal führt zu Engpässen und fehlendem Wissenstransfer</a:t>
            </a:r>
            <a:endParaRPr lang="de-DE" dirty="0">
              <a:ea typeface="+mn-lt"/>
              <a:cs typeface="+mn-lt"/>
            </a:endParaRPr>
          </a:p>
          <a:p>
            <a:pPr marL="215900" lvl="1" indent="-215900">
              <a:lnSpc>
                <a:spcPct val="90000"/>
              </a:lnSpc>
              <a:spcAft>
                <a:spcPts val="200"/>
              </a:spcAft>
            </a:pPr>
            <a:r>
              <a:rPr lang="de-DE" sz="1200" b="1" dirty="0">
                <a:solidFill>
                  <a:srgbClr val="131313"/>
                </a:solidFill>
                <a:ea typeface="+mn-lt"/>
                <a:cs typeface="+mn-lt"/>
              </a:rPr>
              <a:t>Komplexe Förderlandschaft:</a:t>
            </a:r>
            <a:r>
              <a:rPr lang="de-DE" sz="1200" dirty="0">
                <a:solidFill>
                  <a:srgbClr val="131313"/>
                </a:solidFill>
                <a:ea typeface="+mn-lt"/>
                <a:cs typeface="+mn-lt"/>
              </a:rPr>
              <a:t> Förderbanken bieten ein breites Portfolio, das monatlich aktualisiert wird. Die Herausforderung ist, diese oft komplizierten Förder-richtlinien systematisch zu konsolidieren und zu aktualisieren</a:t>
            </a:r>
            <a:endParaRPr lang="de-DE" sz="1200" dirty="0">
              <a:solidFill>
                <a:srgbClr val="131313"/>
              </a:solidFill>
              <a:latin typeface="Aptos"/>
            </a:endParaRPr>
          </a:p>
          <a:p>
            <a:pPr marL="215900" lvl="1" indent="-215900">
              <a:lnSpc>
                <a:spcPct val="90000"/>
              </a:lnSpc>
              <a:spcAft>
                <a:spcPts val="200"/>
              </a:spcAft>
            </a:pPr>
            <a:endParaRPr lang="de-DE" sz="1200" dirty="0"/>
          </a:p>
          <a:p>
            <a:pPr marL="285750" indent="-285750">
              <a:lnSpc>
                <a:spcPct val="90000"/>
              </a:lnSpc>
              <a:spcAft>
                <a:spcPts val="200"/>
              </a:spcAft>
              <a:buChar char="•"/>
            </a:pPr>
            <a:endParaRPr lang="de-DE" sz="1400" dirty="0"/>
          </a:p>
        </p:txBody>
      </p:sp>
      <p:sp>
        <p:nvSpPr>
          <p:cNvPr id="26" name="Textfeld 25">
            <a:extLst>
              <a:ext uri="{FF2B5EF4-FFF2-40B4-BE49-F238E27FC236}">
                <a16:creationId xmlns:a16="http://schemas.microsoft.com/office/drawing/2014/main" id="{5C28FAB2-3D2F-28CE-1747-B6342B756E4A}"/>
              </a:ext>
            </a:extLst>
          </p:cNvPr>
          <p:cNvSpPr txBox="1"/>
          <p:nvPr>
            <p:custDataLst>
              <p:tags r:id="rId2"/>
            </p:custDataLst>
          </p:nvPr>
        </p:nvSpPr>
        <p:spPr>
          <a:xfrm>
            <a:off x="5227129" y="1752919"/>
            <a:ext cx="4227918" cy="250853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Ihr Nutzen</a:t>
            </a:r>
            <a:endParaRPr lang="de-DE" dirty="0"/>
          </a:p>
          <a:p>
            <a:pPr marL="215900" lvl="1" indent="-215900">
              <a:lnSpc>
                <a:spcPct val="90000"/>
              </a:lnSpc>
              <a:spcAft>
                <a:spcPts val="200"/>
              </a:spcAft>
            </a:pPr>
            <a:r>
              <a:rPr lang="de-DE" sz="1200" dirty="0">
                <a:solidFill>
                  <a:srgbClr val="131313"/>
                </a:solidFill>
                <a:ea typeface="+mn-lt"/>
                <a:cs typeface="+mn-lt"/>
              </a:rPr>
              <a:t>Der Chatbot beantwortet Anfragen zu </a:t>
            </a:r>
            <a:br>
              <a:rPr lang="de-DE" sz="1200" dirty="0">
                <a:solidFill>
                  <a:srgbClr val="131313"/>
                </a:solidFill>
                <a:ea typeface="+mn-lt"/>
                <a:cs typeface="+mn-lt"/>
              </a:rPr>
            </a:br>
            <a:r>
              <a:rPr lang="de-DE" sz="1200" dirty="0">
                <a:solidFill>
                  <a:srgbClr val="131313"/>
                </a:solidFill>
                <a:ea typeface="+mn-lt"/>
                <a:cs typeface="+mn-lt"/>
              </a:rPr>
              <a:t>Förderprogrammen in Echtzeit – 24/7</a:t>
            </a:r>
          </a:p>
          <a:p>
            <a:pPr marL="215900" lvl="1" indent="-215900">
              <a:lnSpc>
                <a:spcPct val="90000"/>
              </a:lnSpc>
              <a:spcAft>
                <a:spcPts val="200"/>
              </a:spcAft>
            </a:pPr>
            <a:r>
              <a:rPr lang="de-DE" sz="1200" dirty="0">
                <a:solidFill>
                  <a:srgbClr val="131313"/>
                </a:solidFill>
                <a:ea typeface="+mn-lt"/>
                <a:cs typeface="+mn-lt"/>
              </a:rPr>
              <a:t>Nutzer erhalten sofortigen Zugang zu passenden Fördermöglichkeiten, ohne sich durch komplexe Suchmasken oder unübersichtliche Webseiten navigieren zu müssen</a:t>
            </a:r>
          </a:p>
          <a:p>
            <a:pPr marL="215900" lvl="1" indent="-215900">
              <a:lnSpc>
                <a:spcPct val="90000"/>
              </a:lnSpc>
              <a:spcAft>
                <a:spcPts val="200"/>
              </a:spcAft>
            </a:pPr>
            <a:r>
              <a:rPr lang="de-DE" sz="1200" dirty="0">
                <a:solidFill>
                  <a:srgbClr val="131313"/>
                </a:solidFill>
                <a:ea typeface="+mn-lt"/>
                <a:cs typeface="+mn-lt"/>
              </a:rPr>
              <a:t>Freitexteingabe, geführter Frage-Antwort-Dialog oder Menüführung, die Interaktion ist intuitiv und barrierefrei</a:t>
            </a:r>
          </a:p>
          <a:p>
            <a:pPr marL="215900" lvl="1" indent="-215900">
              <a:lnSpc>
                <a:spcPct val="90000"/>
              </a:lnSpc>
              <a:spcAft>
                <a:spcPts val="200"/>
              </a:spcAft>
            </a:pPr>
            <a:r>
              <a:rPr lang="de-DE" sz="1200" dirty="0">
                <a:solidFill>
                  <a:srgbClr val="131313"/>
                </a:solidFill>
                <a:ea typeface="+mn-lt"/>
                <a:cs typeface="+mn-lt"/>
              </a:rPr>
              <a:t>Die Lösung lässt sich direkt auf der Webseite der Förderbank integrieren und optional in weitere Kanäle wie E-Mail, Telefon oder WhatsApp</a:t>
            </a:r>
          </a:p>
          <a:p>
            <a:pPr marL="215900" lvl="1" indent="-215900">
              <a:lnSpc>
                <a:spcPct val="90000"/>
              </a:lnSpc>
              <a:spcAft>
                <a:spcPts val="200"/>
              </a:spcAft>
            </a:pPr>
            <a:endParaRPr lang="de-DE" sz="1200" dirty="0">
              <a:solidFill>
                <a:srgbClr val="131313"/>
              </a:solidFill>
              <a:latin typeface="Aptos"/>
            </a:endParaRPr>
          </a:p>
        </p:txBody>
      </p:sp>
      <p:sp>
        <p:nvSpPr>
          <p:cNvPr id="28" name="Textfeld 27">
            <a:extLst>
              <a:ext uri="{FF2B5EF4-FFF2-40B4-BE49-F238E27FC236}">
                <a16:creationId xmlns:a16="http://schemas.microsoft.com/office/drawing/2014/main" id="{4F6348FE-F848-E434-51BD-123839BE7104}"/>
              </a:ext>
            </a:extLst>
          </p:cNvPr>
          <p:cNvSpPr txBox="1"/>
          <p:nvPr>
            <p:custDataLst>
              <p:tags r:id="rId3"/>
            </p:custDataLst>
          </p:nvPr>
        </p:nvSpPr>
        <p:spPr>
          <a:xfrm>
            <a:off x="653195" y="3893193"/>
            <a:ext cx="4370185" cy="2116271"/>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Unser Angebot</a:t>
            </a:r>
          </a:p>
          <a:p>
            <a:pPr marL="215900" lvl="1" indent="-215900">
              <a:lnSpc>
                <a:spcPct val="90000"/>
              </a:lnSpc>
              <a:spcAft>
                <a:spcPts val="200"/>
              </a:spcAft>
            </a:pPr>
            <a:r>
              <a:rPr lang="de-DE" sz="1200" dirty="0">
                <a:solidFill>
                  <a:srgbClr val="131313"/>
                </a:solidFill>
                <a:ea typeface="+mn-lt"/>
                <a:cs typeface="+mn-lt"/>
              </a:rPr>
              <a:t>KI-gestützter Fördermittel-Chatbot als </a:t>
            </a:r>
            <a:br>
              <a:rPr lang="de-DE" sz="1200" dirty="0">
                <a:solidFill>
                  <a:srgbClr val="131313"/>
                </a:solidFill>
                <a:ea typeface="+mn-lt"/>
                <a:cs typeface="+mn-lt"/>
              </a:rPr>
            </a:br>
            <a:r>
              <a:rPr lang="de-DE" sz="1200" dirty="0">
                <a:solidFill>
                  <a:srgbClr val="131313"/>
                </a:solidFill>
                <a:ea typeface="+mn-lt"/>
                <a:cs typeface="+mn-lt"/>
              </a:rPr>
              <a:t>SaaS-Lösung für Förderbanken</a:t>
            </a:r>
          </a:p>
          <a:p>
            <a:pPr marL="215900" lvl="1" indent="-215900">
              <a:lnSpc>
                <a:spcPct val="90000"/>
              </a:lnSpc>
              <a:spcAft>
                <a:spcPts val="200"/>
              </a:spcAft>
            </a:pPr>
            <a:r>
              <a:rPr lang="de-DE" sz="1200" dirty="0">
                <a:solidFill>
                  <a:srgbClr val="131313"/>
                </a:solidFill>
                <a:ea typeface="+mn-lt"/>
                <a:cs typeface="+mn-lt"/>
              </a:rPr>
              <a:t>Förderprogramme aus über 2.000 aktiven </a:t>
            </a:r>
            <a:br>
              <a:rPr lang="de-DE" sz="1200" dirty="0">
                <a:solidFill>
                  <a:srgbClr val="131313"/>
                </a:solidFill>
                <a:ea typeface="+mn-lt"/>
                <a:cs typeface="+mn-lt"/>
              </a:rPr>
            </a:br>
            <a:r>
              <a:rPr lang="de-DE" sz="1200" dirty="0">
                <a:solidFill>
                  <a:srgbClr val="131313"/>
                </a:solidFill>
                <a:ea typeface="+mn-lt"/>
                <a:cs typeface="+mn-lt"/>
              </a:rPr>
              <a:t>Angeboten – aus der EU, dem Bund, den Ländern und Kommunen. Die Basis bildet die etablierte </a:t>
            </a:r>
            <a:r>
              <a:rPr lang="de-DE" sz="1200" dirty="0" err="1">
                <a:solidFill>
                  <a:srgbClr val="131313"/>
                </a:solidFill>
                <a:ea typeface="+mn-lt"/>
                <a:cs typeface="+mn-lt"/>
              </a:rPr>
              <a:t>safir</a:t>
            </a:r>
            <a:r>
              <a:rPr lang="de-DE" sz="1200" dirty="0">
                <a:solidFill>
                  <a:srgbClr val="131313"/>
                </a:solidFill>
                <a:ea typeface="+mn-lt"/>
                <a:cs typeface="+mn-lt"/>
              </a:rPr>
              <a:t>®-Fördermitteldatenbank</a:t>
            </a:r>
          </a:p>
          <a:p>
            <a:pPr marL="215900" lvl="1" indent="-215900">
              <a:lnSpc>
                <a:spcPct val="90000"/>
              </a:lnSpc>
              <a:spcAft>
                <a:spcPts val="200"/>
              </a:spcAft>
            </a:pPr>
            <a:r>
              <a:rPr lang="de-DE" sz="1200" dirty="0">
                <a:solidFill>
                  <a:srgbClr val="131313"/>
                </a:solidFill>
                <a:ea typeface="+mn-lt"/>
                <a:cs typeface="+mn-lt"/>
              </a:rPr>
              <a:t>Modernste KI-Technologie für verlässliche Ergebnisse</a:t>
            </a:r>
          </a:p>
          <a:p>
            <a:pPr marL="215900" lvl="1" indent="-215900">
              <a:lnSpc>
                <a:spcPct val="90000"/>
              </a:lnSpc>
              <a:spcAft>
                <a:spcPts val="200"/>
              </a:spcAft>
            </a:pPr>
            <a:r>
              <a:rPr lang="de-DE" sz="1200" dirty="0">
                <a:solidFill>
                  <a:srgbClr val="131313"/>
                </a:solidFill>
                <a:ea typeface="+mn-lt"/>
                <a:cs typeface="+mn-lt"/>
              </a:rPr>
              <a:t>Modernisierung digitaler Services und skalierbare und nutzerzentrierte Förderberatung</a:t>
            </a:r>
          </a:p>
          <a:p>
            <a:pPr marL="215900" lvl="1" indent="-215900">
              <a:lnSpc>
                <a:spcPct val="90000"/>
              </a:lnSpc>
              <a:spcAft>
                <a:spcPts val="200"/>
              </a:spcAft>
            </a:pPr>
            <a:r>
              <a:rPr lang="de-DE" sz="1200" dirty="0">
                <a:solidFill>
                  <a:srgbClr val="131313"/>
                </a:solidFill>
                <a:ea typeface="+mn-lt"/>
                <a:cs typeface="+mn-lt"/>
              </a:rPr>
              <a:t>Nahtlose Integration in bestehende Prozesse und Systeme</a:t>
            </a:r>
          </a:p>
          <a:p>
            <a:pPr marL="215900" lvl="1" indent="-215900">
              <a:lnSpc>
                <a:spcPct val="90000"/>
              </a:lnSpc>
              <a:spcAft>
                <a:spcPts val="200"/>
              </a:spcAft>
            </a:pPr>
            <a:endParaRPr lang="de-DE" sz="1200" dirty="0">
              <a:solidFill>
                <a:srgbClr val="131313"/>
              </a:solidFill>
              <a:ea typeface="+mn-lt"/>
              <a:cs typeface="+mn-lt"/>
            </a:endParaRPr>
          </a:p>
          <a:p>
            <a:pPr marL="215900" lvl="1" indent="-215900">
              <a:lnSpc>
                <a:spcPct val="90000"/>
              </a:lnSpc>
              <a:spcAft>
                <a:spcPts val="200"/>
              </a:spcAft>
            </a:pPr>
            <a:endParaRPr lang="de-DE" sz="1200" dirty="0">
              <a:solidFill>
                <a:srgbClr val="131313"/>
              </a:solidFill>
            </a:endParaRPr>
          </a:p>
        </p:txBody>
      </p:sp>
      <p:sp>
        <p:nvSpPr>
          <p:cNvPr id="30" name="Textfeld 29">
            <a:extLst>
              <a:ext uri="{FF2B5EF4-FFF2-40B4-BE49-F238E27FC236}">
                <a16:creationId xmlns:a16="http://schemas.microsoft.com/office/drawing/2014/main" id="{B7E88052-34F9-A2F8-6459-567F74E497A9}"/>
              </a:ext>
            </a:extLst>
          </p:cNvPr>
          <p:cNvSpPr txBox="1"/>
          <p:nvPr>
            <p:custDataLst>
              <p:tags r:id="rId4"/>
            </p:custDataLst>
          </p:nvPr>
        </p:nvSpPr>
        <p:spPr>
          <a:xfrm>
            <a:off x="5227128" y="4233055"/>
            <a:ext cx="4227918" cy="1323238"/>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dirty="0"/>
              <a:t>Unsere Partner und Referenzen</a:t>
            </a:r>
          </a:p>
          <a:p>
            <a:pPr marL="215900" lvl="1" indent="-215900">
              <a:lnSpc>
                <a:spcPct val="90000"/>
              </a:lnSpc>
              <a:spcAft>
                <a:spcPts val="200"/>
              </a:spcAft>
            </a:pPr>
            <a:r>
              <a:rPr lang="de-DE" sz="1200" dirty="0"/>
              <a:t>Partner: VÖB als Reseller und Anbieter der </a:t>
            </a:r>
            <a:br>
              <a:rPr lang="de-DE" sz="1200" dirty="0"/>
            </a:br>
            <a:r>
              <a:rPr lang="de-DE" sz="1200" dirty="0" err="1">
                <a:solidFill>
                  <a:srgbClr val="131313"/>
                </a:solidFill>
                <a:ea typeface="+mn-lt"/>
                <a:cs typeface="+mn-lt"/>
              </a:rPr>
              <a:t>safir</a:t>
            </a:r>
            <a:r>
              <a:rPr lang="de-DE" sz="1200" dirty="0">
                <a:solidFill>
                  <a:srgbClr val="131313"/>
                </a:solidFill>
                <a:ea typeface="+mn-lt"/>
                <a:cs typeface="+mn-lt"/>
              </a:rPr>
              <a:t>®-Fördermitteldatenbank</a:t>
            </a:r>
          </a:p>
          <a:p>
            <a:pPr marL="215900" lvl="1" indent="-215900">
              <a:lnSpc>
                <a:spcPct val="90000"/>
              </a:lnSpc>
              <a:spcAft>
                <a:spcPts val="200"/>
              </a:spcAft>
            </a:pPr>
            <a:r>
              <a:rPr lang="de-DE" sz="1200" dirty="0"/>
              <a:t>WI Bank: KI-Chatbot zum einfachen suchen und </a:t>
            </a:r>
            <a:br>
              <a:rPr lang="de-DE" sz="1200" dirty="0"/>
            </a:br>
            <a:r>
              <a:rPr lang="de-DE" sz="1200" dirty="0"/>
              <a:t>finden individuell passender Förderprogramme</a:t>
            </a:r>
          </a:p>
          <a:p>
            <a:pPr marL="215900" lvl="1" indent="-215900">
              <a:lnSpc>
                <a:spcPct val="90000"/>
              </a:lnSpc>
              <a:spcAft>
                <a:spcPts val="200"/>
              </a:spcAft>
            </a:pPr>
            <a:r>
              <a:rPr lang="de-DE" sz="1200" dirty="0"/>
              <a:t>Helaba: KI-Chatbot zum einfachen suchen und finden individuell passender Förderprogramme</a:t>
            </a:r>
          </a:p>
        </p:txBody>
      </p:sp>
      <p:grpSp>
        <p:nvGrpSpPr>
          <p:cNvPr id="2" name="Gruppieren 1">
            <a:extLst>
              <a:ext uri="{FF2B5EF4-FFF2-40B4-BE49-F238E27FC236}">
                <a16:creationId xmlns:a16="http://schemas.microsoft.com/office/drawing/2014/main" id="{2D7E5C11-6B4C-9910-E20D-EC9B0B78B5FA}"/>
              </a:ext>
            </a:extLst>
          </p:cNvPr>
          <p:cNvGrpSpPr/>
          <p:nvPr/>
        </p:nvGrpSpPr>
        <p:grpSpPr>
          <a:xfrm>
            <a:off x="4138804" y="1771450"/>
            <a:ext cx="703694" cy="703694"/>
            <a:chOff x="3460071" y="1779904"/>
            <a:chExt cx="869145" cy="869145"/>
          </a:xfrm>
        </p:grpSpPr>
        <p:sp>
          <p:nvSpPr>
            <p:cNvPr id="3" name="Kreis: nicht ausgefüllt 2">
              <a:extLst>
                <a:ext uri="{FF2B5EF4-FFF2-40B4-BE49-F238E27FC236}">
                  <a16:creationId xmlns:a16="http://schemas.microsoft.com/office/drawing/2014/main" id="{E356A111-9F15-1894-14AA-80A63D7B7D9D}"/>
                </a:ext>
              </a:extLst>
            </p:cNvPr>
            <p:cNvSpPr/>
            <p:nvPr>
              <p:custDataLst>
                <p:tags r:id="rId8"/>
              </p:custDataLst>
            </p:nvPr>
          </p:nvSpPr>
          <p:spPr>
            <a:xfrm>
              <a:off x="3460071"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3" name="Grafik 22">
              <a:extLst>
                <a:ext uri="{FF2B5EF4-FFF2-40B4-BE49-F238E27FC236}">
                  <a16:creationId xmlns:a16="http://schemas.microsoft.com/office/drawing/2014/main" id="{BCFEECF7-2C6B-8CDA-8797-76B09444FDCA}"/>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3496632" y="1796942"/>
              <a:ext cx="809625" cy="809625"/>
            </a:xfrm>
            <a:prstGeom prst="rect">
              <a:avLst/>
            </a:prstGeom>
          </p:spPr>
        </p:pic>
      </p:grpSp>
      <p:grpSp>
        <p:nvGrpSpPr>
          <p:cNvPr id="34" name="Gruppieren 33">
            <a:extLst>
              <a:ext uri="{FF2B5EF4-FFF2-40B4-BE49-F238E27FC236}">
                <a16:creationId xmlns:a16="http://schemas.microsoft.com/office/drawing/2014/main" id="{3CC833D2-4AAA-A187-C532-6CCAD559C365}"/>
              </a:ext>
            </a:extLst>
          </p:cNvPr>
          <p:cNvGrpSpPr/>
          <p:nvPr/>
        </p:nvGrpSpPr>
        <p:grpSpPr>
          <a:xfrm>
            <a:off x="8760780" y="1771450"/>
            <a:ext cx="703694" cy="703694"/>
            <a:chOff x="7459565" y="1779904"/>
            <a:chExt cx="869145" cy="869145"/>
          </a:xfrm>
        </p:grpSpPr>
        <p:sp>
          <p:nvSpPr>
            <p:cNvPr id="35" name="Kreis: nicht ausgefüllt 34">
              <a:extLst>
                <a:ext uri="{FF2B5EF4-FFF2-40B4-BE49-F238E27FC236}">
                  <a16:creationId xmlns:a16="http://schemas.microsoft.com/office/drawing/2014/main" id="{B32BAF01-C0C1-4F5F-159C-509B228B792E}"/>
                </a:ext>
              </a:extLst>
            </p:cNvPr>
            <p:cNvSpPr/>
            <p:nvPr>
              <p:custDataLst>
                <p:tags r:id="rId7"/>
              </p:custDataLst>
            </p:nvPr>
          </p:nvSpPr>
          <p:spPr>
            <a:xfrm>
              <a:off x="7459565"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6" name="Grafik 35">
              <a:extLst>
                <a:ext uri="{FF2B5EF4-FFF2-40B4-BE49-F238E27FC236}">
                  <a16:creationId xmlns:a16="http://schemas.microsoft.com/office/drawing/2014/main" id="{EC3471C3-82EF-5735-88A5-B3188EE19057}"/>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7493685" y="1797686"/>
              <a:ext cx="809625" cy="809625"/>
            </a:xfrm>
            <a:prstGeom prst="rect">
              <a:avLst/>
            </a:prstGeom>
          </p:spPr>
        </p:pic>
      </p:grpSp>
      <p:cxnSp>
        <p:nvCxnSpPr>
          <p:cNvPr id="4" name="Gerader Verbinder 19">
            <a:extLst>
              <a:ext uri="{FF2B5EF4-FFF2-40B4-BE49-F238E27FC236}">
                <a16:creationId xmlns:a16="http://schemas.microsoft.com/office/drawing/2014/main" id="{400FA872-5B9D-6EC4-C13C-39E2934DDADF}"/>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5" name="Picture 3">
            <a:extLst>
              <a:ext uri="{FF2B5EF4-FFF2-40B4-BE49-F238E27FC236}">
                <a16:creationId xmlns:a16="http://schemas.microsoft.com/office/drawing/2014/main" id="{EE65C3C9-885C-2F2A-A74F-F269F56CED17}"/>
              </a:ext>
            </a:extLst>
          </p:cNvPr>
          <p:cNvPicPr>
            <a:picLocks noChangeAspect="1"/>
          </p:cNvPicPr>
          <p:nvPr/>
        </p:nvPicPr>
        <p:blipFill>
          <a:blip r:embed="rId13"/>
          <a:srcRect/>
          <a:stretch/>
        </p:blipFill>
        <p:spPr>
          <a:xfrm>
            <a:off x="10068906" y="2272145"/>
            <a:ext cx="1767151" cy="266875"/>
          </a:xfrm>
          <a:prstGeom prst="rect">
            <a:avLst/>
          </a:prstGeom>
        </p:spPr>
      </p:pic>
      <p:grpSp>
        <p:nvGrpSpPr>
          <p:cNvPr id="6" name="Gruppieren 5">
            <a:extLst>
              <a:ext uri="{FF2B5EF4-FFF2-40B4-BE49-F238E27FC236}">
                <a16:creationId xmlns:a16="http://schemas.microsoft.com/office/drawing/2014/main" id="{C227704D-4A1D-CBB8-054C-42DD3EEC7E79}"/>
              </a:ext>
            </a:extLst>
          </p:cNvPr>
          <p:cNvGrpSpPr/>
          <p:nvPr/>
        </p:nvGrpSpPr>
        <p:grpSpPr>
          <a:xfrm>
            <a:off x="8767799" y="4183850"/>
            <a:ext cx="703694" cy="703694"/>
            <a:chOff x="8575325" y="4111833"/>
            <a:chExt cx="869145" cy="869145"/>
          </a:xfrm>
        </p:grpSpPr>
        <p:sp>
          <p:nvSpPr>
            <p:cNvPr id="7" name="Kreis: nicht ausgefüllt 6">
              <a:extLst>
                <a:ext uri="{FF2B5EF4-FFF2-40B4-BE49-F238E27FC236}">
                  <a16:creationId xmlns:a16="http://schemas.microsoft.com/office/drawing/2014/main" id="{D4410563-1C01-028E-FA6B-92EC438DB3B8}"/>
                </a:ext>
              </a:extLst>
            </p:cNvPr>
            <p:cNvSpPr/>
            <p:nvPr>
              <p:custDataLst>
                <p:tags r:id="rId6"/>
              </p:custDataLst>
            </p:nvPr>
          </p:nvSpPr>
          <p:spPr>
            <a:xfrm>
              <a:off x="8575325"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9" name="Grafik 8">
              <a:extLst>
                <a:ext uri="{FF2B5EF4-FFF2-40B4-BE49-F238E27FC236}">
                  <a16:creationId xmlns:a16="http://schemas.microsoft.com/office/drawing/2014/main" id="{B98192A3-0405-A91F-5FB3-CCA8600C56CD}"/>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8608010" y="4171353"/>
              <a:ext cx="809625" cy="809625"/>
            </a:xfrm>
            <a:prstGeom prst="rect">
              <a:avLst/>
            </a:prstGeom>
          </p:spPr>
        </p:pic>
      </p:grpSp>
      <p:grpSp>
        <p:nvGrpSpPr>
          <p:cNvPr id="10" name="Gruppieren 9">
            <a:extLst>
              <a:ext uri="{FF2B5EF4-FFF2-40B4-BE49-F238E27FC236}">
                <a16:creationId xmlns:a16="http://schemas.microsoft.com/office/drawing/2014/main" id="{60CA532B-D030-BCDD-64D7-D21378D4064C}"/>
              </a:ext>
            </a:extLst>
          </p:cNvPr>
          <p:cNvGrpSpPr/>
          <p:nvPr/>
        </p:nvGrpSpPr>
        <p:grpSpPr>
          <a:xfrm>
            <a:off x="4138804" y="3816990"/>
            <a:ext cx="703694" cy="703694"/>
            <a:chOff x="3460071" y="4111833"/>
            <a:chExt cx="869145" cy="869145"/>
          </a:xfrm>
        </p:grpSpPr>
        <p:sp>
          <p:nvSpPr>
            <p:cNvPr id="11" name="Kreis: nicht ausgefüllt 10">
              <a:extLst>
                <a:ext uri="{FF2B5EF4-FFF2-40B4-BE49-F238E27FC236}">
                  <a16:creationId xmlns:a16="http://schemas.microsoft.com/office/drawing/2014/main" id="{6ECA71EB-DA69-342E-8A1E-B778461D1724}"/>
                </a:ext>
              </a:extLst>
            </p:cNvPr>
            <p:cNvSpPr/>
            <p:nvPr>
              <p:custDataLst>
                <p:tags r:id="rId5"/>
              </p:custDataLst>
            </p:nvPr>
          </p:nvSpPr>
          <p:spPr>
            <a:xfrm>
              <a:off x="3460071"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3" name="Grafik 12">
              <a:extLst>
                <a:ext uri="{FF2B5EF4-FFF2-40B4-BE49-F238E27FC236}">
                  <a16:creationId xmlns:a16="http://schemas.microsoft.com/office/drawing/2014/main" id="{9C804DFA-2E12-FCC3-D255-25A95A557DDF}"/>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489830" y="4141593"/>
              <a:ext cx="809625" cy="809625"/>
            </a:xfrm>
            <a:prstGeom prst="rect">
              <a:avLst/>
            </a:prstGeom>
          </p:spPr>
        </p:pic>
      </p:grpSp>
    </p:spTree>
    <p:extLst>
      <p:ext uri="{BB962C8B-B14F-4D97-AF65-F5344CB8AC3E}">
        <p14:creationId xmlns:p14="http://schemas.microsoft.com/office/powerpoint/2010/main" val="42199252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E6C98-87A5-43BC-4D52-6FF7CCD30CF9}"/>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7397DEA8-B86F-7079-D4B9-CE50FB379AEF}"/>
              </a:ext>
            </a:extLst>
          </p:cNvPr>
          <p:cNvSpPr/>
          <p:nvPr/>
        </p:nvSpPr>
        <p:spPr>
          <a:xfrm>
            <a:off x="9671369" y="1781092"/>
            <a:ext cx="2685600" cy="4311733"/>
          </a:xfrm>
          <a:prstGeom prst="round2DiagRect">
            <a:avLst>
              <a:gd name="adj1" fmla="val 0"/>
              <a:gd name="adj2" fmla="val 4143"/>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de-DE" sz="1200" b="1" dirty="0">
                <a:ea typeface="+mn-lt"/>
                <a:cs typeface="+mn-lt"/>
              </a:rPr>
              <a:t>Ansprechpartner</a:t>
            </a:r>
            <a:endParaRPr lang="en-US" sz="1200" b="1" dirty="0"/>
          </a:p>
          <a:p>
            <a:r>
              <a:rPr lang="de-DE" sz="1200" dirty="0">
                <a:ea typeface="+mn-lt"/>
                <a:cs typeface="+mn-lt"/>
              </a:rPr>
              <a:t>Holger </a:t>
            </a:r>
            <a:r>
              <a:rPr lang="de-DE" sz="1200" dirty="0" err="1">
                <a:ea typeface="+mn-lt"/>
                <a:cs typeface="+mn-lt"/>
              </a:rPr>
              <a:t>Hornik</a:t>
            </a:r>
            <a:endParaRPr lang="de-DE" sz="1200" dirty="0" err="1"/>
          </a:p>
          <a:p>
            <a:r>
              <a:rPr lang="de-DE" sz="1200" dirty="0">
                <a:ea typeface="+mn-lt"/>
                <a:cs typeface="+mn-lt"/>
              </a:rPr>
              <a:t>+49 173 8954169</a:t>
            </a:r>
            <a:br>
              <a:rPr lang="de-DE" sz="1200" dirty="0">
                <a:ea typeface="+mn-lt"/>
                <a:cs typeface="+mn-lt"/>
              </a:rPr>
            </a:br>
            <a:r>
              <a:rPr lang="de-DE" sz="1200" dirty="0" err="1">
                <a:ea typeface="+mn-lt"/>
                <a:cs typeface="+mn-lt"/>
              </a:rPr>
              <a:t>Holger.Hornik@msg.group</a:t>
            </a:r>
            <a:endParaRPr lang="de-DE" dirty="0" err="1"/>
          </a:p>
        </p:txBody>
      </p:sp>
      <p:sp>
        <p:nvSpPr>
          <p:cNvPr id="12" name="Titel 5">
            <a:extLst>
              <a:ext uri="{FF2B5EF4-FFF2-40B4-BE49-F238E27FC236}">
                <a16:creationId xmlns:a16="http://schemas.microsoft.com/office/drawing/2014/main" id="{0AECB2D7-EF26-32D7-92F5-AC9BBC7F9C5E}"/>
              </a:ext>
            </a:extLst>
          </p:cNvPr>
          <p:cNvSpPr>
            <a:spLocks noGrp="1"/>
          </p:cNvSpPr>
          <p:nvPr>
            <p:ph type="title"/>
          </p:nvPr>
        </p:nvSpPr>
        <p:spPr>
          <a:xfrm>
            <a:off x="649008" y="620713"/>
            <a:ext cx="9807031" cy="738664"/>
          </a:xfrm>
        </p:spPr>
        <p:txBody>
          <a:bodyPr vert="horz"/>
          <a:lstStyle/>
          <a:p>
            <a:r>
              <a:rPr lang="de-DE" dirty="0">
                <a:ea typeface="+mn-lt"/>
                <a:cs typeface="+mn-lt"/>
              </a:rPr>
              <a:t>Moderner Spielmacher im Vertrieb</a:t>
            </a:r>
            <a:br>
              <a:rPr lang="de-DE" dirty="0">
                <a:ea typeface="+mn-lt"/>
                <a:cs typeface="+mn-lt"/>
              </a:rPr>
            </a:br>
            <a:r>
              <a:rPr lang="de-DE" b="1" dirty="0">
                <a:ea typeface="+mn-lt"/>
                <a:cs typeface="+mn-lt"/>
              </a:rPr>
              <a:t>Neohelden: Sales Buddy</a:t>
            </a:r>
            <a:endParaRPr lang="de-DE" b="1" dirty="0"/>
          </a:p>
        </p:txBody>
      </p:sp>
      <p:sp>
        <p:nvSpPr>
          <p:cNvPr id="14" name="Fußzeilenplatzhalter 1">
            <a:extLst>
              <a:ext uri="{FF2B5EF4-FFF2-40B4-BE49-F238E27FC236}">
                <a16:creationId xmlns:a16="http://schemas.microsoft.com/office/drawing/2014/main" id="{168CFF42-91D3-67DE-CB4B-DF8F41C6641E}"/>
              </a:ext>
            </a:extLst>
          </p:cNvPr>
          <p:cNvSpPr>
            <a:spLocks noGrp="1"/>
          </p:cNvSpPr>
          <p:nvPr>
            <p:ph type="ftr" sz="quarter" idx="10"/>
          </p:nvPr>
        </p:nvSpPr>
        <p:spPr>
          <a:xfrm>
            <a:off x="655780" y="6443762"/>
            <a:ext cx="4968501" cy="153888"/>
          </a:xfrm>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C270EAED-AF55-1F6F-6EB6-E556BE67BB38}"/>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41</a:t>
            </a:fld>
            <a:endParaRPr lang="de-DE" dirty="0"/>
          </a:p>
        </p:txBody>
      </p:sp>
      <p:sp>
        <p:nvSpPr>
          <p:cNvPr id="24" name="Textfeld 23">
            <a:extLst>
              <a:ext uri="{FF2B5EF4-FFF2-40B4-BE49-F238E27FC236}">
                <a16:creationId xmlns:a16="http://schemas.microsoft.com/office/drawing/2014/main" id="{391BCE87-5D2D-90FA-9F6F-E5C39D2CFCBA}"/>
              </a:ext>
            </a:extLst>
          </p:cNvPr>
          <p:cNvSpPr txBox="1"/>
          <p:nvPr>
            <p:custDataLst>
              <p:tags r:id="rId1"/>
            </p:custDataLst>
          </p:nvPr>
        </p:nvSpPr>
        <p:spPr>
          <a:xfrm>
            <a:off x="653193" y="1757105"/>
            <a:ext cx="425436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Ihre Herausforderung</a:t>
            </a:r>
            <a:endParaRPr lang="de-DE" dirty="0"/>
          </a:p>
          <a:p>
            <a:pPr marL="171450" indent="-171450">
              <a:lnSpc>
                <a:spcPct val="90000"/>
              </a:lnSpc>
              <a:spcAft>
                <a:spcPts val="200"/>
              </a:spcAft>
              <a:buClr>
                <a:srgbClr val="A01441"/>
              </a:buClr>
              <a:buFont typeface="Arial" panose="020B0604020202020204" pitchFamily="34" charset="0"/>
              <a:buChar char="•"/>
            </a:pPr>
            <a:r>
              <a:rPr lang="de-DE" sz="1200" b="1" spc="-20" dirty="0">
                <a:solidFill>
                  <a:srgbClr val="131313"/>
                </a:solidFill>
                <a:ea typeface="+mn-lt"/>
                <a:cs typeface="+mn-lt"/>
              </a:rPr>
              <a:t>Zugriff auf Fachwissen &amp; Produktinformationen:</a:t>
            </a:r>
            <a:br>
              <a:rPr lang="de-DE" sz="1200" spc="-20" dirty="0">
                <a:solidFill>
                  <a:srgbClr val="131313"/>
                </a:solidFill>
                <a:ea typeface="+mn-lt"/>
                <a:cs typeface="+mn-lt"/>
              </a:rPr>
            </a:br>
            <a:r>
              <a:rPr lang="de-DE" sz="1200" spc="-20" dirty="0">
                <a:solidFill>
                  <a:srgbClr val="131313"/>
                </a:solidFill>
                <a:ea typeface="+mn-lt"/>
                <a:cs typeface="+mn-lt"/>
              </a:rPr>
              <a:t>Veralteten Unterlagen, unübersichtlichen PDFs </a:t>
            </a:r>
            <a:br>
              <a:rPr lang="de-DE" sz="1200" spc="-20" dirty="0">
                <a:solidFill>
                  <a:srgbClr val="131313"/>
                </a:solidFill>
                <a:ea typeface="+mn-lt"/>
                <a:cs typeface="+mn-lt"/>
              </a:rPr>
            </a:br>
            <a:r>
              <a:rPr lang="de-DE" sz="1200" spc="-20" dirty="0">
                <a:solidFill>
                  <a:srgbClr val="131313"/>
                </a:solidFill>
                <a:ea typeface="+mn-lt"/>
                <a:cs typeface="+mn-lt"/>
              </a:rPr>
              <a:t>und </a:t>
            </a:r>
            <a:r>
              <a:rPr lang="de-DE" sz="1200" spc="-20" dirty="0" err="1">
                <a:solidFill>
                  <a:srgbClr val="131313"/>
                </a:solidFill>
                <a:ea typeface="+mn-lt"/>
                <a:cs typeface="+mn-lt"/>
              </a:rPr>
              <a:t>Know-How</a:t>
            </a:r>
            <a:r>
              <a:rPr lang="de-DE" sz="1200" spc="-20" dirty="0">
                <a:solidFill>
                  <a:srgbClr val="131313"/>
                </a:solidFill>
                <a:ea typeface="+mn-lt"/>
                <a:cs typeface="+mn-lt"/>
              </a:rPr>
              <a:t>-Verlust durch Demografie</a:t>
            </a:r>
          </a:p>
          <a:p>
            <a:pPr marL="171450" indent="-171450">
              <a:lnSpc>
                <a:spcPct val="90000"/>
              </a:lnSpc>
              <a:spcAft>
                <a:spcPts val="200"/>
              </a:spcAft>
              <a:buClr>
                <a:srgbClr val="A01441"/>
              </a:buClr>
              <a:buFont typeface="Arial" panose="020B0604020202020204" pitchFamily="34" charset="0"/>
              <a:buChar char="•"/>
            </a:pPr>
            <a:r>
              <a:rPr lang="de-DE" sz="1200" b="1" dirty="0">
                <a:solidFill>
                  <a:srgbClr val="131313"/>
                </a:solidFill>
                <a:ea typeface="+mn-lt"/>
                <a:cs typeface="+mn-lt"/>
              </a:rPr>
              <a:t>Informationssuche im Kundengespräch:</a:t>
            </a:r>
            <a:r>
              <a:rPr lang="de-DE" sz="1200" dirty="0">
                <a:solidFill>
                  <a:srgbClr val="131313"/>
                </a:solidFill>
                <a:ea typeface="+mn-lt"/>
                <a:cs typeface="+mn-lt"/>
              </a:rPr>
              <a:t> Während Kundengesprächen geht wertvolle Zeit durch manuelles Nachschlagen verloren</a:t>
            </a:r>
          </a:p>
          <a:p>
            <a:pPr marL="171450" indent="-171450">
              <a:lnSpc>
                <a:spcPct val="90000"/>
              </a:lnSpc>
              <a:spcAft>
                <a:spcPts val="200"/>
              </a:spcAft>
              <a:buClr>
                <a:srgbClr val="A01441"/>
              </a:buClr>
              <a:buFont typeface="Arial" panose="020B0604020202020204" pitchFamily="34" charset="0"/>
              <a:buChar char="•"/>
            </a:pPr>
            <a:r>
              <a:rPr lang="de-DE" sz="1200" b="1" dirty="0">
                <a:solidFill>
                  <a:srgbClr val="131313"/>
                </a:solidFill>
                <a:ea typeface="+mn-lt"/>
                <a:cs typeface="+mn-lt"/>
              </a:rPr>
              <a:t>Qualitäts- und Wissensunterschiede: N</a:t>
            </a:r>
            <a:r>
              <a:rPr lang="de-DE" sz="1200" dirty="0">
                <a:solidFill>
                  <a:srgbClr val="131313"/>
                </a:solidFill>
                <a:ea typeface="+mn-lt"/>
                <a:cs typeface="+mn-lt"/>
              </a:rPr>
              <a:t>eue oder weniger erfahrene Mitarbeitende haben Wissenslücken, was zu Inkonsistenzen im Kundenerlebnis führt</a:t>
            </a:r>
            <a:endParaRPr lang="de-DE" sz="1200" dirty="0"/>
          </a:p>
          <a:p>
            <a:pPr marL="285750" indent="-285750">
              <a:lnSpc>
                <a:spcPct val="90000"/>
              </a:lnSpc>
              <a:spcAft>
                <a:spcPts val="200"/>
              </a:spcAft>
              <a:buChar char="•"/>
            </a:pPr>
            <a:endParaRPr lang="de-DE" sz="1400" dirty="0"/>
          </a:p>
        </p:txBody>
      </p:sp>
      <p:sp>
        <p:nvSpPr>
          <p:cNvPr id="26" name="Textfeld 25">
            <a:extLst>
              <a:ext uri="{FF2B5EF4-FFF2-40B4-BE49-F238E27FC236}">
                <a16:creationId xmlns:a16="http://schemas.microsoft.com/office/drawing/2014/main" id="{5C28FAB2-3D2F-28CE-1747-B6342B756E4A}"/>
              </a:ext>
            </a:extLst>
          </p:cNvPr>
          <p:cNvSpPr txBox="1"/>
          <p:nvPr>
            <p:custDataLst>
              <p:tags r:id="rId2"/>
            </p:custDataLst>
          </p:nvPr>
        </p:nvSpPr>
        <p:spPr>
          <a:xfrm>
            <a:off x="5227128" y="1752919"/>
            <a:ext cx="4216773" cy="250853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Ihr Nutzen</a:t>
            </a:r>
            <a:endParaRPr lang="de-DE" dirty="0"/>
          </a:p>
          <a:p>
            <a:pPr marL="215900" lvl="1" indent="-215900">
              <a:lnSpc>
                <a:spcPct val="90000"/>
              </a:lnSpc>
              <a:spcAft>
                <a:spcPts val="200"/>
              </a:spcAft>
            </a:pPr>
            <a:r>
              <a:rPr lang="de-DE" sz="1200" dirty="0">
                <a:solidFill>
                  <a:srgbClr val="131313"/>
                </a:solidFill>
                <a:ea typeface="+mn-lt"/>
                <a:cs typeface="+mn-lt"/>
              </a:rPr>
              <a:t>Durch die Nutzung fortschrittlicher Funktionen </a:t>
            </a:r>
            <a:br>
              <a:rPr lang="de-DE" sz="1200" dirty="0">
                <a:solidFill>
                  <a:srgbClr val="131313"/>
                </a:solidFill>
                <a:ea typeface="+mn-lt"/>
                <a:cs typeface="+mn-lt"/>
              </a:rPr>
            </a:br>
            <a:r>
              <a:rPr lang="de-DE" sz="1200" dirty="0">
                <a:solidFill>
                  <a:srgbClr val="131313"/>
                </a:solidFill>
                <a:ea typeface="+mn-lt"/>
                <a:cs typeface="+mn-lt"/>
              </a:rPr>
              <a:t>zur Verarbeitung natürlicher Sprache, können </a:t>
            </a:r>
            <a:br>
              <a:rPr lang="de-DE" sz="1200" dirty="0">
                <a:solidFill>
                  <a:srgbClr val="131313"/>
                </a:solidFill>
                <a:ea typeface="+mn-lt"/>
                <a:cs typeface="+mn-lt"/>
              </a:rPr>
            </a:br>
            <a:r>
              <a:rPr lang="de-DE" sz="1200" dirty="0">
                <a:solidFill>
                  <a:srgbClr val="131313"/>
                </a:solidFill>
                <a:ea typeface="+mn-lt"/>
                <a:cs typeface="+mn-lt"/>
              </a:rPr>
              <a:t>komplexe Anfragen verstanden und verarbeitet </a:t>
            </a:r>
            <a:br>
              <a:rPr lang="de-DE" sz="1200" dirty="0">
                <a:solidFill>
                  <a:srgbClr val="131313"/>
                </a:solidFill>
                <a:ea typeface="+mn-lt"/>
                <a:cs typeface="+mn-lt"/>
              </a:rPr>
            </a:br>
            <a:r>
              <a:rPr lang="de-DE" sz="1200" dirty="0">
                <a:solidFill>
                  <a:srgbClr val="131313"/>
                </a:solidFill>
                <a:ea typeface="+mn-lt"/>
                <a:cs typeface="+mn-lt"/>
              </a:rPr>
              <a:t>werden</a:t>
            </a:r>
          </a:p>
          <a:p>
            <a:pPr marL="215900" lvl="1" indent="-215900">
              <a:lnSpc>
                <a:spcPct val="90000"/>
              </a:lnSpc>
              <a:spcAft>
                <a:spcPts val="200"/>
              </a:spcAft>
            </a:pPr>
            <a:r>
              <a:rPr lang="de-DE" sz="1200" dirty="0">
                <a:solidFill>
                  <a:srgbClr val="131313"/>
                </a:solidFill>
                <a:ea typeface="+mn-lt"/>
                <a:cs typeface="+mn-lt"/>
              </a:rPr>
              <a:t>Bereitstellung </a:t>
            </a:r>
            <a:r>
              <a:rPr lang="de-DE" sz="1200" dirty="0"/>
              <a:t>detaillierter und relevante Informationen</a:t>
            </a:r>
            <a:endParaRPr lang="de-DE" sz="1200" dirty="0">
              <a:solidFill>
                <a:srgbClr val="131313"/>
              </a:solidFill>
              <a:ea typeface="+mn-lt"/>
              <a:cs typeface="+mn-lt"/>
            </a:endParaRPr>
          </a:p>
          <a:p>
            <a:pPr marL="215900" lvl="1" indent="-215900">
              <a:lnSpc>
                <a:spcPct val="90000"/>
              </a:lnSpc>
              <a:spcAft>
                <a:spcPts val="200"/>
              </a:spcAft>
            </a:pPr>
            <a:r>
              <a:rPr lang="de-DE" sz="1200" dirty="0">
                <a:solidFill>
                  <a:srgbClr val="131313"/>
                </a:solidFill>
                <a:ea typeface="+mn-lt"/>
                <a:cs typeface="+mn-lt"/>
              </a:rPr>
              <a:t>Device-übergreifende Nutzung 24/7</a:t>
            </a:r>
          </a:p>
          <a:p>
            <a:pPr marL="215900" lvl="1" indent="-215900">
              <a:lnSpc>
                <a:spcPct val="90000"/>
              </a:lnSpc>
              <a:spcAft>
                <a:spcPts val="200"/>
              </a:spcAft>
            </a:pPr>
            <a:r>
              <a:rPr lang="de-DE" sz="1200" dirty="0">
                <a:solidFill>
                  <a:srgbClr val="131313"/>
                </a:solidFill>
                <a:ea typeface="+mn-lt"/>
                <a:cs typeface="+mn-lt"/>
              </a:rPr>
              <a:t>Steigerung der Produktivität und Verbesserung der Qualität des Kundenservice</a:t>
            </a:r>
            <a:endParaRPr lang="de-DE" sz="1200" dirty="0">
              <a:solidFill>
                <a:srgbClr val="131313"/>
              </a:solidFill>
              <a:latin typeface="Aptos"/>
            </a:endParaRPr>
          </a:p>
        </p:txBody>
      </p:sp>
      <p:sp>
        <p:nvSpPr>
          <p:cNvPr id="28" name="Textfeld 27">
            <a:extLst>
              <a:ext uri="{FF2B5EF4-FFF2-40B4-BE49-F238E27FC236}">
                <a16:creationId xmlns:a16="http://schemas.microsoft.com/office/drawing/2014/main" id="{4F6348FE-F848-E434-51BD-123839BE7104}"/>
              </a:ext>
            </a:extLst>
          </p:cNvPr>
          <p:cNvSpPr txBox="1"/>
          <p:nvPr>
            <p:custDataLst>
              <p:tags r:id="rId3"/>
            </p:custDataLst>
          </p:nvPr>
        </p:nvSpPr>
        <p:spPr>
          <a:xfrm>
            <a:off x="653195" y="3982187"/>
            <a:ext cx="3972899" cy="2116271"/>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Unser Angebot</a:t>
            </a:r>
          </a:p>
          <a:p>
            <a:pPr marL="215900" lvl="1" indent="-215900">
              <a:lnSpc>
                <a:spcPct val="90000"/>
              </a:lnSpc>
              <a:spcAft>
                <a:spcPts val="200"/>
              </a:spcAft>
            </a:pPr>
            <a:r>
              <a:rPr lang="de-DE" sz="1200" dirty="0">
                <a:solidFill>
                  <a:srgbClr val="131313"/>
                </a:solidFill>
                <a:ea typeface="+mn-lt"/>
                <a:cs typeface="+mn-lt"/>
              </a:rPr>
              <a:t>Sales Buddy stellt eine moderne und flexible </a:t>
            </a:r>
            <a:br>
              <a:rPr lang="de-DE" sz="1200" dirty="0">
                <a:solidFill>
                  <a:srgbClr val="131313"/>
                </a:solidFill>
                <a:ea typeface="+mn-lt"/>
                <a:cs typeface="+mn-lt"/>
              </a:rPr>
            </a:br>
            <a:r>
              <a:rPr lang="de-DE" sz="1200" dirty="0">
                <a:solidFill>
                  <a:srgbClr val="131313"/>
                </a:solidFill>
                <a:ea typeface="+mn-lt"/>
                <a:cs typeface="+mn-lt"/>
              </a:rPr>
              <a:t>Lösung dar, die das Vertriebspersonal stärkt,</a:t>
            </a:r>
            <a:br>
              <a:rPr lang="de-DE" sz="1200" dirty="0">
                <a:solidFill>
                  <a:srgbClr val="131313"/>
                </a:solidFill>
                <a:ea typeface="+mn-lt"/>
                <a:cs typeface="+mn-lt"/>
              </a:rPr>
            </a:br>
            <a:r>
              <a:rPr lang="de-DE" sz="1200" dirty="0">
                <a:solidFill>
                  <a:srgbClr val="131313"/>
                </a:solidFill>
                <a:ea typeface="+mn-lt"/>
                <a:cs typeface="+mn-lt"/>
              </a:rPr>
              <a:t>indem es eine effiziente und unkomplizierte </a:t>
            </a:r>
            <a:br>
              <a:rPr lang="de-DE" sz="1200" dirty="0">
                <a:solidFill>
                  <a:srgbClr val="131313"/>
                </a:solidFill>
                <a:ea typeface="+mn-lt"/>
                <a:cs typeface="+mn-lt"/>
              </a:rPr>
            </a:br>
            <a:r>
              <a:rPr lang="de-DE" sz="1200" dirty="0">
                <a:solidFill>
                  <a:srgbClr val="131313"/>
                </a:solidFill>
                <a:ea typeface="+mn-lt"/>
                <a:cs typeface="+mn-lt"/>
              </a:rPr>
              <a:t>Möglichkeit bietet auf firmenspezifisches Fachwissen zuzugreifen und es im Multi-Channel zu nutzen</a:t>
            </a:r>
          </a:p>
          <a:p>
            <a:pPr marL="215900" lvl="1" indent="-215900">
              <a:lnSpc>
                <a:spcPct val="90000"/>
              </a:lnSpc>
              <a:spcAft>
                <a:spcPts val="200"/>
              </a:spcAft>
            </a:pPr>
            <a:r>
              <a:rPr lang="de-DE" sz="1200" dirty="0">
                <a:solidFill>
                  <a:srgbClr val="131313"/>
                </a:solidFill>
                <a:ea typeface="+mn-lt"/>
                <a:cs typeface="+mn-lt"/>
              </a:rPr>
              <a:t>Sichere KI-Technologie für verlässliche Ergebnisse</a:t>
            </a:r>
          </a:p>
          <a:p>
            <a:pPr marL="215900" lvl="1" indent="-215900">
              <a:lnSpc>
                <a:spcPct val="90000"/>
              </a:lnSpc>
              <a:spcAft>
                <a:spcPts val="200"/>
              </a:spcAft>
            </a:pPr>
            <a:r>
              <a:rPr lang="de-DE" sz="1200" dirty="0">
                <a:solidFill>
                  <a:srgbClr val="131313"/>
                </a:solidFill>
                <a:ea typeface="+mn-lt"/>
                <a:cs typeface="+mn-lt"/>
              </a:rPr>
              <a:t>Nahtlose Integration in bestehende Prozesse und Systeme</a:t>
            </a:r>
          </a:p>
          <a:p>
            <a:pPr marL="215900" lvl="1" indent="-215900">
              <a:lnSpc>
                <a:spcPct val="90000"/>
              </a:lnSpc>
              <a:spcAft>
                <a:spcPts val="200"/>
              </a:spcAft>
            </a:pPr>
            <a:endParaRPr lang="de-DE" sz="1200" dirty="0">
              <a:solidFill>
                <a:srgbClr val="131313"/>
              </a:solidFill>
              <a:ea typeface="+mn-lt"/>
              <a:cs typeface="+mn-lt"/>
            </a:endParaRPr>
          </a:p>
          <a:p>
            <a:pPr marL="215900" lvl="1" indent="-215900">
              <a:lnSpc>
                <a:spcPct val="90000"/>
              </a:lnSpc>
              <a:spcAft>
                <a:spcPts val="200"/>
              </a:spcAft>
            </a:pPr>
            <a:endParaRPr lang="de-DE" sz="1200" dirty="0">
              <a:solidFill>
                <a:srgbClr val="131313"/>
              </a:solidFill>
            </a:endParaRPr>
          </a:p>
        </p:txBody>
      </p:sp>
      <p:sp>
        <p:nvSpPr>
          <p:cNvPr id="30" name="Textfeld 29">
            <a:extLst>
              <a:ext uri="{FF2B5EF4-FFF2-40B4-BE49-F238E27FC236}">
                <a16:creationId xmlns:a16="http://schemas.microsoft.com/office/drawing/2014/main" id="{B7E88052-34F9-A2F8-6459-567F74E497A9}"/>
              </a:ext>
            </a:extLst>
          </p:cNvPr>
          <p:cNvSpPr txBox="1"/>
          <p:nvPr>
            <p:custDataLst>
              <p:tags r:id="rId4"/>
            </p:custDataLst>
          </p:nvPr>
        </p:nvSpPr>
        <p:spPr>
          <a:xfrm>
            <a:off x="5227128" y="3982187"/>
            <a:ext cx="4050906" cy="240914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dirty="0"/>
              <a:t>Unsere Partner und Referenzen</a:t>
            </a:r>
          </a:p>
          <a:p>
            <a:pPr marL="215900" lvl="1" indent="-215900">
              <a:lnSpc>
                <a:spcPct val="90000"/>
              </a:lnSpc>
              <a:spcAft>
                <a:spcPts val="200"/>
              </a:spcAft>
            </a:pPr>
            <a:r>
              <a:rPr lang="de-DE" sz="1200" dirty="0"/>
              <a:t>Ranger International: Sales Buddy zur </a:t>
            </a:r>
            <a:br>
              <a:rPr lang="de-DE" sz="1200" dirty="0"/>
            </a:br>
            <a:r>
              <a:rPr lang="de-DE" sz="1200" dirty="0"/>
              <a:t>Unterstützung im Feld direkt auf dem iPad – mit </a:t>
            </a:r>
            <a:br>
              <a:rPr lang="de-DE" sz="1200" dirty="0"/>
            </a:br>
            <a:r>
              <a:rPr lang="de-DE" sz="1200" dirty="0"/>
              <a:t>schnellen Antworten, relevanten Informationen und praxisnaher Hilfe rund um den Vertriebsalltag</a:t>
            </a:r>
          </a:p>
          <a:p>
            <a:pPr marL="215900" lvl="1" indent="-215900">
              <a:lnSpc>
                <a:spcPct val="90000"/>
              </a:lnSpc>
              <a:spcAft>
                <a:spcPts val="200"/>
              </a:spcAft>
            </a:pPr>
            <a:r>
              <a:rPr lang="de-DE" sz="1200" dirty="0"/>
              <a:t>Paradigma: Unterstützung der Service Mitarbeiter im Feld bei Kundenkommunikation und Wartungsaufgaben </a:t>
            </a:r>
          </a:p>
          <a:p>
            <a:pPr marL="215900" lvl="1" indent="-215900">
              <a:lnSpc>
                <a:spcPct val="90000"/>
              </a:lnSpc>
              <a:spcAft>
                <a:spcPts val="200"/>
              </a:spcAft>
            </a:pPr>
            <a:r>
              <a:rPr lang="de-DE" sz="1200" dirty="0"/>
              <a:t>KTE: Digitale Dokumentation der Kundentermine im Feld </a:t>
            </a:r>
          </a:p>
        </p:txBody>
      </p:sp>
      <p:cxnSp>
        <p:nvCxnSpPr>
          <p:cNvPr id="4" name="Gerader Verbinder 19">
            <a:extLst>
              <a:ext uri="{FF2B5EF4-FFF2-40B4-BE49-F238E27FC236}">
                <a16:creationId xmlns:a16="http://schemas.microsoft.com/office/drawing/2014/main" id="{7AA004AB-0C0F-E9AA-23A1-2B7625B20449}"/>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5" name="Picture 3">
            <a:extLst>
              <a:ext uri="{FF2B5EF4-FFF2-40B4-BE49-F238E27FC236}">
                <a16:creationId xmlns:a16="http://schemas.microsoft.com/office/drawing/2014/main" id="{9C9D4516-1708-6514-AE15-7919DF50421A}"/>
              </a:ext>
            </a:extLst>
          </p:cNvPr>
          <p:cNvPicPr>
            <a:picLocks noChangeAspect="1"/>
          </p:cNvPicPr>
          <p:nvPr/>
        </p:nvPicPr>
        <p:blipFill>
          <a:blip r:embed="rId11"/>
          <a:srcRect/>
          <a:stretch/>
        </p:blipFill>
        <p:spPr>
          <a:xfrm>
            <a:off x="10068906" y="2272145"/>
            <a:ext cx="1767151" cy="266875"/>
          </a:xfrm>
          <a:prstGeom prst="rect">
            <a:avLst/>
          </a:prstGeom>
        </p:spPr>
      </p:pic>
      <p:grpSp>
        <p:nvGrpSpPr>
          <p:cNvPr id="6" name="Gruppieren 5">
            <a:extLst>
              <a:ext uri="{FF2B5EF4-FFF2-40B4-BE49-F238E27FC236}">
                <a16:creationId xmlns:a16="http://schemas.microsoft.com/office/drawing/2014/main" id="{A13F591E-3F73-76FC-DE3A-7058964BFE5D}"/>
              </a:ext>
            </a:extLst>
          </p:cNvPr>
          <p:cNvGrpSpPr/>
          <p:nvPr/>
        </p:nvGrpSpPr>
        <p:grpSpPr>
          <a:xfrm>
            <a:off x="4138804" y="1771450"/>
            <a:ext cx="703694" cy="703694"/>
            <a:chOff x="3460071" y="1779904"/>
            <a:chExt cx="869145" cy="869145"/>
          </a:xfrm>
        </p:grpSpPr>
        <p:sp>
          <p:nvSpPr>
            <p:cNvPr id="7" name="Kreis: nicht ausgefüllt 6">
              <a:extLst>
                <a:ext uri="{FF2B5EF4-FFF2-40B4-BE49-F238E27FC236}">
                  <a16:creationId xmlns:a16="http://schemas.microsoft.com/office/drawing/2014/main" id="{06072380-CC69-5312-F22E-99691F42B78F}"/>
                </a:ext>
              </a:extLst>
            </p:cNvPr>
            <p:cNvSpPr/>
            <p:nvPr>
              <p:custDataLst>
                <p:tags r:id="rId8"/>
              </p:custDataLst>
            </p:nvPr>
          </p:nvSpPr>
          <p:spPr>
            <a:xfrm>
              <a:off x="3460071"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9" name="Grafik 8">
              <a:extLst>
                <a:ext uri="{FF2B5EF4-FFF2-40B4-BE49-F238E27FC236}">
                  <a16:creationId xmlns:a16="http://schemas.microsoft.com/office/drawing/2014/main" id="{D3FACEB9-147A-266A-A533-F8C04C3E92BA}"/>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496632" y="1796942"/>
              <a:ext cx="809625" cy="809625"/>
            </a:xfrm>
            <a:prstGeom prst="rect">
              <a:avLst/>
            </a:prstGeom>
          </p:spPr>
        </p:pic>
      </p:grpSp>
      <p:grpSp>
        <p:nvGrpSpPr>
          <p:cNvPr id="15" name="Gruppieren 14">
            <a:extLst>
              <a:ext uri="{FF2B5EF4-FFF2-40B4-BE49-F238E27FC236}">
                <a16:creationId xmlns:a16="http://schemas.microsoft.com/office/drawing/2014/main" id="{93CF54B4-EFD5-9EFE-43A4-1B753F8B1910}"/>
              </a:ext>
            </a:extLst>
          </p:cNvPr>
          <p:cNvGrpSpPr/>
          <p:nvPr/>
        </p:nvGrpSpPr>
        <p:grpSpPr>
          <a:xfrm>
            <a:off x="8760780" y="3816990"/>
            <a:ext cx="703694" cy="703694"/>
            <a:chOff x="8575325" y="4111833"/>
            <a:chExt cx="869145" cy="869145"/>
          </a:xfrm>
        </p:grpSpPr>
        <p:sp>
          <p:nvSpPr>
            <p:cNvPr id="17" name="Kreis: nicht ausgefüllt 16">
              <a:extLst>
                <a:ext uri="{FF2B5EF4-FFF2-40B4-BE49-F238E27FC236}">
                  <a16:creationId xmlns:a16="http://schemas.microsoft.com/office/drawing/2014/main" id="{AC6F10C7-F9CB-E47D-FD41-5170136613C1}"/>
                </a:ext>
              </a:extLst>
            </p:cNvPr>
            <p:cNvSpPr/>
            <p:nvPr>
              <p:custDataLst>
                <p:tags r:id="rId7"/>
              </p:custDataLst>
            </p:nvPr>
          </p:nvSpPr>
          <p:spPr>
            <a:xfrm>
              <a:off x="8575325"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8" name="Grafik 17">
              <a:extLst>
                <a:ext uri="{FF2B5EF4-FFF2-40B4-BE49-F238E27FC236}">
                  <a16:creationId xmlns:a16="http://schemas.microsoft.com/office/drawing/2014/main" id="{0BC7D40D-6FE5-FC8E-65E7-1C117FBF3FAB}"/>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8608010" y="4171353"/>
              <a:ext cx="809625" cy="809625"/>
            </a:xfrm>
            <a:prstGeom prst="rect">
              <a:avLst/>
            </a:prstGeom>
          </p:spPr>
        </p:pic>
      </p:grpSp>
      <p:grpSp>
        <p:nvGrpSpPr>
          <p:cNvPr id="19" name="Gruppieren 18">
            <a:extLst>
              <a:ext uri="{FF2B5EF4-FFF2-40B4-BE49-F238E27FC236}">
                <a16:creationId xmlns:a16="http://schemas.microsoft.com/office/drawing/2014/main" id="{2C39714E-32F0-783B-D1CE-D8F5F21F3C1B}"/>
              </a:ext>
            </a:extLst>
          </p:cNvPr>
          <p:cNvGrpSpPr/>
          <p:nvPr/>
        </p:nvGrpSpPr>
        <p:grpSpPr>
          <a:xfrm>
            <a:off x="4138804" y="3816990"/>
            <a:ext cx="703694" cy="703694"/>
            <a:chOff x="3460071" y="4111833"/>
            <a:chExt cx="869145" cy="869145"/>
          </a:xfrm>
        </p:grpSpPr>
        <p:sp>
          <p:nvSpPr>
            <p:cNvPr id="20" name="Kreis: nicht ausgefüllt 19">
              <a:extLst>
                <a:ext uri="{FF2B5EF4-FFF2-40B4-BE49-F238E27FC236}">
                  <a16:creationId xmlns:a16="http://schemas.microsoft.com/office/drawing/2014/main" id="{EAC5A934-857A-618C-53E4-D3A2F9199483}"/>
                </a:ext>
              </a:extLst>
            </p:cNvPr>
            <p:cNvSpPr/>
            <p:nvPr>
              <p:custDataLst>
                <p:tags r:id="rId6"/>
              </p:custDataLst>
            </p:nvPr>
          </p:nvSpPr>
          <p:spPr>
            <a:xfrm>
              <a:off x="3460071"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1" name="Grafik 20">
              <a:extLst>
                <a:ext uri="{FF2B5EF4-FFF2-40B4-BE49-F238E27FC236}">
                  <a16:creationId xmlns:a16="http://schemas.microsoft.com/office/drawing/2014/main" id="{CCD15975-2D50-4D77-0FD9-2EBAB2B66026}"/>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3489830" y="4141593"/>
              <a:ext cx="809625" cy="809625"/>
            </a:xfrm>
            <a:prstGeom prst="rect">
              <a:avLst/>
            </a:prstGeom>
          </p:spPr>
        </p:pic>
      </p:grpSp>
      <p:grpSp>
        <p:nvGrpSpPr>
          <p:cNvPr id="22" name="Gruppieren 21">
            <a:extLst>
              <a:ext uri="{FF2B5EF4-FFF2-40B4-BE49-F238E27FC236}">
                <a16:creationId xmlns:a16="http://schemas.microsoft.com/office/drawing/2014/main" id="{EA4F20CA-FE6C-D9C7-3BB8-D9A73E7409F3}"/>
              </a:ext>
            </a:extLst>
          </p:cNvPr>
          <p:cNvGrpSpPr/>
          <p:nvPr/>
        </p:nvGrpSpPr>
        <p:grpSpPr>
          <a:xfrm>
            <a:off x="8760780" y="1771450"/>
            <a:ext cx="703694" cy="703694"/>
            <a:chOff x="7459565" y="1779904"/>
            <a:chExt cx="869145" cy="869145"/>
          </a:xfrm>
        </p:grpSpPr>
        <p:sp>
          <p:nvSpPr>
            <p:cNvPr id="37" name="Kreis: nicht ausgefüllt 36">
              <a:extLst>
                <a:ext uri="{FF2B5EF4-FFF2-40B4-BE49-F238E27FC236}">
                  <a16:creationId xmlns:a16="http://schemas.microsoft.com/office/drawing/2014/main" id="{81BB2215-D87D-A9BA-F293-A39988AF65A9}"/>
                </a:ext>
              </a:extLst>
            </p:cNvPr>
            <p:cNvSpPr/>
            <p:nvPr>
              <p:custDataLst>
                <p:tags r:id="rId5"/>
              </p:custDataLst>
            </p:nvPr>
          </p:nvSpPr>
          <p:spPr>
            <a:xfrm>
              <a:off x="7459565"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8" name="Grafik 37">
              <a:extLst>
                <a:ext uri="{FF2B5EF4-FFF2-40B4-BE49-F238E27FC236}">
                  <a16:creationId xmlns:a16="http://schemas.microsoft.com/office/drawing/2014/main" id="{4EE6D3CC-EB62-47E0-3641-22DB361D3058}"/>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7493685" y="1797686"/>
              <a:ext cx="809625" cy="809625"/>
            </a:xfrm>
            <a:prstGeom prst="rect">
              <a:avLst/>
            </a:prstGeom>
          </p:spPr>
        </p:pic>
      </p:grpSp>
    </p:spTree>
    <p:extLst>
      <p:ext uri="{BB962C8B-B14F-4D97-AF65-F5344CB8AC3E}">
        <p14:creationId xmlns:p14="http://schemas.microsoft.com/office/powerpoint/2010/main" val="5329483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2485E6-6BC1-7A7C-C7A4-BDF3B3BE385C}"/>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07C9D2F1-0A25-2B53-1452-B7A9AE56595B}"/>
              </a:ext>
            </a:extLst>
          </p:cNvPr>
          <p:cNvSpPr/>
          <p:nvPr/>
        </p:nvSpPr>
        <p:spPr>
          <a:xfrm>
            <a:off x="9671370" y="1781092"/>
            <a:ext cx="2685600" cy="4311733"/>
          </a:xfrm>
          <a:prstGeom prst="round2DiagRect">
            <a:avLst>
              <a:gd name="adj1" fmla="val 0"/>
              <a:gd name="adj2" fmla="val 4143"/>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de-DE" sz="1200" b="1" dirty="0">
                <a:ea typeface="+mn-lt"/>
                <a:cs typeface="+mn-lt"/>
              </a:rPr>
              <a:t>Ansprechpartner</a:t>
            </a:r>
            <a:endParaRPr lang="en-US" sz="1200" b="1" dirty="0"/>
          </a:p>
          <a:p>
            <a:r>
              <a:rPr lang="de-DE" sz="1200" dirty="0">
                <a:ea typeface="+mn-lt"/>
                <a:cs typeface="+mn-lt"/>
              </a:rPr>
              <a:t>Dr. Hendrik Leder</a:t>
            </a:r>
          </a:p>
          <a:p>
            <a:r>
              <a:rPr lang="de-DE" sz="1200" dirty="0">
                <a:ea typeface="+mn-lt"/>
                <a:cs typeface="+mn-lt"/>
              </a:rPr>
              <a:t> +49 (174) 995 1526</a:t>
            </a:r>
          </a:p>
          <a:p>
            <a:r>
              <a:rPr lang="de-DE" sz="1200" dirty="0">
                <a:ea typeface="+mn-lt"/>
                <a:cs typeface="+mn-lt"/>
              </a:rPr>
              <a:t>info@iconcxm.de</a:t>
            </a:r>
          </a:p>
        </p:txBody>
      </p:sp>
      <p:sp>
        <p:nvSpPr>
          <p:cNvPr id="10" name="Titel 11">
            <a:extLst>
              <a:ext uri="{FF2B5EF4-FFF2-40B4-BE49-F238E27FC236}">
                <a16:creationId xmlns:a16="http://schemas.microsoft.com/office/drawing/2014/main" id="{39990129-726D-DFBD-9F3D-28A683CD2B2C}"/>
              </a:ext>
            </a:extLst>
          </p:cNvPr>
          <p:cNvSpPr txBox="1">
            <a:spLocks/>
          </p:cNvSpPr>
          <p:nvPr>
            <p:custDataLst>
              <p:tags r:id="rId1"/>
            </p:custDataLst>
          </p:nvPr>
        </p:nvSpPr>
        <p:spPr bwMode="gray">
          <a:xfrm>
            <a:off x="10001250" y="2110176"/>
            <a:ext cx="1844386"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12" name="Titel 5">
            <a:extLst>
              <a:ext uri="{FF2B5EF4-FFF2-40B4-BE49-F238E27FC236}">
                <a16:creationId xmlns:a16="http://schemas.microsoft.com/office/drawing/2014/main" id="{29F5AB4A-F482-DBCF-F319-7CA898D52160}"/>
              </a:ext>
            </a:extLst>
          </p:cNvPr>
          <p:cNvSpPr>
            <a:spLocks noGrp="1"/>
          </p:cNvSpPr>
          <p:nvPr>
            <p:ph type="title"/>
          </p:nvPr>
        </p:nvSpPr>
        <p:spPr>
          <a:xfrm>
            <a:off x="649008" y="620713"/>
            <a:ext cx="9807031" cy="738664"/>
          </a:xfrm>
        </p:spPr>
        <p:txBody>
          <a:bodyPr vert="horz"/>
          <a:lstStyle/>
          <a:p>
            <a:r>
              <a:rPr lang="de-DE">
                <a:ea typeface="+mn-lt"/>
                <a:cs typeface="+mn-lt"/>
              </a:rPr>
              <a:t>Die zentrale Kommunikationsdrehscheibe  in der Kundenkommunikation</a:t>
            </a:r>
            <a:br>
              <a:rPr lang="de-DE">
                <a:ea typeface="+mn-lt"/>
                <a:cs typeface="+mn-lt"/>
              </a:rPr>
            </a:br>
            <a:r>
              <a:rPr lang="de-DE" b="1">
                <a:ea typeface="+mn-lt"/>
                <a:cs typeface="+mn-lt"/>
              </a:rPr>
              <a:t>D7 als modernste Dokumenterstellung </a:t>
            </a:r>
            <a:endParaRPr lang="de-DE" b="1"/>
          </a:p>
        </p:txBody>
      </p:sp>
      <p:sp>
        <p:nvSpPr>
          <p:cNvPr id="14" name="Fußzeilenplatzhalter 1">
            <a:extLst>
              <a:ext uri="{FF2B5EF4-FFF2-40B4-BE49-F238E27FC236}">
                <a16:creationId xmlns:a16="http://schemas.microsoft.com/office/drawing/2014/main" id="{7C6CC221-7823-7022-9BBE-00F43EF0D26C}"/>
              </a:ext>
            </a:extLst>
          </p:cNvPr>
          <p:cNvSpPr>
            <a:spLocks noGrp="1"/>
          </p:cNvSpPr>
          <p:nvPr>
            <p:ph type="ftr" sz="quarter" idx="10"/>
          </p:nvPr>
        </p:nvSpPr>
        <p:spPr>
          <a:xfrm>
            <a:off x="655780" y="6443762"/>
            <a:ext cx="4968501" cy="153888"/>
          </a:xfrm>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2FD03A16-5F6D-3865-3F87-B1C15BD710F0}"/>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42</a:t>
            </a:fld>
            <a:endParaRPr lang="de-DE"/>
          </a:p>
        </p:txBody>
      </p:sp>
      <p:sp>
        <p:nvSpPr>
          <p:cNvPr id="24" name="Textfeld 23">
            <a:extLst>
              <a:ext uri="{FF2B5EF4-FFF2-40B4-BE49-F238E27FC236}">
                <a16:creationId xmlns:a16="http://schemas.microsoft.com/office/drawing/2014/main" id="{9DD9E3C7-140A-471F-DE5B-14A650E45F34}"/>
              </a:ext>
            </a:extLst>
          </p:cNvPr>
          <p:cNvSpPr txBox="1"/>
          <p:nvPr>
            <p:custDataLst>
              <p:tags r:id="rId2"/>
            </p:custDataLst>
          </p:nvPr>
        </p:nvSpPr>
        <p:spPr>
          <a:xfrm>
            <a:off x="653194" y="1757105"/>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de-DE" sz="1400" b="1" dirty="0"/>
              <a:t>Ihre Herausforderung</a:t>
            </a:r>
          </a:p>
          <a:p>
            <a:pPr marL="215900" lvl="1" indent="-215900">
              <a:lnSpc>
                <a:spcPct val="95000"/>
              </a:lnSpc>
              <a:spcAft>
                <a:spcPts val="300"/>
              </a:spcAft>
            </a:pPr>
            <a:r>
              <a:rPr lang="de-DE" sz="1200" b="1" dirty="0"/>
              <a:t>Hohe Kosten </a:t>
            </a:r>
            <a:r>
              <a:rPr lang="de-DE" sz="1200" dirty="0"/>
              <a:t>in der Dokumenterstellung durch</a:t>
            </a:r>
          </a:p>
          <a:p>
            <a:pPr marL="444600" lvl="2" indent="-228600">
              <a:lnSpc>
                <a:spcPct val="95000"/>
              </a:lnSpc>
              <a:spcAft>
                <a:spcPts val="300"/>
              </a:spcAft>
              <a:buFont typeface="+mj-lt"/>
              <a:buAutoNum type="arabicPeriod"/>
            </a:pPr>
            <a:r>
              <a:rPr lang="de-DE" sz="1200" dirty="0"/>
              <a:t>Komplexe Systemlandschaften und </a:t>
            </a:r>
            <a:br>
              <a:rPr lang="de-DE" sz="1200" dirty="0"/>
            </a:br>
            <a:r>
              <a:rPr lang="de-DE" sz="1200" dirty="0"/>
              <a:t>Zwischensysteme</a:t>
            </a:r>
          </a:p>
          <a:p>
            <a:pPr marL="444600" lvl="2" indent="-228600">
              <a:lnSpc>
                <a:spcPct val="95000"/>
              </a:lnSpc>
              <a:spcAft>
                <a:spcPts val="300"/>
              </a:spcAft>
              <a:buFont typeface="+mj-lt"/>
              <a:buAutoNum type="arabicPeriod"/>
            </a:pPr>
            <a:r>
              <a:rPr lang="de-DE" sz="1200" dirty="0"/>
              <a:t>Manuelle Tätigkeiten in der Dokumenterstellung </a:t>
            </a:r>
            <a:br>
              <a:rPr lang="de-DE" sz="1200" dirty="0"/>
            </a:br>
            <a:r>
              <a:rPr lang="de-DE" sz="1200" dirty="0"/>
              <a:t>(damit schwierige Skalierung etc.)</a:t>
            </a:r>
          </a:p>
          <a:p>
            <a:pPr lvl="1">
              <a:lnSpc>
                <a:spcPct val="95000"/>
              </a:lnSpc>
              <a:spcAft>
                <a:spcPts val="300"/>
              </a:spcAft>
            </a:pPr>
            <a:r>
              <a:rPr lang="de-DE" sz="1200" b="1" dirty="0"/>
              <a:t>Herausforderung der Individualisierung</a:t>
            </a:r>
            <a:r>
              <a:rPr lang="de-DE" sz="1200" dirty="0"/>
              <a:t> in der Kundenkommunikation</a:t>
            </a:r>
          </a:p>
          <a:p>
            <a:pPr lvl="1">
              <a:lnSpc>
                <a:spcPct val="95000"/>
              </a:lnSpc>
              <a:spcAft>
                <a:spcPts val="300"/>
              </a:spcAft>
            </a:pPr>
            <a:r>
              <a:rPr lang="de-DE" sz="1200" b="1" dirty="0"/>
              <a:t>Langsame Reaktionsfähigkeit </a:t>
            </a:r>
            <a:r>
              <a:rPr lang="de-DE" sz="1200" dirty="0"/>
              <a:t>bei </a:t>
            </a:r>
            <a:br>
              <a:rPr lang="de-DE" sz="1200" dirty="0"/>
            </a:br>
            <a:r>
              <a:rPr lang="de-DE" sz="1200" dirty="0"/>
              <a:t>regulatorischen oder fachlichen Änderungen</a:t>
            </a:r>
          </a:p>
          <a:p>
            <a:pPr>
              <a:lnSpc>
                <a:spcPct val="95000"/>
              </a:lnSpc>
              <a:spcAft>
                <a:spcPts val="300"/>
              </a:spcAft>
            </a:pPr>
            <a:endParaRPr lang="de-DE" sz="1400" dirty="0"/>
          </a:p>
        </p:txBody>
      </p:sp>
      <p:sp>
        <p:nvSpPr>
          <p:cNvPr id="26" name="Textfeld 25">
            <a:extLst>
              <a:ext uri="{FF2B5EF4-FFF2-40B4-BE49-F238E27FC236}">
                <a16:creationId xmlns:a16="http://schemas.microsoft.com/office/drawing/2014/main" id="{1D6FB24F-5E6E-CF3D-7679-B79AFD672879}"/>
              </a:ext>
            </a:extLst>
          </p:cNvPr>
          <p:cNvSpPr txBox="1"/>
          <p:nvPr>
            <p:custDataLst>
              <p:tags r:id="rId3"/>
            </p:custDataLst>
          </p:nvPr>
        </p:nvSpPr>
        <p:spPr>
          <a:xfrm>
            <a:off x="5227129" y="1781673"/>
            <a:ext cx="3991555" cy="2279953"/>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400"/>
              </a:spcAft>
            </a:pPr>
            <a:r>
              <a:rPr lang="de-DE" sz="1400" b="1" dirty="0"/>
              <a:t>Ihr Nutzen</a:t>
            </a:r>
          </a:p>
          <a:p>
            <a:pPr marL="215900" lvl="1" indent="-215900">
              <a:lnSpc>
                <a:spcPct val="95000"/>
              </a:lnSpc>
              <a:spcAft>
                <a:spcPts val="400"/>
              </a:spcAft>
            </a:pPr>
            <a:r>
              <a:rPr lang="de-DE" sz="1200" b="1" dirty="0"/>
              <a:t>Deutliche Kosteneinsparung</a:t>
            </a:r>
            <a:r>
              <a:rPr lang="de-DE" sz="1200" dirty="0"/>
              <a:t> durch Systemkonsolidierung und Effizienzgewinne</a:t>
            </a:r>
          </a:p>
          <a:p>
            <a:pPr marL="215900" lvl="1" indent="-215900">
              <a:lnSpc>
                <a:spcPct val="95000"/>
              </a:lnSpc>
              <a:spcAft>
                <a:spcPts val="400"/>
              </a:spcAft>
            </a:pPr>
            <a:r>
              <a:rPr lang="de-DE" sz="1200" b="1" dirty="0"/>
              <a:t>Große Effizienzgewinne</a:t>
            </a:r>
            <a:r>
              <a:rPr lang="de-DE" sz="1200" dirty="0"/>
              <a:t> durch UX-Optimierung</a:t>
            </a:r>
          </a:p>
          <a:p>
            <a:pPr marL="215900" lvl="1" indent="-215900">
              <a:lnSpc>
                <a:spcPct val="95000"/>
              </a:lnSpc>
              <a:spcAft>
                <a:spcPts val="400"/>
              </a:spcAft>
              <a:buClr>
                <a:srgbClr val="A01441"/>
              </a:buClr>
            </a:pPr>
            <a:r>
              <a:rPr lang="de-DE" sz="1200" b="1" dirty="0"/>
              <a:t>Große Einsparpotentiale </a:t>
            </a:r>
            <a:r>
              <a:rPr lang="de-DE" sz="1200" dirty="0"/>
              <a:t>durch Skalierungseffekt </a:t>
            </a:r>
            <a:endParaRPr lang="de-DE" dirty="0"/>
          </a:p>
          <a:p>
            <a:pPr marL="215900" lvl="1" indent="-215900">
              <a:lnSpc>
                <a:spcPct val="95000"/>
              </a:lnSpc>
              <a:spcAft>
                <a:spcPts val="400"/>
              </a:spcAft>
              <a:buClr>
                <a:srgbClr val="A01441"/>
              </a:buClr>
            </a:pPr>
            <a:r>
              <a:rPr lang="de-DE" sz="1200" b="1" dirty="0"/>
              <a:t>Optimierte Kundenkommunikation </a:t>
            </a:r>
            <a:endParaRPr lang="de-DE" b="1"/>
          </a:p>
          <a:p>
            <a:pPr marL="215900" lvl="1" indent="-215900">
              <a:lnSpc>
                <a:spcPct val="95000"/>
              </a:lnSpc>
              <a:spcAft>
                <a:spcPts val="400"/>
              </a:spcAft>
              <a:buClr>
                <a:srgbClr val="A01441"/>
              </a:buClr>
            </a:pPr>
            <a:r>
              <a:rPr lang="de-DE" sz="1200" b="1" dirty="0"/>
              <a:t>Reduzierte Kündigungsquoten</a:t>
            </a:r>
            <a:r>
              <a:rPr lang="de-DE" sz="1200" dirty="0"/>
              <a:t> und verbesserte Neukundenakquise </a:t>
            </a:r>
          </a:p>
          <a:p>
            <a:pPr marL="215900" lvl="1" indent="-215900">
              <a:lnSpc>
                <a:spcPct val="95000"/>
              </a:lnSpc>
              <a:spcAft>
                <a:spcPts val="400"/>
              </a:spcAft>
              <a:buClr>
                <a:srgbClr val="A01441"/>
              </a:buClr>
            </a:pPr>
            <a:r>
              <a:rPr lang="de-DE" sz="1200" b="1" dirty="0"/>
              <a:t>Investitionsschutz </a:t>
            </a:r>
            <a:r>
              <a:rPr lang="de-DE" sz="1200" dirty="0"/>
              <a:t>als Bestandteil des msg-Produktportfolios</a:t>
            </a:r>
          </a:p>
        </p:txBody>
      </p:sp>
      <p:sp>
        <p:nvSpPr>
          <p:cNvPr id="28" name="Textfeld 27">
            <a:extLst>
              <a:ext uri="{FF2B5EF4-FFF2-40B4-BE49-F238E27FC236}">
                <a16:creationId xmlns:a16="http://schemas.microsoft.com/office/drawing/2014/main" id="{6587B15F-E5D2-D079-3F64-ED160ED3B002}"/>
              </a:ext>
            </a:extLst>
          </p:cNvPr>
          <p:cNvSpPr txBox="1"/>
          <p:nvPr>
            <p:custDataLst>
              <p:tags r:id="rId4"/>
            </p:custDataLst>
          </p:nvPr>
        </p:nvSpPr>
        <p:spPr>
          <a:xfrm>
            <a:off x="653195" y="3975902"/>
            <a:ext cx="4196134" cy="210624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400"/>
              </a:spcAft>
            </a:pPr>
            <a:r>
              <a:rPr lang="de-DE" sz="1400" b="1" dirty="0"/>
              <a:t>Unser Angebot</a:t>
            </a:r>
          </a:p>
          <a:p>
            <a:pPr marL="215900" lvl="1" indent="-215900">
              <a:lnSpc>
                <a:spcPct val="95000"/>
              </a:lnSpc>
              <a:spcAft>
                <a:spcPts val="400"/>
              </a:spcAft>
            </a:pPr>
            <a:r>
              <a:rPr lang="de-DE" sz="1200" b="1" dirty="0"/>
              <a:t>Cloud-native SaaS-Lösung</a:t>
            </a:r>
            <a:r>
              <a:rPr lang="de-DE" sz="1200" dirty="0"/>
              <a:t> mit flexibler </a:t>
            </a:r>
            <a:br>
              <a:rPr lang="de-DE" sz="1200" dirty="0"/>
            </a:br>
            <a:r>
              <a:rPr lang="de-DE" sz="1200" dirty="0"/>
              <a:t>Skalierung (auch On-</a:t>
            </a:r>
            <a:r>
              <a:rPr lang="de-DE" sz="1200" dirty="0" err="1"/>
              <a:t>Premise</a:t>
            </a:r>
            <a:r>
              <a:rPr lang="de-DE" sz="1200" dirty="0"/>
              <a:t> möglich)</a:t>
            </a:r>
          </a:p>
          <a:p>
            <a:pPr marL="215900" lvl="1" indent="-215900">
              <a:lnSpc>
                <a:spcPct val="95000"/>
              </a:lnSpc>
              <a:spcAft>
                <a:spcPts val="400"/>
              </a:spcAft>
            </a:pPr>
            <a:r>
              <a:rPr lang="de-DE" sz="1200" b="1" dirty="0"/>
              <a:t>Vollintegriert in die </a:t>
            </a:r>
            <a:r>
              <a:rPr lang="de-DE" sz="1200" b="1" dirty="0" err="1"/>
              <a:t>msg.Insurance</a:t>
            </a:r>
            <a:r>
              <a:rPr lang="de-DE" sz="1200" b="1" dirty="0"/>
              <a:t> Suite</a:t>
            </a:r>
            <a:r>
              <a:rPr lang="de-DE" sz="1200" dirty="0"/>
              <a:t> – Wegfall von Zwischensystemen</a:t>
            </a:r>
          </a:p>
          <a:p>
            <a:pPr marL="215900" lvl="1" indent="-215900">
              <a:lnSpc>
                <a:spcPct val="95000"/>
              </a:lnSpc>
              <a:spcAft>
                <a:spcPts val="400"/>
              </a:spcAft>
            </a:pPr>
            <a:r>
              <a:rPr lang="de-DE" sz="1200" b="1" dirty="0"/>
              <a:t>Modernste UX</a:t>
            </a:r>
            <a:r>
              <a:rPr lang="de-DE" sz="1200" dirty="0"/>
              <a:t> für höchste Effizienz bei Erstellung und Freigabe von Dokumenten</a:t>
            </a:r>
          </a:p>
          <a:p>
            <a:pPr marL="215900" lvl="1" indent="-215900">
              <a:lnSpc>
                <a:spcPct val="95000"/>
              </a:lnSpc>
              <a:spcAft>
                <a:spcPts val="400"/>
              </a:spcAft>
            </a:pPr>
            <a:r>
              <a:rPr lang="de-DE" sz="1200" b="1" dirty="0"/>
              <a:t>KI-gestützte Textoptimierung</a:t>
            </a:r>
            <a:r>
              <a:rPr lang="de-DE" sz="1200" dirty="0"/>
              <a:t> und barrierefreie Kommunikation</a:t>
            </a:r>
          </a:p>
          <a:p>
            <a:pPr marL="215900" lvl="1" indent="-215900">
              <a:lnSpc>
                <a:spcPct val="95000"/>
              </a:lnSpc>
              <a:spcAft>
                <a:spcPts val="400"/>
              </a:spcAft>
            </a:pPr>
            <a:r>
              <a:rPr lang="de-DE" sz="1200" b="1" dirty="0"/>
              <a:t>Zukunftssicher und updatefähig</a:t>
            </a:r>
            <a:r>
              <a:rPr lang="de-DE" sz="1200" dirty="0"/>
              <a:t> durch modernen Technologie-Stack</a:t>
            </a:r>
          </a:p>
        </p:txBody>
      </p:sp>
      <p:sp>
        <p:nvSpPr>
          <p:cNvPr id="30" name="Textfeld 29">
            <a:extLst>
              <a:ext uri="{FF2B5EF4-FFF2-40B4-BE49-F238E27FC236}">
                <a16:creationId xmlns:a16="http://schemas.microsoft.com/office/drawing/2014/main" id="{D8F619A4-E8DC-6513-0B18-D23D4F564813}"/>
              </a:ext>
            </a:extLst>
          </p:cNvPr>
          <p:cNvSpPr txBox="1"/>
          <p:nvPr>
            <p:custDataLst>
              <p:tags r:id="rId5"/>
            </p:custDataLst>
          </p:nvPr>
        </p:nvSpPr>
        <p:spPr>
          <a:xfrm>
            <a:off x="5227129" y="4190682"/>
            <a:ext cx="3778873" cy="91440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400"/>
              </a:spcAft>
            </a:pPr>
            <a:r>
              <a:rPr lang="de-DE" dirty="0"/>
              <a:t>Unsere Partner und Referenzen</a:t>
            </a:r>
          </a:p>
          <a:p>
            <a:pPr marL="215900" lvl="1" indent="-215900">
              <a:lnSpc>
                <a:spcPct val="95000"/>
              </a:lnSpc>
              <a:spcAft>
                <a:spcPts val="400"/>
              </a:spcAft>
            </a:pPr>
            <a:r>
              <a:rPr lang="de-DE" sz="1200" dirty="0"/>
              <a:t>Enge Zusammenarbeit mit msg</a:t>
            </a:r>
          </a:p>
          <a:p>
            <a:pPr marL="215900" lvl="1" indent="-215900">
              <a:lnSpc>
                <a:spcPct val="95000"/>
              </a:lnSpc>
              <a:spcAft>
                <a:spcPts val="400"/>
              </a:spcAft>
            </a:pPr>
            <a:r>
              <a:rPr lang="de-DE" sz="1200" dirty="0"/>
              <a:t>Ausgewählte Kunden: W&amp;W, Viridium, Stuttgarter, SDK</a:t>
            </a:r>
          </a:p>
        </p:txBody>
      </p:sp>
      <p:grpSp>
        <p:nvGrpSpPr>
          <p:cNvPr id="2" name="Gruppieren 1">
            <a:extLst>
              <a:ext uri="{FF2B5EF4-FFF2-40B4-BE49-F238E27FC236}">
                <a16:creationId xmlns:a16="http://schemas.microsoft.com/office/drawing/2014/main" id="{AEB5947E-6794-903B-B786-E324AA475CFB}"/>
              </a:ext>
            </a:extLst>
          </p:cNvPr>
          <p:cNvGrpSpPr/>
          <p:nvPr/>
        </p:nvGrpSpPr>
        <p:grpSpPr>
          <a:xfrm>
            <a:off x="4138804" y="1771450"/>
            <a:ext cx="703694" cy="703694"/>
            <a:chOff x="3460071" y="1779904"/>
            <a:chExt cx="869145" cy="869145"/>
          </a:xfrm>
        </p:grpSpPr>
        <p:sp>
          <p:nvSpPr>
            <p:cNvPr id="3" name="Kreis: nicht ausgefüllt 2">
              <a:extLst>
                <a:ext uri="{FF2B5EF4-FFF2-40B4-BE49-F238E27FC236}">
                  <a16:creationId xmlns:a16="http://schemas.microsoft.com/office/drawing/2014/main" id="{BAAD14C3-88AA-D540-D1D2-38F952AEB199}"/>
                </a:ext>
              </a:extLst>
            </p:cNvPr>
            <p:cNvSpPr/>
            <p:nvPr>
              <p:custDataLst>
                <p:tags r:id="rId9"/>
              </p:custDataLst>
            </p:nvPr>
          </p:nvSpPr>
          <p:spPr>
            <a:xfrm>
              <a:off x="3460071" y="1779904"/>
              <a:ext cx="869145" cy="869145"/>
            </a:xfrm>
            <a:prstGeom prst="donut">
              <a:avLst>
                <a:gd name="adj" fmla="val 5998"/>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3" name="Grafik 22">
              <a:extLst>
                <a:ext uri="{FF2B5EF4-FFF2-40B4-BE49-F238E27FC236}">
                  <a16:creationId xmlns:a16="http://schemas.microsoft.com/office/drawing/2014/main" id="{12BCFB54-2144-8296-753A-C45CDBB6EDC1}"/>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496632" y="1796942"/>
              <a:ext cx="809625" cy="809625"/>
            </a:xfrm>
            <a:prstGeom prst="rect">
              <a:avLst/>
            </a:prstGeom>
          </p:spPr>
        </p:pic>
      </p:grpSp>
      <p:grpSp>
        <p:nvGrpSpPr>
          <p:cNvPr id="25" name="Gruppieren 24">
            <a:extLst>
              <a:ext uri="{FF2B5EF4-FFF2-40B4-BE49-F238E27FC236}">
                <a16:creationId xmlns:a16="http://schemas.microsoft.com/office/drawing/2014/main" id="{7A17DDB2-23F2-79A6-7936-D1F9E288D497}"/>
              </a:ext>
            </a:extLst>
          </p:cNvPr>
          <p:cNvGrpSpPr/>
          <p:nvPr/>
        </p:nvGrpSpPr>
        <p:grpSpPr>
          <a:xfrm>
            <a:off x="8760781" y="3827292"/>
            <a:ext cx="703694" cy="703694"/>
            <a:chOff x="8575325" y="4111833"/>
            <a:chExt cx="869145" cy="869145"/>
          </a:xfrm>
        </p:grpSpPr>
        <p:sp>
          <p:nvSpPr>
            <p:cNvPr id="27" name="Kreis: nicht ausgefüllt 26">
              <a:extLst>
                <a:ext uri="{FF2B5EF4-FFF2-40B4-BE49-F238E27FC236}">
                  <a16:creationId xmlns:a16="http://schemas.microsoft.com/office/drawing/2014/main" id="{6BC08635-7A62-529B-75F2-58DE677522D9}"/>
                </a:ext>
              </a:extLst>
            </p:cNvPr>
            <p:cNvSpPr/>
            <p:nvPr>
              <p:custDataLst>
                <p:tags r:id="rId8"/>
              </p:custDataLst>
            </p:nvPr>
          </p:nvSpPr>
          <p:spPr>
            <a:xfrm>
              <a:off x="8575325" y="4111833"/>
              <a:ext cx="869145" cy="869145"/>
            </a:xfrm>
            <a:prstGeom prst="donut">
              <a:avLst>
                <a:gd name="adj" fmla="val 5998"/>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9" name="Grafik 28">
              <a:extLst>
                <a:ext uri="{FF2B5EF4-FFF2-40B4-BE49-F238E27FC236}">
                  <a16:creationId xmlns:a16="http://schemas.microsoft.com/office/drawing/2014/main" id="{B6420A4A-D60A-F6F4-7829-0CD6BF5163C5}"/>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8608010" y="4171353"/>
              <a:ext cx="809625" cy="809625"/>
            </a:xfrm>
            <a:prstGeom prst="rect">
              <a:avLst/>
            </a:prstGeom>
          </p:spPr>
        </p:pic>
      </p:grpSp>
      <p:grpSp>
        <p:nvGrpSpPr>
          <p:cNvPr id="31" name="Gruppieren 30">
            <a:extLst>
              <a:ext uri="{FF2B5EF4-FFF2-40B4-BE49-F238E27FC236}">
                <a16:creationId xmlns:a16="http://schemas.microsoft.com/office/drawing/2014/main" id="{13ACC792-DC87-8527-47D0-85D04685E75E}"/>
              </a:ext>
            </a:extLst>
          </p:cNvPr>
          <p:cNvGrpSpPr/>
          <p:nvPr/>
        </p:nvGrpSpPr>
        <p:grpSpPr>
          <a:xfrm>
            <a:off x="4138251" y="3578544"/>
            <a:ext cx="703694" cy="703694"/>
            <a:chOff x="3460071" y="4111833"/>
            <a:chExt cx="869145" cy="869145"/>
          </a:xfrm>
        </p:grpSpPr>
        <p:sp>
          <p:nvSpPr>
            <p:cNvPr id="32" name="Kreis: nicht ausgefüllt 31">
              <a:extLst>
                <a:ext uri="{FF2B5EF4-FFF2-40B4-BE49-F238E27FC236}">
                  <a16:creationId xmlns:a16="http://schemas.microsoft.com/office/drawing/2014/main" id="{6D961E28-D6F5-CF25-C4C2-11E219619B37}"/>
                </a:ext>
              </a:extLst>
            </p:cNvPr>
            <p:cNvSpPr/>
            <p:nvPr>
              <p:custDataLst>
                <p:tags r:id="rId7"/>
              </p:custDataLst>
            </p:nvPr>
          </p:nvSpPr>
          <p:spPr>
            <a:xfrm>
              <a:off x="3460071" y="4111833"/>
              <a:ext cx="869145" cy="869145"/>
            </a:xfrm>
            <a:prstGeom prst="donut">
              <a:avLst>
                <a:gd name="adj" fmla="val 5998"/>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3" name="Grafik 32">
              <a:extLst>
                <a:ext uri="{FF2B5EF4-FFF2-40B4-BE49-F238E27FC236}">
                  <a16:creationId xmlns:a16="http://schemas.microsoft.com/office/drawing/2014/main" id="{8F6DA0B1-0094-4393-0B8C-D11CD52FB8F3}"/>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3489830" y="4141593"/>
              <a:ext cx="809625" cy="809625"/>
            </a:xfrm>
            <a:prstGeom prst="rect">
              <a:avLst/>
            </a:prstGeom>
          </p:spPr>
        </p:pic>
      </p:grpSp>
      <p:grpSp>
        <p:nvGrpSpPr>
          <p:cNvPr id="34" name="Gruppieren 33">
            <a:extLst>
              <a:ext uri="{FF2B5EF4-FFF2-40B4-BE49-F238E27FC236}">
                <a16:creationId xmlns:a16="http://schemas.microsoft.com/office/drawing/2014/main" id="{7957FAE2-0D01-5DC6-1BE9-67B3E66F8A3C}"/>
              </a:ext>
            </a:extLst>
          </p:cNvPr>
          <p:cNvGrpSpPr/>
          <p:nvPr/>
        </p:nvGrpSpPr>
        <p:grpSpPr>
          <a:xfrm>
            <a:off x="8760780" y="1771450"/>
            <a:ext cx="703694" cy="703694"/>
            <a:chOff x="7459565" y="1779904"/>
            <a:chExt cx="869145" cy="869145"/>
          </a:xfrm>
        </p:grpSpPr>
        <p:sp>
          <p:nvSpPr>
            <p:cNvPr id="35" name="Kreis: nicht ausgefüllt 34">
              <a:extLst>
                <a:ext uri="{FF2B5EF4-FFF2-40B4-BE49-F238E27FC236}">
                  <a16:creationId xmlns:a16="http://schemas.microsoft.com/office/drawing/2014/main" id="{6FBAF162-A8C4-1510-0E81-8393DE4D8DA3}"/>
                </a:ext>
              </a:extLst>
            </p:cNvPr>
            <p:cNvSpPr/>
            <p:nvPr>
              <p:custDataLst>
                <p:tags r:id="rId6"/>
              </p:custDataLst>
            </p:nvPr>
          </p:nvSpPr>
          <p:spPr>
            <a:xfrm>
              <a:off x="7459565" y="1779904"/>
              <a:ext cx="869145" cy="869145"/>
            </a:xfrm>
            <a:prstGeom prst="donut">
              <a:avLst>
                <a:gd name="adj" fmla="val 5998"/>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6" name="Grafik 35">
              <a:extLst>
                <a:ext uri="{FF2B5EF4-FFF2-40B4-BE49-F238E27FC236}">
                  <a16:creationId xmlns:a16="http://schemas.microsoft.com/office/drawing/2014/main" id="{7F9655EA-2DCB-1FC9-0C66-A1EA5B81500A}"/>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7493685" y="1797686"/>
              <a:ext cx="809625" cy="809625"/>
            </a:xfrm>
            <a:prstGeom prst="rect">
              <a:avLst/>
            </a:prstGeom>
          </p:spPr>
        </p:pic>
      </p:grpSp>
      <p:pic>
        <p:nvPicPr>
          <p:cNvPr id="11" name="Picture 10">
            <a:extLst>
              <a:ext uri="{FF2B5EF4-FFF2-40B4-BE49-F238E27FC236}">
                <a16:creationId xmlns:a16="http://schemas.microsoft.com/office/drawing/2014/main" id="{2B5D951F-F848-1CEA-5124-A9AC3B230BBB}"/>
              </a:ext>
            </a:extLst>
          </p:cNvPr>
          <p:cNvPicPr>
            <a:picLocks noChangeAspect="1"/>
          </p:cNvPicPr>
          <p:nvPr/>
        </p:nvPicPr>
        <p:blipFill>
          <a:blip r:embed="rId16"/>
          <a:stretch>
            <a:fillRect/>
          </a:stretch>
        </p:blipFill>
        <p:spPr>
          <a:xfrm>
            <a:off x="10218593" y="2208439"/>
            <a:ext cx="1409700" cy="438150"/>
          </a:xfrm>
          <a:prstGeom prst="rect">
            <a:avLst/>
          </a:prstGeom>
        </p:spPr>
      </p:pic>
      <p:cxnSp>
        <p:nvCxnSpPr>
          <p:cNvPr id="6" name="Gerader Verbinder 19">
            <a:extLst>
              <a:ext uri="{FF2B5EF4-FFF2-40B4-BE49-F238E27FC236}">
                <a16:creationId xmlns:a16="http://schemas.microsoft.com/office/drawing/2014/main" id="{EAD0D9CA-1133-081E-7D88-3E4BCE4E330E}"/>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77058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F7DEA7B6-1B13-366A-672A-F7F751F7450C}"/>
              </a:ext>
            </a:extLst>
          </p:cNvPr>
          <p:cNvSpPr/>
          <p:nvPr>
            <p:custDataLst>
              <p:tags r:id="rId1"/>
            </p:custDataLst>
          </p:nvPr>
        </p:nvSpPr>
        <p:spPr>
          <a:xfrm>
            <a:off x="9671370" y="1781092"/>
            <a:ext cx="2685600" cy="4311733"/>
          </a:xfrm>
          <a:prstGeom prst="round2DiagRect">
            <a:avLst>
              <a:gd name="adj1" fmla="val 0"/>
              <a:gd name="adj2" fmla="val 5916"/>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252000" tIns="2340000" rIns="108000" bIns="72000" rtlCol="0" anchor="t" anchorCtr="0"/>
          <a:lstStyle/>
          <a:p>
            <a:r>
              <a:rPr lang="de-DE" sz="1200" b="1" dirty="0">
                <a:ea typeface="+mn-lt"/>
                <a:cs typeface="+mn-lt"/>
              </a:rPr>
              <a:t>Ansprechpartner</a:t>
            </a:r>
            <a:endParaRPr lang="en-US" sz="1200" b="1">
              <a:ea typeface="+mn-lt"/>
              <a:cs typeface="+mn-lt"/>
            </a:endParaRPr>
          </a:p>
          <a:p>
            <a:r>
              <a:rPr lang="de-DE" sz="1200" dirty="0"/>
              <a:t>Stefan Walter</a:t>
            </a:r>
          </a:p>
          <a:p>
            <a:r>
              <a:rPr lang="de-DE" sz="1200" dirty="0">
                <a:ea typeface="+mn-lt"/>
                <a:cs typeface="+mn-lt"/>
              </a:rPr>
              <a:t>+49 172 4632842</a:t>
            </a:r>
            <a:endParaRPr lang="de-DE" dirty="0"/>
          </a:p>
          <a:p>
            <a:r>
              <a:rPr lang="de-DE" sz="1200" dirty="0" err="1">
                <a:ea typeface="+mn-lt"/>
                <a:cs typeface="+mn-lt"/>
              </a:rPr>
              <a:t>Stefan.Walter@msg.group</a:t>
            </a:r>
            <a:endParaRPr lang="de-DE" sz="1200" dirty="0" err="1"/>
          </a:p>
        </p:txBody>
      </p:sp>
      <p:sp>
        <p:nvSpPr>
          <p:cNvPr id="10" name="Titel 11">
            <a:extLst>
              <a:ext uri="{FF2B5EF4-FFF2-40B4-BE49-F238E27FC236}">
                <a16:creationId xmlns:a16="http://schemas.microsoft.com/office/drawing/2014/main" id="{66117DF3-FEB1-C3DF-24B0-36BFCE486E77}"/>
              </a:ext>
            </a:extLst>
          </p:cNvPr>
          <p:cNvSpPr txBox="1">
            <a:spLocks/>
          </p:cNvSpPr>
          <p:nvPr>
            <p:custDataLst>
              <p:tags r:id="rId2"/>
            </p:custDataLst>
          </p:nvPr>
        </p:nvSpPr>
        <p:spPr bwMode="gray">
          <a:xfrm>
            <a:off x="9920288" y="2110176"/>
            <a:ext cx="1951038"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050">
              <a:latin typeface="+mn-lt"/>
            </a:endParaRPr>
          </a:p>
        </p:txBody>
      </p:sp>
      <p:sp>
        <p:nvSpPr>
          <p:cNvPr id="31" name="Textplatzhalter 30">
            <a:extLst>
              <a:ext uri="{FF2B5EF4-FFF2-40B4-BE49-F238E27FC236}">
                <a16:creationId xmlns:a16="http://schemas.microsoft.com/office/drawing/2014/main" id="{807B63BF-D609-29DF-FEDD-6E8D8960113B}"/>
              </a:ext>
            </a:extLst>
          </p:cNvPr>
          <p:cNvSpPr>
            <a:spLocks noGrp="1"/>
          </p:cNvSpPr>
          <p:nvPr>
            <p:ph type="body" sz="quarter" idx="12"/>
          </p:nvPr>
        </p:nvSpPr>
        <p:spPr/>
        <p:txBody>
          <a:bodyPr/>
          <a:lstStyle/>
          <a:p>
            <a:endParaRPr lang="de-DE"/>
          </a:p>
        </p:txBody>
      </p:sp>
      <p:sp>
        <p:nvSpPr>
          <p:cNvPr id="12" name="Titel 5">
            <a:extLst>
              <a:ext uri="{FF2B5EF4-FFF2-40B4-BE49-F238E27FC236}">
                <a16:creationId xmlns:a16="http://schemas.microsoft.com/office/drawing/2014/main" id="{C650468C-8CAB-5FB1-825F-5326198CA1FD}"/>
              </a:ext>
            </a:extLst>
          </p:cNvPr>
          <p:cNvSpPr>
            <a:spLocks noGrp="1"/>
          </p:cNvSpPr>
          <p:nvPr>
            <p:ph type="title"/>
          </p:nvPr>
        </p:nvSpPr>
        <p:spPr/>
        <p:txBody>
          <a:bodyPr vert="horz"/>
          <a:lstStyle/>
          <a:p>
            <a:r>
              <a:rPr lang="de-DE" dirty="0">
                <a:latin typeface="Aptos"/>
              </a:rPr>
              <a:t>KI-gestütztes </a:t>
            </a:r>
            <a:r>
              <a:rPr lang="de-DE" err="1">
                <a:latin typeface="Aptos"/>
              </a:rPr>
              <a:t>Skill</a:t>
            </a:r>
            <a:r>
              <a:rPr lang="de-DE" dirty="0">
                <a:latin typeface="Aptos"/>
              </a:rPr>
              <a:t>-Management &amp; Kompetenzentwicklung</a:t>
            </a:r>
            <a:br>
              <a:rPr lang="en-US" dirty="0"/>
            </a:br>
            <a:r>
              <a:rPr lang="en-US" b="1" err="1"/>
              <a:t>msg.ProfileMap</a:t>
            </a:r>
            <a:endParaRPr lang="en-US" b="1"/>
          </a:p>
        </p:txBody>
      </p:sp>
      <p:sp>
        <p:nvSpPr>
          <p:cNvPr id="14" name="Fußzeilenplatzhalter 1">
            <a:extLst>
              <a:ext uri="{FF2B5EF4-FFF2-40B4-BE49-F238E27FC236}">
                <a16:creationId xmlns:a16="http://schemas.microsoft.com/office/drawing/2014/main" id="{67460F70-322B-1B78-C506-3B7CC9CA4509}"/>
              </a:ext>
            </a:extLst>
          </p:cNvPr>
          <p:cNvSpPr>
            <a:spLocks noGrp="1"/>
          </p:cNvSpPr>
          <p:nvPr>
            <p:ph type="ftr" sz="quarter" idx="10"/>
          </p:nvPr>
        </p:nvSpPr>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3D893689-2E2F-3A9F-E22A-327EA99A741D}"/>
              </a:ext>
            </a:extLst>
          </p:cNvPr>
          <p:cNvSpPr>
            <a:spLocks noGrp="1"/>
          </p:cNvSpPr>
          <p:nvPr>
            <p:ph type="sldNum" sz="quarter" idx="11"/>
          </p:nvPr>
        </p:nvSpPr>
        <p:spPr/>
        <p:txBody>
          <a:bodyPr/>
          <a:lstStyle/>
          <a:p>
            <a:fld id="{B27B0579-4238-4E44-9A9E-134B676F827C}" type="slidenum">
              <a:rPr lang="de-DE" smtClean="0"/>
              <a:pPr/>
              <a:t>43</a:t>
            </a:fld>
            <a:endParaRPr lang="de-DE"/>
          </a:p>
        </p:txBody>
      </p:sp>
      <p:cxnSp>
        <p:nvCxnSpPr>
          <p:cNvPr id="20" name="Gerader Verbinder 19">
            <a:extLst>
              <a:ext uri="{FF2B5EF4-FFF2-40B4-BE49-F238E27FC236}">
                <a16:creationId xmlns:a16="http://schemas.microsoft.com/office/drawing/2014/main" id="{85E417FB-9633-9924-05F0-5585E1ABD209}"/>
              </a:ext>
            </a:extLst>
          </p:cNvPr>
          <p:cNvCxnSpPr>
            <a:cxnSpLocks/>
          </p:cNvCxnSpPr>
          <p:nvPr/>
        </p:nvCxnSpPr>
        <p:spPr>
          <a:xfrm>
            <a:off x="5019428" y="1773238"/>
            <a:ext cx="0" cy="431958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758B2E13-B163-5B16-F396-3C9CDE4AB34E}"/>
              </a:ext>
            </a:extLst>
          </p:cNvPr>
          <p:cNvSpPr txBox="1"/>
          <p:nvPr>
            <p:custDataLst>
              <p:tags r:id="rId3"/>
            </p:custDataLst>
          </p:nvPr>
        </p:nvSpPr>
        <p:spPr>
          <a:xfrm>
            <a:off x="653195" y="1782594"/>
            <a:ext cx="3896035"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sz="1400" b="1" dirty="0"/>
              <a:t>Ihre Herausforderung</a:t>
            </a:r>
          </a:p>
          <a:p>
            <a:pPr marL="215900" lvl="1" indent="-215900" fontAlgn="t">
              <a:lnSpc>
                <a:spcPct val="95000"/>
              </a:lnSpc>
              <a:spcAft>
                <a:spcPts val="200"/>
              </a:spcAft>
            </a:pPr>
            <a:r>
              <a:rPr lang="de-DE" sz="1200" dirty="0"/>
              <a:t>Durchführung einer </a:t>
            </a:r>
            <a:r>
              <a:rPr lang="de-DE" sz="1200" b="1" dirty="0"/>
              <a:t>Strategischen</a:t>
            </a:r>
            <a:br>
              <a:rPr lang="de-DE" sz="1200" b="1" dirty="0"/>
            </a:br>
            <a:r>
              <a:rPr lang="de-DE" sz="1200" b="1" dirty="0"/>
              <a:t>Personalplanung</a:t>
            </a:r>
          </a:p>
          <a:p>
            <a:pPr marL="215900" lvl="1" indent="-215900" fontAlgn="t">
              <a:lnSpc>
                <a:spcPct val="95000"/>
              </a:lnSpc>
              <a:spcAft>
                <a:spcPts val="200"/>
              </a:spcAft>
            </a:pPr>
            <a:r>
              <a:rPr lang="de-DE" sz="1200" dirty="0"/>
              <a:t>Transparenz über die </a:t>
            </a:r>
            <a:r>
              <a:rPr lang="de-DE" sz="1200" b="1" dirty="0"/>
              <a:t>Kompetenzen der </a:t>
            </a:r>
            <a:br>
              <a:rPr lang="de-DE" sz="1200" b="1" dirty="0"/>
            </a:br>
            <a:r>
              <a:rPr lang="de-DE" sz="1200" b="1" dirty="0"/>
              <a:t>Belegschaft</a:t>
            </a:r>
          </a:p>
          <a:p>
            <a:pPr marL="215900" lvl="1" indent="-215900" fontAlgn="t">
              <a:lnSpc>
                <a:spcPct val="95000"/>
              </a:lnSpc>
              <a:spcAft>
                <a:spcPts val="200"/>
              </a:spcAft>
            </a:pPr>
            <a:r>
              <a:rPr lang="de-DE" sz="1200" dirty="0"/>
              <a:t>Unterstützung  bei der </a:t>
            </a:r>
            <a:r>
              <a:rPr lang="de-DE" sz="1200" dirty="0" err="1"/>
              <a:t>Mitarbeitendenentwicklung</a:t>
            </a:r>
            <a:r>
              <a:rPr lang="de-DE" sz="1200" dirty="0"/>
              <a:t> für die Umsetzung neuer Geschäftsmodelle </a:t>
            </a:r>
          </a:p>
          <a:p>
            <a:pPr marL="215900" lvl="1" indent="-215900" fontAlgn="t">
              <a:lnSpc>
                <a:spcPct val="95000"/>
              </a:lnSpc>
              <a:spcAft>
                <a:spcPts val="200"/>
              </a:spcAft>
            </a:pPr>
            <a:r>
              <a:rPr lang="de-DE" sz="1200" dirty="0"/>
              <a:t>Erhöhung der Operational Efficiency</a:t>
            </a:r>
          </a:p>
          <a:p>
            <a:pPr marL="215900" lvl="1" indent="-215900" fontAlgn="t">
              <a:lnSpc>
                <a:spcPct val="95000"/>
              </a:lnSpc>
              <a:spcAft>
                <a:spcPts val="200"/>
              </a:spcAft>
            </a:pPr>
            <a:r>
              <a:rPr lang="de-DE" sz="1200" dirty="0"/>
              <a:t>Effizientere Identifizierung und Zuweisung von Ressourcen</a:t>
            </a:r>
          </a:p>
          <a:p>
            <a:pPr marL="215900" lvl="1" indent="-215900" fontAlgn="t">
              <a:lnSpc>
                <a:spcPct val="95000"/>
              </a:lnSpc>
              <a:spcAft>
                <a:spcPts val="200"/>
              </a:spcAft>
            </a:pPr>
            <a:r>
              <a:rPr lang="de-DE" sz="1200" dirty="0"/>
              <a:t>Verfügbar als SaaS</a:t>
            </a:r>
          </a:p>
          <a:p>
            <a:pPr>
              <a:lnSpc>
                <a:spcPct val="95000"/>
              </a:lnSpc>
              <a:spcAft>
                <a:spcPts val="200"/>
              </a:spcAft>
            </a:pPr>
            <a:endParaRPr lang="de-DE" sz="1400" dirty="0"/>
          </a:p>
        </p:txBody>
      </p:sp>
      <p:sp>
        <p:nvSpPr>
          <p:cNvPr id="26" name="Textfeld 25">
            <a:extLst>
              <a:ext uri="{FF2B5EF4-FFF2-40B4-BE49-F238E27FC236}">
                <a16:creationId xmlns:a16="http://schemas.microsoft.com/office/drawing/2014/main" id="{B6720C19-25C2-2C2A-7C58-94819B8342F3}"/>
              </a:ext>
            </a:extLst>
          </p:cNvPr>
          <p:cNvSpPr txBox="1"/>
          <p:nvPr>
            <p:custDataLst>
              <p:tags r:id="rId4"/>
            </p:custDataLst>
          </p:nvPr>
        </p:nvSpPr>
        <p:spPr>
          <a:xfrm>
            <a:off x="5227890" y="1768083"/>
            <a:ext cx="3973284" cy="2351087"/>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sz="1400" b="1" dirty="0"/>
              <a:t>Ihr Nutzen</a:t>
            </a:r>
          </a:p>
          <a:p>
            <a:pPr marL="171450" indent="-171450">
              <a:lnSpc>
                <a:spcPct val="95000"/>
              </a:lnSpc>
              <a:spcAft>
                <a:spcPts val="0"/>
              </a:spcAft>
              <a:buFont typeface="Arial" panose="020B0604020202020204" pitchFamily="34" charset="0"/>
              <a:buChar char="•"/>
            </a:pPr>
            <a:r>
              <a:rPr lang="de-DE" sz="1200" b="1" dirty="0" err="1"/>
              <a:t>Staffing</a:t>
            </a:r>
            <a:r>
              <a:rPr lang="de-DE" sz="1200" b="1" dirty="0"/>
              <a:t> und Sourcing: </a:t>
            </a:r>
            <a:r>
              <a:rPr lang="de-DE" sz="1200" dirty="0"/>
              <a:t>Effiziente Planung und </a:t>
            </a:r>
            <a:br>
              <a:rPr lang="de-DE" sz="1200" dirty="0"/>
            </a:br>
            <a:r>
              <a:rPr lang="de-DE" sz="1200" dirty="0"/>
              <a:t>Einsatz des Personals </a:t>
            </a:r>
          </a:p>
          <a:p>
            <a:pPr marL="171450" indent="-171450">
              <a:lnSpc>
                <a:spcPct val="95000"/>
              </a:lnSpc>
              <a:spcAft>
                <a:spcPts val="0"/>
              </a:spcAft>
              <a:buFont typeface="Arial" panose="020B0604020202020204" pitchFamily="34" charset="0"/>
              <a:buChar char="•"/>
            </a:pPr>
            <a:r>
              <a:rPr lang="de-DE" sz="1200" b="1" dirty="0"/>
              <a:t>Unternehmenstransformation:</a:t>
            </a:r>
            <a:r>
              <a:rPr lang="de-DE" sz="1200" dirty="0"/>
              <a:t> Entwicklung von Fähigkeiten und Anpassung der Kompetenzstruktur im Rahmen der Organisationsveränderung</a:t>
            </a:r>
          </a:p>
          <a:p>
            <a:pPr marL="171450" indent="-171450">
              <a:lnSpc>
                <a:spcPct val="95000"/>
              </a:lnSpc>
              <a:spcAft>
                <a:spcPts val="0"/>
              </a:spcAft>
              <a:buFont typeface="Arial" panose="020B0604020202020204" pitchFamily="34" charset="0"/>
              <a:buChar char="•"/>
            </a:pPr>
            <a:r>
              <a:rPr lang="de-DE" sz="1200" b="1" dirty="0"/>
              <a:t>Mitarbeitende: </a:t>
            </a:r>
            <a:r>
              <a:rPr lang="de-DE" sz="1200" dirty="0"/>
              <a:t>Automatisierte Erfassung von Profil- und Projektinformation, </a:t>
            </a:r>
            <a:r>
              <a:rPr lang="de-DE" sz="1200" dirty="0" err="1"/>
              <a:t>Skill</a:t>
            </a:r>
            <a:r>
              <a:rPr lang="de-DE" sz="1200" dirty="0"/>
              <a:t>-​Gaps identifizieren und Entwicklungspfade vorschlagen</a:t>
            </a:r>
          </a:p>
          <a:p>
            <a:pPr marL="171450" indent="-171450">
              <a:lnSpc>
                <a:spcPct val="95000"/>
              </a:lnSpc>
              <a:spcAft>
                <a:spcPts val="0"/>
              </a:spcAft>
              <a:buFont typeface="Arial" panose="020B0604020202020204" pitchFamily="34" charset="0"/>
              <a:buChar char="•"/>
            </a:pPr>
            <a:r>
              <a:rPr lang="de-DE" sz="1200" b="1" dirty="0"/>
              <a:t>Personalleitung: </a:t>
            </a:r>
            <a:r>
              <a:rPr lang="de-DE" sz="1200" dirty="0"/>
              <a:t>Transparenz zu Skills und Kompetenzen </a:t>
            </a:r>
          </a:p>
          <a:p>
            <a:pPr marL="171450" indent="-171450">
              <a:lnSpc>
                <a:spcPct val="95000"/>
              </a:lnSpc>
              <a:spcAft>
                <a:spcPts val="0"/>
              </a:spcAft>
              <a:buFont typeface="Arial" panose="020B0604020202020204" pitchFamily="34" charset="0"/>
              <a:buChar char="•"/>
            </a:pPr>
            <a:r>
              <a:rPr lang="de-DE" sz="1200" b="1" dirty="0"/>
              <a:t>Strategie und Geschäftsentwicklung: </a:t>
            </a:r>
            <a:r>
              <a:rPr lang="de-DE" sz="1200" dirty="0"/>
              <a:t>Identifikation zukunftsrelevante Geschäftsfelder </a:t>
            </a:r>
          </a:p>
        </p:txBody>
      </p:sp>
      <p:sp>
        <p:nvSpPr>
          <p:cNvPr id="28" name="Textfeld 27">
            <a:extLst>
              <a:ext uri="{FF2B5EF4-FFF2-40B4-BE49-F238E27FC236}">
                <a16:creationId xmlns:a16="http://schemas.microsoft.com/office/drawing/2014/main" id="{150C510F-FB15-CF06-CE2A-2ED77FB1E7EC}"/>
              </a:ext>
            </a:extLst>
          </p:cNvPr>
          <p:cNvSpPr txBox="1"/>
          <p:nvPr>
            <p:custDataLst>
              <p:tags r:id="rId5"/>
            </p:custDataLst>
          </p:nvPr>
        </p:nvSpPr>
        <p:spPr>
          <a:xfrm>
            <a:off x="653195" y="4113388"/>
            <a:ext cx="4490500" cy="210624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sz="1400" b="1" dirty="0"/>
              <a:t>Unser Angebot</a:t>
            </a:r>
            <a:endParaRPr lang="de-DE" sz="2800" dirty="0"/>
          </a:p>
          <a:p>
            <a:pPr fontAlgn="t">
              <a:lnSpc>
                <a:spcPct val="95000"/>
              </a:lnSpc>
            </a:pPr>
            <a:r>
              <a:rPr lang="de-DE" sz="1200" b="1" dirty="0"/>
              <a:t>KI-basierten SaaS-Lösung für die</a:t>
            </a:r>
          </a:p>
          <a:p>
            <a:pPr marL="215900" lvl="1" indent="-215900" fontAlgn="t">
              <a:lnSpc>
                <a:spcPct val="95000"/>
              </a:lnSpc>
              <a:spcAft>
                <a:spcPts val="200"/>
              </a:spcAft>
            </a:pPr>
            <a:r>
              <a:rPr lang="de-DE" sz="1200" dirty="0"/>
              <a:t>Harmonisierung von HR-Informationen über </a:t>
            </a:r>
            <a:br>
              <a:rPr lang="de-DE" sz="1200" dirty="0"/>
            </a:br>
            <a:r>
              <a:rPr lang="de-DE" sz="1200" dirty="0"/>
              <a:t>verschiedene Systeme hinweg (z. B. Tätigkeiten,</a:t>
            </a:r>
            <a:br>
              <a:rPr lang="de-DE" sz="1200" dirty="0"/>
            </a:br>
            <a:r>
              <a:rPr lang="de-DE" sz="1200" dirty="0"/>
              <a:t>Kompetenzen, Ausbildung)</a:t>
            </a:r>
          </a:p>
          <a:p>
            <a:pPr marL="215900" lvl="1" indent="-215900" fontAlgn="t">
              <a:lnSpc>
                <a:spcPct val="95000"/>
              </a:lnSpc>
              <a:spcAft>
                <a:spcPts val="200"/>
              </a:spcAft>
            </a:pPr>
            <a:r>
              <a:rPr lang="de-DE" sz="1200" dirty="0"/>
              <a:t>Automatische Ergänzung fehlender Informationen </a:t>
            </a:r>
            <a:br>
              <a:rPr lang="de-DE" sz="1200" dirty="0"/>
            </a:br>
            <a:r>
              <a:rPr lang="de-DE" sz="1200" dirty="0"/>
              <a:t>(z. B. Jobbeschreibungen)</a:t>
            </a:r>
          </a:p>
          <a:p>
            <a:pPr marL="215900" lvl="1" indent="-215900" fontAlgn="t">
              <a:lnSpc>
                <a:spcPct val="95000"/>
              </a:lnSpc>
              <a:spcAft>
                <a:spcPts val="200"/>
              </a:spcAft>
            </a:pPr>
            <a:r>
              <a:rPr lang="de-DE" sz="1200" dirty="0" err="1"/>
              <a:t>Identifzierung</a:t>
            </a:r>
            <a:r>
              <a:rPr lang="de-DE" sz="1200" dirty="0"/>
              <a:t> von </a:t>
            </a:r>
            <a:r>
              <a:rPr lang="de-DE" sz="1200" dirty="0" err="1"/>
              <a:t>Skill</a:t>
            </a:r>
            <a:r>
              <a:rPr lang="de-DE" sz="1200" dirty="0"/>
              <a:t>-Gaps und Weiterbildungsmöglichkeiten</a:t>
            </a:r>
          </a:p>
          <a:p>
            <a:pPr marL="215900" lvl="1" indent="-215900" fontAlgn="t">
              <a:lnSpc>
                <a:spcPct val="95000"/>
              </a:lnSpc>
              <a:spcAft>
                <a:spcPts val="200"/>
              </a:spcAft>
            </a:pPr>
            <a:r>
              <a:rPr lang="de-DE" sz="1200" dirty="0"/>
              <a:t>Zuordnung von Personen zu Projekten oder Positionen</a:t>
            </a:r>
          </a:p>
          <a:p>
            <a:pPr>
              <a:lnSpc>
                <a:spcPct val="95000"/>
              </a:lnSpc>
              <a:spcAft>
                <a:spcPts val="200"/>
              </a:spcAft>
            </a:pPr>
            <a:endParaRPr lang="de-DE" sz="1400" dirty="0"/>
          </a:p>
        </p:txBody>
      </p:sp>
      <p:sp>
        <p:nvSpPr>
          <p:cNvPr id="30" name="Textfeld 29">
            <a:extLst>
              <a:ext uri="{FF2B5EF4-FFF2-40B4-BE49-F238E27FC236}">
                <a16:creationId xmlns:a16="http://schemas.microsoft.com/office/drawing/2014/main" id="{FD953202-9F33-0864-FC0C-4EDDA03F2F35}"/>
              </a:ext>
            </a:extLst>
          </p:cNvPr>
          <p:cNvSpPr txBox="1"/>
          <p:nvPr>
            <p:custDataLst>
              <p:tags r:id="rId6"/>
            </p:custDataLst>
          </p:nvPr>
        </p:nvSpPr>
        <p:spPr>
          <a:xfrm>
            <a:off x="5227890" y="4105451"/>
            <a:ext cx="3882060" cy="922337"/>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dirty="0"/>
              <a:t>Unsere Partner und Referenzen</a:t>
            </a:r>
            <a:endParaRPr lang="en-US" dirty="0"/>
          </a:p>
          <a:p>
            <a:pPr marL="171450" indent="-171450">
              <a:lnSpc>
                <a:spcPct val="95000"/>
              </a:lnSpc>
              <a:spcAft>
                <a:spcPts val="0"/>
              </a:spcAft>
              <a:buFont typeface="Arial" panose="020B0604020202020204" pitchFamily="34" charset="0"/>
              <a:buChar char="•"/>
            </a:pPr>
            <a:r>
              <a:rPr lang="de-DE" sz="1200" dirty="0" err="1">
                <a:solidFill>
                  <a:prstClr val="black"/>
                </a:solidFill>
              </a:rPr>
              <a:t>Wavestone</a:t>
            </a:r>
            <a:r>
              <a:rPr lang="de-DE" sz="1200" dirty="0">
                <a:solidFill>
                  <a:prstClr val="black"/>
                </a:solidFill>
              </a:rPr>
              <a:t> Deutschland, München: </a:t>
            </a:r>
            <a:br>
              <a:rPr lang="de-DE" sz="1200" dirty="0">
                <a:solidFill>
                  <a:prstClr val="black"/>
                </a:solidFill>
              </a:rPr>
            </a:br>
            <a:r>
              <a:rPr lang="de-DE" sz="1200" b="0" dirty="0">
                <a:solidFill>
                  <a:prstClr val="black"/>
                </a:solidFill>
              </a:rPr>
              <a:t>Verbesserung der betrieblichen Effizienz bei der </a:t>
            </a:r>
            <a:r>
              <a:rPr lang="de-DE" sz="1200" b="0">
                <a:solidFill>
                  <a:prstClr val="black"/>
                </a:solidFill>
              </a:rPr>
              <a:t>Projektbesetzung mit internen Mitarbeitenden</a:t>
            </a:r>
          </a:p>
          <a:p>
            <a:pPr marL="171450" indent="-171450">
              <a:lnSpc>
                <a:spcPct val="95000"/>
              </a:lnSpc>
              <a:spcAft>
                <a:spcPts val="0"/>
              </a:spcAft>
              <a:buFont typeface="Arial" panose="020B0604020202020204" pitchFamily="34" charset="0"/>
              <a:buChar char="•"/>
            </a:pPr>
            <a:r>
              <a:rPr lang="de-DE" sz="1200" err="1">
                <a:solidFill>
                  <a:prstClr val="black"/>
                </a:solidFill>
              </a:rPr>
              <a:t>Bridging</a:t>
            </a:r>
            <a:r>
              <a:rPr lang="de-DE" sz="1200" dirty="0">
                <a:solidFill>
                  <a:prstClr val="black"/>
                </a:solidFill>
              </a:rPr>
              <a:t>-IT, München</a:t>
            </a:r>
            <a:r>
              <a:rPr lang="de-DE" sz="1200" b="0" dirty="0">
                <a:solidFill>
                  <a:prstClr val="black"/>
                </a:solidFill>
              </a:rPr>
              <a:t>: Verbesserung der betrieblichen Effizienz bei der Projektbesetzung mit Freelancern</a:t>
            </a:r>
          </a:p>
          <a:p>
            <a:pPr marL="171450" indent="-171450">
              <a:lnSpc>
                <a:spcPct val="95000"/>
              </a:lnSpc>
              <a:spcAft>
                <a:spcPts val="0"/>
              </a:spcAft>
              <a:buClr>
                <a:schemeClr val="accent1"/>
              </a:buClr>
              <a:buFont typeface="Arial" panose="020B0604020202020204" pitchFamily="34" charset="0"/>
              <a:buChar char="•"/>
              <a:defRPr/>
            </a:pPr>
            <a:r>
              <a:rPr lang="de-DE" sz="1200" dirty="0" err="1">
                <a:solidFill>
                  <a:prstClr val="black"/>
                </a:solidFill>
              </a:rPr>
              <a:t>msg</a:t>
            </a:r>
            <a:r>
              <a:rPr lang="de-DE" sz="1200" dirty="0">
                <a:solidFill>
                  <a:prstClr val="black"/>
                </a:solidFill>
              </a:rPr>
              <a:t> </a:t>
            </a:r>
            <a:r>
              <a:rPr lang="de-DE" sz="1200" dirty="0" err="1">
                <a:solidFill>
                  <a:prstClr val="black"/>
                </a:solidFill>
              </a:rPr>
              <a:t>group</a:t>
            </a:r>
            <a:r>
              <a:rPr lang="de-DE" sz="1200" dirty="0">
                <a:solidFill>
                  <a:prstClr val="black"/>
                </a:solidFill>
              </a:rPr>
              <a:t>, München</a:t>
            </a:r>
            <a:r>
              <a:rPr lang="de-DE" sz="1200" b="0" dirty="0">
                <a:solidFill>
                  <a:prstClr val="black"/>
                </a:solidFill>
              </a:rPr>
              <a:t>: Einsatz als Basic und </a:t>
            </a:r>
            <a:r>
              <a:rPr lang="de-DE" sz="1200" b="0" dirty="0" err="1">
                <a:solidFill>
                  <a:prstClr val="black"/>
                </a:solidFill>
              </a:rPr>
              <a:t>Advanced</a:t>
            </a:r>
            <a:r>
              <a:rPr lang="de-DE" sz="1200" b="0" dirty="0">
                <a:solidFill>
                  <a:prstClr val="black"/>
                </a:solidFill>
              </a:rPr>
              <a:t> </a:t>
            </a:r>
            <a:r>
              <a:rPr lang="de-DE" sz="1200" b="0">
                <a:solidFill>
                  <a:prstClr val="black"/>
                </a:solidFill>
              </a:rPr>
              <a:t>Version im </a:t>
            </a:r>
            <a:r>
              <a:rPr lang="de-DE" sz="1200" b="0" dirty="0">
                <a:solidFill>
                  <a:prstClr val="black"/>
                </a:solidFill>
              </a:rPr>
              <a:t>Zusammenspiel mit der </a:t>
            </a:r>
            <a:r>
              <a:rPr lang="de-DE" sz="1200" b="0" dirty="0" err="1">
                <a:solidFill>
                  <a:prstClr val="black"/>
                </a:solidFill>
              </a:rPr>
              <a:t>msg.MEP</a:t>
            </a:r>
            <a:endParaRPr lang="de-DE" sz="1200" b="0" dirty="0">
              <a:solidFill>
                <a:prstClr val="black"/>
              </a:solidFill>
            </a:endParaRPr>
          </a:p>
          <a:p>
            <a:pPr marL="171450" indent="-171450">
              <a:lnSpc>
                <a:spcPct val="95000"/>
              </a:lnSpc>
              <a:spcAft>
                <a:spcPts val="0"/>
              </a:spcAft>
              <a:buClr>
                <a:schemeClr val="accent1"/>
              </a:buClr>
              <a:buFont typeface="Arial" panose="020B0604020202020204" pitchFamily="34" charset="0"/>
              <a:buChar char="•"/>
              <a:defRPr/>
            </a:pPr>
            <a:r>
              <a:rPr lang="de-DE" sz="1200" dirty="0">
                <a:solidFill>
                  <a:prstClr val="black"/>
                </a:solidFill>
              </a:rPr>
              <a:t>A.T. Kearney, London</a:t>
            </a:r>
            <a:r>
              <a:rPr lang="de-DE" sz="1200" b="0" dirty="0">
                <a:solidFill>
                  <a:prstClr val="black"/>
                </a:solidFill>
              </a:rPr>
              <a:t>: Einsatz im Zusammenspiel mit </a:t>
            </a:r>
            <a:r>
              <a:rPr lang="de-DE" sz="1200" b="0">
                <a:solidFill>
                  <a:prstClr val="black"/>
                </a:solidFill>
              </a:rPr>
              <a:t>Kearney Anwendung PACT für </a:t>
            </a:r>
            <a:r>
              <a:rPr lang="de-DE" sz="1200" b="0" err="1">
                <a:solidFill>
                  <a:prstClr val="black"/>
                </a:solidFill>
              </a:rPr>
              <a:t>Workforce</a:t>
            </a:r>
            <a:r>
              <a:rPr lang="de-DE" sz="1200" b="0" dirty="0">
                <a:solidFill>
                  <a:prstClr val="black"/>
                </a:solidFill>
              </a:rPr>
              <a:t> Transformation</a:t>
            </a:r>
            <a:endParaRPr lang="de-DE" sz="1200" b="0">
              <a:solidFill>
                <a:prstClr val="black"/>
              </a:solidFill>
            </a:endParaRPr>
          </a:p>
        </p:txBody>
      </p:sp>
      <p:grpSp>
        <p:nvGrpSpPr>
          <p:cNvPr id="4" name="Gruppieren 3">
            <a:extLst>
              <a:ext uri="{FF2B5EF4-FFF2-40B4-BE49-F238E27FC236}">
                <a16:creationId xmlns:a16="http://schemas.microsoft.com/office/drawing/2014/main" id="{36AB4CF6-9CD5-1C16-BA35-EAD5EA48B0AF}"/>
              </a:ext>
            </a:extLst>
          </p:cNvPr>
          <p:cNvGrpSpPr/>
          <p:nvPr/>
        </p:nvGrpSpPr>
        <p:grpSpPr>
          <a:xfrm>
            <a:off x="4138804" y="1771450"/>
            <a:ext cx="703694" cy="703694"/>
            <a:chOff x="3460071" y="1779904"/>
            <a:chExt cx="869145" cy="869145"/>
          </a:xfrm>
        </p:grpSpPr>
        <p:sp>
          <p:nvSpPr>
            <p:cNvPr id="5" name="Kreis: nicht ausgefüllt 4">
              <a:extLst>
                <a:ext uri="{FF2B5EF4-FFF2-40B4-BE49-F238E27FC236}">
                  <a16:creationId xmlns:a16="http://schemas.microsoft.com/office/drawing/2014/main" id="{A1A7E8C3-5238-092A-0035-ABC182178605}"/>
                </a:ext>
              </a:extLst>
            </p:cNvPr>
            <p:cNvSpPr/>
            <p:nvPr>
              <p:custDataLst>
                <p:tags r:id="rId10"/>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6" name="Grafik 5">
              <a:extLst>
                <a:ext uri="{FF2B5EF4-FFF2-40B4-BE49-F238E27FC236}">
                  <a16:creationId xmlns:a16="http://schemas.microsoft.com/office/drawing/2014/main" id="{4F4A67DE-EB76-12BC-4B6F-77C0557F4A66}"/>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96632" y="1796942"/>
              <a:ext cx="809625" cy="809625"/>
            </a:xfrm>
            <a:prstGeom prst="rect">
              <a:avLst/>
            </a:prstGeom>
          </p:spPr>
        </p:pic>
      </p:grpSp>
      <p:grpSp>
        <p:nvGrpSpPr>
          <p:cNvPr id="7" name="Gruppieren 6">
            <a:extLst>
              <a:ext uri="{FF2B5EF4-FFF2-40B4-BE49-F238E27FC236}">
                <a16:creationId xmlns:a16="http://schemas.microsoft.com/office/drawing/2014/main" id="{8BD1A064-6692-F8FE-2AF8-EDF56A62E29D}"/>
              </a:ext>
            </a:extLst>
          </p:cNvPr>
          <p:cNvGrpSpPr/>
          <p:nvPr/>
        </p:nvGrpSpPr>
        <p:grpSpPr>
          <a:xfrm>
            <a:off x="8761542" y="4103379"/>
            <a:ext cx="703694" cy="703694"/>
            <a:chOff x="8575325" y="4111833"/>
            <a:chExt cx="869145" cy="869145"/>
          </a:xfrm>
        </p:grpSpPr>
        <p:sp>
          <p:nvSpPr>
            <p:cNvPr id="9" name="Kreis: nicht ausgefüllt 8">
              <a:extLst>
                <a:ext uri="{FF2B5EF4-FFF2-40B4-BE49-F238E27FC236}">
                  <a16:creationId xmlns:a16="http://schemas.microsoft.com/office/drawing/2014/main" id="{0E7AA1D0-056E-962A-9658-9B31FF6E23CA}"/>
                </a:ext>
              </a:extLst>
            </p:cNvPr>
            <p:cNvSpPr/>
            <p:nvPr>
              <p:custDataLst>
                <p:tags r:id="rId9"/>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1" name="Grafik 10">
              <a:extLst>
                <a:ext uri="{FF2B5EF4-FFF2-40B4-BE49-F238E27FC236}">
                  <a16:creationId xmlns:a16="http://schemas.microsoft.com/office/drawing/2014/main" id="{3080BD8D-0CA9-ADB3-5384-62B620C99CC9}"/>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8608010" y="4171353"/>
              <a:ext cx="809625" cy="809625"/>
            </a:xfrm>
            <a:prstGeom prst="rect">
              <a:avLst/>
            </a:prstGeom>
          </p:spPr>
        </p:pic>
      </p:grpSp>
      <p:grpSp>
        <p:nvGrpSpPr>
          <p:cNvPr id="13" name="Gruppieren 12">
            <a:extLst>
              <a:ext uri="{FF2B5EF4-FFF2-40B4-BE49-F238E27FC236}">
                <a16:creationId xmlns:a16="http://schemas.microsoft.com/office/drawing/2014/main" id="{49B35AE6-B217-444F-9B12-8DC19CF16CC4}"/>
              </a:ext>
            </a:extLst>
          </p:cNvPr>
          <p:cNvGrpSpPr/>
          <p:nvPr/>
        </p:nvGrpSpPr>
        <p:grpSpPr>
          <a:xfrm>
            <a:off x="4138804" y="4103379"/>
            <a:ext cx="703694" cy="703694"/>
            <a:chOff x="3460071" y="4111833"/>
            <a:chExt cx="869145" cy="869145"/>
          </a:xfrm>
        </p:grpSpPr>
        <p:sp>
          <p:nvSpPr>
            <p:cNvPr id="15" name="Kreis: nicht ausgefüllt 14">
              <a:extLst>
                <a:ext uri="{FF2B5EF4-FFF2-40B4-BE49-F238E27FC236}">
                  <a16:creationId xmlns:a16="http://schemas.microsoft.com/office/drawing/2014/main" id="{AB5B4312-3BE8-04B8-9D85-E0FD33899A28}"/>
                </a:ext>
              </a:extLst>
            </p:cNvPr>
            <p:cNvSpPr/>
            <p:nvPr>
              <p:custDataLst>
                <p:tags r:id="rId8"/>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7" name="Grafik 16">
              <a:extLst>
                <a:ext uri="{FF2B5EF4-FFF2-40B4-BE49-F238E27FC236}">
                  <a16:creationId xmlns:a16="http://schemas.microsoft.com/office/drawing/2014/main" id="{A192C778-081B-75F7-3079-8F1E33D3FB36}"/>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489830" y="4141593"/>
              <a:ext cx="809625" cy="809625"/>
            </a:xfrm>
            <a:prstGeom prst="rect">
              <a:avLst/>
            </a:prstGeom>
          </p:spPr>
        </p:pic>
      </p:grpSp>
      <p:grpSp>
        <p:nvGrpSpPr>
          <p:cNvPr id="18" name="Gruppieren 17">
            <a:extLst>
              <a:ext uri="{FF2B5EF4-FFF2-40B4-BE49-F238E27FC236}">
                <a16:creationId xmlns:a16="http://schemas.microsoft.com/office/drawing/2014/main" id="{A531EE27-7B0A-9ADF-6AB6-B78B9189B9E4}"/>
              </a:ext>
            </a:extLst>
          </p:cNvPr>
          <p:cNvGrpSpPr/>
          <p:nvPr/>
        </p:nvGrpSpPr>
        <p:grpSpPr>
          <a:xfrm>
            <a:off x="8761541" y="1771450"/>
            <a:ext cx="703694" cy="703694"/>
            <a:chOff x="7459565" y="1779904"/>
            <a:chExt cx="869145" cy="869145"/>
          </a:xfrm>
        </p:grpSpPr>
        <p:sp>
          <p:nvSpPr>
            <p:cNvPr id="19" name="Kreis: nicht ausgefüllt 18">
              <a:extLst>
                <a:ext uri="{FF2B5EF4-FFF2-40B4-BE49-F238E27FC236}">
                  <a16:creationId xmlns:a16="http://schemas.microsoft.com/office/drawing/2014/main" id="{4416C73D-ABB3-3F82-6F50-B1219D64C9EC}"/>
                </a:ext>
              </a:extLst>
            </p:cNvPr>
            <p:cNvSpPr/>
            <p:nvPr>
              <p:custDataLst>
                <p:tags r:id="rId7"/>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21" name="Grafik 20">
              <a:extLst>
                <a:ext uri="{FF2B5EF4-FFF2-40B4-BE49-F238E27FC236}">
                  <a16:creationId xmlns:a16="http://schemas.microsoft.com/office/drawing/2014/main" id="{592B6AEB-B7FE-30AB-A15C-6683DB5C33C7}"/>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7493685" y="1797686"/>
              <a:ext cx="809625" cy="809625"/>
            </a:xfrm>
            <a:prstGeom prst="rect">
              <a:avLst/>
            </a:prstGeom>
          </p:spPr>
        </p:pic>
      </p:grpSp>
      <p:sp>
        <p:nvSpPr>
          <p:cNvPr id="2" name="TextBox 1">
            <a:extLst>
              <a:ext uri="{FF2B5EF4-FFF2-40B4-BE49-F238E27FC236}">
                <a16:creationId xmlns:a16="http://schemas.microsoft.com/office/drawing/2014/main" id="{E433BB93-A6AC-F6CA-30D9-32446EECF647}"/>
              </a:ext>
            </a:extLst>
          </p:cNvPr>
          <p:cNvSpPr txBox="1"/>
          <p:nvPr/>
        </p:nvSpPr>
        <p:spPr>
          <a:xfrm>
            <a:off x="10111348" y="2305731"/>
            <a:ext cx="1551227"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de-DE"/>
            </a:defPPr>
            <a:lvl1pPr algn="ctr">
              <a:defRPr sz="1500" b="1"/>
            </a:lvl1pPr>
          </a:lstStyle>
          <a:p>
            <a:r>
              <a:rPr lang="en-US" dirty="0" err="1"/>
              <a:t>msg.ProfileMap</a:t>
            </a:r>
            <a:endParaRPr lang="en-US" dirty="0"/>
          </a:p>
        </p:txBody>
      </p:sp>
    </p:spTree>
    <p:extLst>
      <p:ext uri="{BB962C8B-B14F-4D97-AF65-F5344CB8AC3E}">
        <p14:creationId xmlns:p14="http://schemas.microsoft.com/office/powerpoint/2010/main" val="415418251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971677-F259-E4C9-2A93-9D4F8DEF7840}"/>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3A2AC649-346D-0D34-24C9-116EAD9A86E2}"/>
              </a:ext>
            </a:extLst>
          </p:cNvPr>
          <p:cNvSpPr/>
          <p:nvPr>
            <p:custDataLst>
              <p:tags r:id="rId1"/>
            </p:custDataLst>
          </p:nvPr>
        </p:nvSpPr>
        <p:spPr>
          <a:xfrm>
            <a:off x="9671370" y="1781092"/>
            <a:ext cx="2685600" cy="4311733"/>
          </a:xfrm>
          <a:prstGeom prst="round2DiagRect">
            <a:avLst>
              <a:gd name="adj1" fmla="val 0"/>
              <a:gd name="adj2" fmla="val 5916"/>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252000" tIns="2340000" rIns="108000" bIns="72000" rtlCol="0" anchor="t" anchorCtr="0"/>
          <a:lstStyle/>
          <a:p>
            <a:r>
              <a:rPr lang="de-DE" sz="1200" b="1" dirty="0">
                <a:ea typeface="+mn-lt"/>
                <a:cs typeface="+mn-lt"/>
              </a:rPr>
              <a:t>Ansprechpartner</a:t>
            </a:r>
            <a:endParaRPr lang="en-US" sz="1200" dirty="0">
              <a:solidFill>
                <a:srgbClr val="000000"/>
              </a:solidFill>
              <a:ea typeface="+mn-lt"/>
              <a:cs typeface="+mn-lt"/>
            </a:endParaRPr>
          </a:p>
          <a:p>
            <a:r>
              <a:rPr lang="de-DE" sz="1200" dirty="0">
                <a:ea typeface="+mn-lt"/>
                <a:cs typeface="+mn-lt"/>
              </a:rPr>
              <a:t>Stefan Walter</a:t>
            </a:r>
            <a:endParaRPr lang="en-US" dirty="0"/>
          </a:p>
          <a:p>
            <a:r>
              <a:rPr lang="de-DE" sz="1200" dirty="0">
                <a:solidFill>
                  <a:srgbClr val="FFFFFF"/>
                </a:solidFill>
                <a:ea typeface="+mn-lt"/>
                <a:cs typeface="+mn-lt"/>
              </a:rPr>
              <a:t>+49 172 4632842</a:t>
            </a:r>
            <a:endParaRPr lang="de-DE" dirty="0"/>
          </a:p>
          <a:p>
            <a:r>
              <a:rPr lang="de-DE" sz="1200" dirty="0" err="1">
                <a:ea typeface="+mn-lt"/>
                <a:cs typeface="+mn-lt"/>
              </a:rPr>
              <a:t>Stefan.Walter@msg.group</a:t>
            </a:r>
            <a:endParaRPr lang="de-DE" dirty="0" err="1"/>
          </a:p>
        </p:txBody>
      </p:sp>
      <p:sp>
        <p:nvSpPr>
          <p:cNvPr id="10" name="Titel 11">
            <a:extLst>
              <a:ext uri="{FF2B5EF4-FFF2-40B4-BE49-F238E27FC236}">
                <a16:creationId xmlns:a16="http://schemas.microsoft.com/office/drawing/2014/main" id="{211B550C-0F69-40F0-CDF3-36607BAB3743}"/>
              </a:ext>
            </a:extLst>
          </p:cNvPr>
          <p:cNvSpPr txBox="1">
            <a:spLocks/>
          </p:cNvSpPr>
          <p:nvPr>
            <p:custDataLst>
              <p:tags r:id="rId2"/>
            </p:custDataLst>
          </p:nvPr>
        </p:nvSpPr>
        <p:spPr bwMode="gray">
          <a:xfrm>
            <a:off x="9920288" y="2110176"/>
            <a:ext cx="1951038"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000">
              <a:latin typeface="+mn-lt"/>
            </a:endParaRPr>
          </a:p>
        </p:txBody>
      </p:sp>
      <p:sp>
        <p:nvSpPr>
          <p:cNvPr id="31" name="Textplatzhalter 30">
            <a:extLst>
              <a:ext uri="{FF2B5EF4-FFF2-40B4-BE49-F238E27FC236}">
                <a16:creationId xmlns:a16="http://schemas.microsoft.com/office/drawing/2014/main" id="{59AA88F4-7E05-3502-C9E5-CCADCF16ACA5}"/>
              </a:ext>
            </a:extLst>
          </p:cNvPr>
          <p:cNvSpPr>
            <a:spLocks noGrp="1"/>
          </p:cNvSpPr>
          <p:nvPr>
            <p:ph type="body" sz="quarter" idx="12"/>
          </p:nvPr>
        </p:nvSpPr>
        <p:spPr/>
        <p:txBody>
          <a:bodyPr/>
          <a:lstStyle/>
          <a:p>
            <a:endParaRPr lang="de-DE"/>
          </a:p>
        </p:txBody>
      </p:sp>
      <p:sp>
        <p:nvSpPr>
          <p:cNvPr id="12" name="Titel 5">
            <a:extLst>
              <a:ext uri="{FF2B5EF4-FFF2-40B4-BE49-F238E27FC236}">
                <a16:creationId xmlns:a16="http://schemas.microsoft.com/office/drawing/2014/main" id="{4D3E4215-DEA9-E98F-C3EB-4C7F8FAF9215}"/>
              </a:ext>
            </a:extLst>
          </p:cNvPr>
          <p:cNvSpPr>
            <a:spLocks noGrp="1"/>
          </p:cNvSpPr>
          <p:nvPr>
            <p:ph type="title"/>
          </p:nvPr>
        </p:nvSpPr>
        <p:spPr/>
        <p:txBody>
          <a:bodyPr vert="horz"/>
          <a:lstStyle/>
          <a:p>
            <a:r>
              <a:rPr lang="de-DE" dirty="0"/>
              <a:t>Verbindet Systeme, vereint Vokabulare, schafft Verständnis</a:t>
            </a:r>
            <a:br>
              <a:rPr lang="en-US" dirty="0"/>
            </a:br>
            <a:r>
              <a:rPr lang="en-US" b="1" dirty="0" err="1"/>
              <a:t>msg.SemanticBridge</a:t>
            </a:r>
            <a:endParaRPr lang="en-US" b="1" dirty="0"/>
          </a:p>
        </p:txBody>
      </p:sp>
      <p:sp>
        <p:nvSpPr>
          <p:cNvPr id="14" name="Fußzeilenplatzhalter 1">
            <a:extLst>
              <a:ext uri="{FF2B5EF4-FFF2-40B4-BE49-F238E27FC236}">
                <a16:creationId xmlns:a16="http://schemas.microsoft.com/office/drawing/2014/main" id="{6EBF5348-A7F7-BFF8-4C4F-2B4B9CCD1D99}"/>
              </a:ext>
            </a:extLst>
          </p:cNvPr>
          <p:cNvSpPr>
            <a:spLocks noGrp="1"/>
          </p:cNvSpPr>
          <p:nvPr>
            <p:ph type="ftr" sz="quarter" idx="10"/>
          </p:nvPr>
        </p:nvSpPr>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9BAC2B2A-70B6-E58B-F085-326A73B331B5}"/>
              </a:ext>
            </a:extLst>
          </p:cNvPr>
          <p:cNvSpPr>
            <a:spLocks noGrp="1"/>
          </p:cNvSpPr>
          <p:nvPr>
            <p:ph type="sldNum" sz="quarter" idx="11"/>
          </p:nvPr>
        </p:nvSpPr>
        <p:spPr/>
        <p:txBody>
          <a:bodyPr/>
          <a:lstStyle/>
          <a:p>
            <a:fld id="{B27B0579-4238-4E44-9A9E-134B676F827C}" type="slidenum">
              <a:rPr lang="de-DE" smtClean="0"/>
              <a:pPr/>
              <a:t>44</a:t>
            </a:fld>
            <a:endParaRPr lang="de-DE"/>
          </a:p>
        </p:txBody>
      </p:sp>
      <p:cxnSp>
        <p:nvCxnSpPr>
          <p:cNvPr id="20" name="Gerader Verbinder 19">
            <a:extLst>
              <a:ext uri="{FF2B5EF4-FFF2-40B4-BE49-F238E27FC236}">
                <a16:creationId xmlns:a16="http://schemas.microsoft.com/office/drawing/2014/main" id="{194296B9-D568-F28A-9615-E779C1A758C1}"/>
              </a:ext>
            </a:extLst>
          </p:cNvPr>
          <p:cNvCxnSpPr>
            <a:cxnSpLocks/>
          </p:cNvCxnSpPr>
          <p:nvPr/>
        </p:nvCxnSpPr>
        <p:spPr>
          <a:xfrm>
            <a:off x="5019428" y="1773238"/>
            <a:ext cx="0" cy="431958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939ADCD-2A5A-2255-558A-B828227F6DF1}"/>
              </a:ext>
            </a:extLst>
          </p:cNvPr>
          <p:cNvSpPr txBox="1"/>
          <p:nvPr>
            <p:custDataLst>
              <p:tags r:id="rId3"/>
            </p:custDataLst>
          </p:nvPr>
        </p:nvSpPr>
        <p:spPr>
          <a:xfrm>
            <a:off x="623602" y="1782594"/>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sz="1400" b="1" dirty="0"/>
              <a:t>Ihre Herausforderung</a:t>
            </a:r>
          </a:p>
          <a:p>
            <a:pPr marL="285750" indent="-285750">
              <a:lnSpc>
                <a:spcPct val="95000"/>
              </a:lnSpc>
              <a:buFont typeface="Arial" panose="020B0604020202020204" pitchFamily="34" charset="0"/>
              <a:buChar char="•"/>
            </a:pPr>
            <a:r>
              <a:rPr lang="de-DE" sz="1200" b="1" dirty="0"/>
              <a:t>Inkonsistente Datenqualität:</a:t>
            </a:r>
            <a:r>
              <a:rPr lang="de-DE" sz="1400" b="1" dirty="0"/>
              <a:t> </a:t>
            </a:r>
            <a:r>
              <a:rPr lang="de-DE" sz="1200" dirty="0"/>
              <a:t>Führen zu </a:t>
            </a:r>
            <a:br>
              <a:rPr lang="de-DE" sz="1200" dirty="0"/>
            </a:br>
            <a:r>
              <a:rPr lang="de-DE" sz="1200" dirty="0"/>
              <a:t>Fehlern in zentralen Geschäftsprozessen </a:t>
            </a:r>
          </a:p>
          <a:p>
            <a:pPr marL="285750" indent="-285750">
              <a:lnSpc>
                <a:spcPct val="95000"/>
              </a:lnSpc>
              <a:buFont typeface="Arial" panose="020B0604020202020204" pitchFamily="34" charset="0"/>
              <a:buChar char="•"/>
            </a:pPr>
            <a:r>
              <a:rPr lang="de-DE" sz="1200" b="1" dirty="0"/>
              <a:t>Manuelle Nacharbeit: </a:t>
            </a:r>
            <a:r>
              <a:rPr lang="de-DE" sz="1200" dirty="0"/>
              <a:t>Übermäßige manuelle Nacharbeit, um ungenaue Daten zu korrigieren, was wertvolle Zeit und Ressourcen verbraucht</a:t>
            </a:r>
          </a:p>
          <a:p>
            <a:pPr marL="285750" indent="-285750">
              <a:lnSpc>
                <a:spcPct val="95000"/>
              </a:lnSpc>
              <a:buFont typeface="Arial" panose="020B0604020202020204" pitchFamily="34" charset="0"/>
              <a:buChar char="•"/>
            </a:pPr>
            <a:r>
              <a:rPr lang="de-DE" sz="1200" b="1" dirty="0"/>
              <a:t>Unstrukturierte Daten: </a:t>
            </a:r>
            <a:r>
              <a:rPr lang="de-DE" sz="1200" dirty="0"/>
              <a:t>Unvollständige oder falsche Daten-integration durch Umgang mit unstrukturierten Dokumenten </a:t>
            </a:r>
          </a:p>
          <a:p>
            <a:pPr marL="0" lvl="1" indent="0">
              <a:lnSpc>
                <a:spcPct val="95000"/>
              </a:lnSpc>
              <a:spcAft>
                <a:spcPts val="200"/>
              </a:spcAft>
              <a:buNone/>
            </a:pPr>
            <a:endParaRPr lang="de-DE" sz="1200" dirty="0"/>
          </a:p>
          <a:p>
            <a:pPr marL="0" indent="0">
              <a:lnSpc>
                <a:spcPct val="95000"/>
              </a:lnSpc>
              <a:spcAft>
                <a:spcPts val="200"/>
              </a:spcAft>
              <a:buFont typeface="Wingdings" panose="05000000000000000000" pitchFamily="2" charset="2"/>
              <a:buNone/>
            </a:pPr>
            <a:endParaRPr lang="de-DE" sz="1400" dirty="0"/>
          </a:p>
        </p:txBody>
      </p:sp>
      <p:sp>
        <p:nvSpPr>
          <p:cNvPr id="26" name="Textfeld 25">
            <a:extLst>
              <a:ext uri="{FF2B5EF4-FFF2-40B4-BE49-F238E27FC236}">
                <a16:creationId xmlns:a16="http://schemas.microsoft.com/office/drawing/2014/main" id="{5C203388-6748-D297-5A08-D7E182712156}"/>
              </a:ext>
            </a:extLst>
          </p:cNvPr>
          <p:cNvSpPr txBox="1"/>
          <p:nvPr>
            <p:custDataLst>
              <p:tags r:id="rId4"/>
            </p:custDataLst>
          </p:nvPr>
        </p:nvSpPr>
        <p:spPr>
          <a:xfrm>
            <a:off x="5227890" y="1768083"/>
            <a:ext cx="3536722" cy="2176462"/>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sz="1200" b="1" dirty="0"/>
              <a:t>Ihr Nutzen</a:t>
            </a:r>
          </a:p>
          <a:p>
            <a:pPr marL="285750" indent="-285750">
              <a:lnSpc>
                <a:spcPct val="95000"/>
              </a:lnSpc>
              <a:buFont typeface="Arial" panose="020B0604020202020204" pitchFamily="34" charset="0"/>
              <a:buChar char="•"/>
            </a:pPr>
            <a:r>
              <a:rPr lang="de-DE" sz="1200" b="1" dirty="0">
                <a:ea typeface="Times New Roman" panose="02020603050405020304" pitchFamily="18" charset="0"/>
              </a:rPr>
              <a:t>Zusätzlicher Nutzen: </a:t>
            </a:r>
            <a:r>
              <a:rPr lang="de-DE" sz="1200" dirty="0">
                <a:ea typeface="Times New Roman" panose="02020603050405020304" pitchFamily="18" charset="0"/>
              </a:rPr>
              <a:t>Effizienz, Qualität und Kostensenkung bei den Unterstützungs-</a:t>
            </a:r>
            <a:br>
              <a:rPr lang="de-DE" sz="1200" dirty="0">
                <a:ea typeface="Times New Roman" panose="02020603050405020304" pitchFamily="18" charset="0"/>
              </a:rPr>
            </a:br>
            <a:r>
              <a:rPr lang="de-DE" sz="1200" dirty="0" err="1">
                <a:ea typeface="Times New Roman" panose="02020603050405020304" pitchFamily="18" charset="0"/>
              </a:rPr>
              <a:t>prozessen</a:t>
            </a:r>
            <a:endParaRPr lang="de-DE" sz="1200" dirty="0">
              <a:ea typeface="Times New Roman" panose="02020603050405020304" pitchFamily="18" charset="0"/>
            </a:endParaRPr>
          </a:p>
          <a:p>
            <a:pPr marL="285750" indent="-285750">
              <a:lnSpc>
                <a:spcPct val="95000"/>
              </a:lnSpc>
              <a:buFont typeface="Arial" panose="020B0604020202020204" pitchFamily="34" charset="0"/>
              <a:buChar char="•"/>
            </a:pPr>
            <a:r>
              <a:rPr lang="de-DE" sz="1200" b="1" dirty="0">
                <a:ea typeface="Times New Roman" panose="02020603050405020304" pitchFamily="18" charset="0"/>
              </a:rPr>
              <a:t>Optimierung der Support-Prozesse</a:t>
            </a:r>
            <a:r>
              <a:rPr lang="de-DE" sz="1200" b="1" dirty="0">
                <a:solidFill>
                  <a:schemeClr val="accent1"/>
                </a:solidFill>
                <a:ea typeface="Times New Roman" panose="02020603050405020304" pitchFamily="18" charset="0"/>
              </a:rPr>
              <a:t> </a:t>
            </a:r>
            <a:r>
              <a:rPr lang="de-DE" sz="1200" dirty="0">
                <a:ea typeface="Times New Roman" panose="02020603050405020304" pitchFamily="18" charset="0"/>
              </a:rPr>
              <a:t>durch </a:t>
            </a:r>
            <a:br>
              <a:rPr lang="de-DE" sz="1200" dirty="0">
                <a:ea typeface="Times New Roman" panose="02020603050405020304" pitchFamily="18" charset="0"/>
              </a:rPr>
            </a:br>
            <a:r>
              <a:rPr lang="de-DE" sz="1200" dirty="0">
                <a:ea typeface="Times New Roman" panose="02020603050405020304" pitchFamily="18" charset="0"/>
              </a:rPr>
              <a:t>KI-basierte Digitalisierung unstrukturierter Dokumente</a:t>
            </a:r>
          </a:p>
          <a:p>
            <a:pPr marL="285750" indent="-285750">
              <a:lnSpc>
                <a:spcPct val="95000"/>
              </a:lnSpc>
              <a:buFont typeface="Arial" panose="020B0604020202020204" pitchFamily="34" charset="0"/>
              <a:buChar char="•"/>
            </a:pPr>
            <a:r>
              <a:rPr lang="de-DE" sz="1200" b="1" dirty="0">
                <a:ea typeface="Times New Roman" panose="02020603050405020304" pitchFamily="18" charset="0"/>
              </a:rPr>
              <a:t>Kernfunktionen als Grundlage: </a:t>
            </a:r>
            <a:r>
              <a:rPr lang="de-DE" sz="1200" dirty="0">
                <a:ea typeface="Times New Roman" panose="02020603050405020304" pitchFamily="18" charset="0"/>
              </a:rPr>
              <a:t>Automatisierte Verarbeitung, Integration und </a:t>
            </a:r>
            <a:r>
              <a:rPr lang="de-DE" sz="1200" dirty="0" err="1">
                <a:ea typeface="Times New Roman" panose="02020603050405020304" pitchFamily="18" charset="0"/>
              </a:rPr>
              <a:t>Vokabularverwaltung</a:t>
            </a:r>
            <a:endParaRPr lang="de-DE" sz="1200" dirty="0">
              <a:ea typeface="Times New Roman" panose="02020603050405020304" pitchFamily="18" charset="0"/>
            </a:endParaRPr>
          </a:p>
          <a:p>
            <a:pPr marL="285750" indent="-285750">
              <a:lnSpc>
                <a:spcPct val="95000"/>
              </a:lnSpc>
              <a:buFont typeface="Arial" panose="020B0604020202020204" pitchFamily="34" charset="0"/>
              <a:buChar char="•"/>
            </a:pPr>
            <a:endParaRPr lang="de-DE" sz="1400" dirty="0">
              <a:ea typeface="Times New Roman" panose="02020603050405020304" pitchFamily="18" charset="0"/>
            </a:endParaRPr>
          </a:p>
          <a:p>
            <a:pPr marL="215900" lvl="1" indent="-215900">
              <a:lnSpc>
                <a:spcPct val="95000"/>
              </a:lnSpc>
              <a:spcAft>
                <a:spcPts val="200"/>
              </a:spcAft>
            </a:pPr>
            <a:endParaRPr lang="de-DE" sz="1100" dirty="0"/>
          </a:p>
        </p:txBody>
      </p:sp>
      <p:sp>
        <p:nvSpPr>
          <p:cNvPr id="28" name="Textfeld 27">
            <a:extLst>
              <a:ext uri="{FF2B5EF4-FFF2-40B4-BE49-F238E27FC236}">
                <a16:creationId xmlns:a16="http://schemas.microsoft.com/office/drawing/2014/main" id="{033C45F1-BF55-37D5-E592-9BCA29522385}"/>
              </a:ext>
            </a:extLst>
          </p:cNvPr>
          <p:cNvSpPr txBox="1"/>
          <p:nvPr>
            <p:custDataLst>
              <p:tags r:id="rId5"/>
            </p:custDataLst>
          </p:nvPr>
        </p:nvSpPr>
        <p:spPr>
          <a:xfrm>
            <a:off x="653195" y="3983531"/>
            <a:ext cx="4292063" cy="2114182"/>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sz="1400" b="1" dirty="0"/>
              <a:t>Unser Angebot</a:t>
            </a:r>
          </a:p>
          <a:p>
            <a:pPr marL="219075" indent="-219075">
              <a:lnSpc>
                <a:spcPct val="95000"/>
              </a:lnSpc>
              <a:buFont typeface="Arial" panose="020B0604020202020204" pitchFamily="34" charset="0"/>
              <a:buChar char="•"/>
            </a:pPr>
            <a:r>
              <a:rPr lang="de-DE" sz="1200" b="1" dirty="0" err="1">
                <a:solidFill>
                  <a:srgbClr val="000000"/>
                </a:solidFill>
                <a:latin typeface="Aptos"/>
              </a:rPr>
              <a:t>msg.SemanticBridge</a:t>
            </a:r>
            <a:r>
              <a:rPr lang="de-DE" sz="1200" b="1" dirty="0">
                <a:solidFill>
                  <a:srgbClr val="000000"/>
                </a:solidFill>
                <a:latin typeface="Aptos"/>
              </a:rPr>
              <a:t> </a:t>
            </a:r>
            <a:r>
              <a:rPr lang="de-DE" sz="1200" dirty="0">
                <a:solidFill>
                  <a:srgbClr val="000000"/>
                </a:solidFill>
                <a:latin typeface="Aptos"/>
              </a:rPr>
              <a:t>ist eine führende </a:t>
            </a:r>
            <a:br>
              <a:rPr lang="de-DE" sz="1200" dirty="0">
                <a:solidFill>
                  <a:srgbClr val="000000"/>
                </a:solidFill>
                <a:latin typeface="Aptos"/>
              </a:rPr>
            </a:br>
            <a:r>
              <a:rPr lang="de-DE" sz="1200" dirty="0">
                <a:solidFill>
                  <a:srgbClr val="000000"/>
                </a:solidFill>
                <a:latin typeface="Aptos"/>
              </a:rPr>
              <a:t>KI-SaaS-Lösung zur semantischen Daten-</a:t>
            </a:r>
            <a:br>
              <a:rPr lang="de-DE" sz="1200" dirty="0">
                <a:solidFill>
                  <a:srgbClr val="000000"/>
                </a:solidFill>
                <a:latin typeface="Aptos"/>
              </a:rPr>
            </a:br>
            <a:r>
              <a:rPr lang="de-DE" sz="1200" dirty="0" err="1">
                <a:solidFill>
                  <a:srgbClr val="000000"/>
                </a:solidFill>
                <a:latin typeface="Aptos"/>
              </a:rPr>
              <a:t>harmonisierung</a:t>
            </a:r>
            <a:r>
              <a:rPr lang="de-DE" sz="1200" dirty="0">
                <a:solidFill>
                  <a:srgbClr val="000000"/>
                </a:solidFill>
                <a:latin typeface="Aptos"/>
              </a:rPr>
              <a:t> und -integration</a:t>
            </a:r>
          </a:p>
          <a:p>
            <a:pPr marL="219075" indent="-219075">
              <a:lnSpc>
                <a:spcPct val="95000"/>
              </a:lnSpc>
              <a:buFont typeface="Arial" panose="020B0604020202020204" pitchFamily="34" charset="0"/>
              <a:buChar char="•"/>
            </a:pPr>
            <a:r>
              <a:rPr lang="de-DE" sz="1200" dirty="0">
                <a:solidFill>
                  <a:srgbClr val="000000"/>
                </a:solidFill>
                <a:latin typeface="Aptos"/>
              </a:rPr>
              <a:t>Liefert eine </a:t>
            </a:r>
            <a:r>
              <a:rPr lang="de-DE" sz="1200" b="1" dirty="0">
                <a:solidFill>
                  <a:srgbClr val="000000"/>
                </a:solidFill>
                <a:latin typeface="Aptos"/>
              </a:rPr>
              <a:t>hohe Datenqualität</a:t>
            </a:r>
            <a:r>
              <a:rPr lang="de-DE" sz="1200" dirty="0">
                <a:solidFill>
                  <a:srgbClr val="000000"/>
                </a:solidFill>
                <a:latin typeface="Aptos"/>
              </a:rPr>
              <a:t> und -genauigkeit, verringert manuelle Nacharbeiten und beschleunigt zentrale Prozesse</a:t>
            </a:r>
          </a:p>
          <a:p>
            <a:pPr marL="219075" indent="-219075">
              <a:lnSpc>
                <a:spcPct val="95000"/>
              </a:lnSpc>
              <a:buFont typeface="Arial" panose="020B0604020202020204" pitchFamily="34" charset="0"/>
              <a:buChar char="•"/>
            </a:pPr>
            <a:r>
              <a:rPr lang="de-DE" sz="1200" dirty="0">
                <a:solidFill>
                  <a:srgbClr val="000000"/>
                </a:solidFill>
                <a:latin typeface="Aptos"/>
              </a:rPr>
              <a:t>Automatisierung  der Verarbeitung unstrukturierter Dokumente und Verbesserung der </a:t>
            </a:r>
            <a:r>
              <a:rPr lang="de-DE" sz="1200" b="1" dirty="0">
                <a:solidFill>
                  <a:srgbClr val="000000"/>
                </a:solidFill>
                <a:latin typeface="Aptos"/>
              </a:rPr>
              <a:t>Datenintegration</a:t>
            </a:r>
          </a:p>
          <a:p>
            <a:pPr marL="219075" indent="-219075">
              <a:lnSpc>
                <a:spcPct val="95000"/>
              </a:lnSpc>
              <a:buFont typeface="Arial" panose="020B0604020202020204" pitchFamily="34" charset="0"/>
              <a:buChar char="•"/>
            </a:pPr>
            <a:r>
              <a:rPr lang="de-DE" sz="1200" dirty="0">
                <a:solidFill>
                  <a:srgbClr val="000000"/>
                </a:solidFill>
                <a:latin typeface="Aptos"/>
              </a:rPr>
              <a:t>Bildet eine ideale Grundlage für </a:t>
            </a:r>
            <a:r>
              <a:rPr lang="de-DE" sz="1200" dirty="0" err="1">
                <a:solidFill>
                  <a:srgbClr val="000000"/>
                </a:solidFill>
                <a:latin typeface="Aptos"/>
              </a:rPr>
              <a:t>GenAI</a:t>
            </a:r>
            <a:r>
              <a:rPr lang="de-DE" sz="1200" dirty="0">
                <a:solidFill>
                  <a:srgbClr val="000000"/>
                </a:solidFill>
                <a:latin typeface="Aptos"/>
              </a:rPr>
              <a:t> Use Cases und umfassende Analysen</a:t>
            </a:r>
            <a:endParaRPr lang="de-DE" sz="1200" dirty="0">
              <a:latin typeface="Aptos"/>
            </a:endParaRPr>
          </a:p>
          <a:p>
            <a:pPr>
              <a:lnSpc>
                <a:spcPct val="95000"/>
              </a:lnSpc>
              <a:spcAft>
                <a:spcPts val="200"/>
              </a:spcAft>
            </a:pPr>
            <a:endParaRPr lang="de-DE" sz="1400" dirty="0"/>
          </a:p>
        </p:txBody>
      </p:sp>
      <p:sp>
        <p:nvSpPr>
          <p:cNvPr id="30" name="Textfeld 29">
            <a:extLst>
              <a:ext uri="{FF2B5EF4-FFF2-40B4-BE49-F238E27FC236}">
                <a16:creationId xmlns:a16="http://schemas.microsoft.com/office/drawing/2014/main" id="{3C5CFDAF-5360-818C-148B-278CE33F2FC0}"/>
              </a:ext>
            </a:extLst>
          </p:cNvPr>
          <p:cNvSpPr txBox="1"/>
          <p:nvPr>
            <p:custDataLst>
              <p:tags r:id="rId6"/>
            </p:custDataLst>
          </p:nvPr>
        </p:nvSpPr>
        <p:spPr>
          <a:xfrm>
            <a:off x="5227890" y="3983531"/>
            <a:ext cx="3778873" cy="1350962"/>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dirty="0"/>
              <a:t>Unsere Partner und Referenzen</a:t>
            </a:r>
            <a:endParaRPr lang="en-US" dirty="0"/>
          </a:p>
          <a:p>
            <a:pPr marL="215900" lvl="1" indent="-215900">
              <a:lnSpc>
                <a:spcPct val="95000"/>
              </a:lnSpc>
              <a:spcAft>
                <a:spcPts val="200"/>
              </a:spcAft>
              <a:buClr>
                <a:srgbClr val="A01441"/>
              </a:buClr>
            </a:pPr>
            <a:r>
              <a:rPr lang="de-DE" sz="1200" dirty="0"/>
              <a:t>Deutscher Sparkassen Verband – „Sparkassen Recruiting Plattform“</a:t>
            </a:r>
          </a:p>
          <a:p>
            <a:pPr marL="215900" lvl="1" indent="-215900">
              <a:lnSpc>
                <a:spcPct val="95000"/>
              </a:lnSpc>
              <a:spcAft>
                <a:spcPts val="200"/>
              </a:spcAft>
              <a:buClr>
                <a:srgbClr val="A01441"/>
              </a:buClr>
            </a:pPr>
            <a:r>
              <a:rPr lang="de-DE" sz="1200" dirty="0"/>
              <a:t>A.T. KEARNEY – „Strategic </a:t>
            </a:r>
            <a:r>
              <a:rPr lang="de-DE" sz="1200" dirty="0" err="1"/>
              <a:t>Workforce</a:t>
            </a:r>
            <a:r>
              <a:rPr lang="de-DE" sz="1200" dirty="0"/>
              <a:t> Management“</a:t>
            </a:r>
          </a:p>
          <a:p>
            <a:pPr marL="215900" lvl="1" indent="-215900">
              <a:lnSpc>
                <a:spcPct val="95000"/>
              </a:lnSpc>
              <a:spcAft>
                <a:spcPts val="200"/>
              </a:spcAft>
              <a:buClr>
                <a:srgbClr val="A01441"/>
              </a:buClr>
            </a:pPr>
            <a:r>
              <a:rPr lang="de-DE" sz="1200" dirty="0" err="1"/>
              <a:t>msg</a:t>
            </a:r>
            <a:r>
              <a:rPr lang="de-DE" sz="1200" dirty="0"/>
              <a:t> </a:t>
            </a:r>
            <a:r>
              <a:rPr lang="de-DE" sz="1200" dirty="0" err="1"/>
              <a:t>systems</a:t>
            </a:r>
            <a:r>
              <a:rPr lang="de-DE" sz="1200" dirty="0"/>
              <a:t> – „</a:t>
            </a:r>
            <a:r>
              <a:rPr lang="de-DE" sz="1200" dirty="0" err="1"/>
              <a:t>msg.ProfileMap</a:t>
            </a:r>
            <a:r>
              <a:rPr lang="de-DE" sz="1200" dirty="0"/>
              <a:t> CV-</a:t>
            </a:r>
            <a:r>
              <a:rPr lang="de-DE" sz="1200" dirty="0" err="1"/>
              <a:t>Parsing</a:t>
            </a:r>
            <a:r>
              <a:rPr lang="de-DE" sz="1200" dirty="0"/>
              <a:t> und Datenharmonisierung“</a:t>
            </a:r>
          </a:p>
        </p:txBody>
      </p:sp>
      <p:grpSp>
        <p:nvGrpSpPr>
          <p:cNvPr id="4" name="Gruppieren 3">
            <a:extLst>
              <a:ext uri="{FF2B5EF4-FFF2-40B4-BE49-F238E27FC236}">
                <a16:creationId xmlns:a16="http://schemas.microsoft.com/office/drawing/2014/main" id="{8199D825-9566-262D-0B8A-2CAF08539B5B}"/>
              </a:ext>
            </a:extLst>
          </p:cNvPr>
          <p:cNvGrpSpPr/>
          <p:nvPr/>
        </p:nvGrpSpPr>
        <p:grpSpPr>
          <a:xfrm>
            <a:off x="4138804" y="1771450"/>
            <a:ext cx="703694" cy="703694"/>
            <a:chOff x="3460071" y="1779904"/>
            <a:chExt cx="869145" cy="869145"/>
          </a:xfrm>
        </p:grpSpPr>
        <p:sp>
          <p:nvSpPr>
            <p:cNvPr id="5" name="Kreis: nicht ausgefüllt 4">
              <a:extLst>
                <a:ext uri="{FF2B5EF4-FFF2-40B4-BE49-F238E27FC236}">
                  <a16:creationId xmlns:a16="http://schemas.microsoft.com/office/drawing/2014/main" id="{8D808ECB-3FD4-91BD-E973-B27FF3A46D1D}"/>
                </a:ext>
              </a:extLst>
            </p:cNvPr>
            <p:cNvSpPr/>
            <p:nvPr>
              <p:custDataLst>
                <p:tags r:id="rId10"/>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6" name="Grafik 5">
              <a:extLst>
                <a:ext uri="{FF2B5EF4-FFF2-40B4-BE49-F238E27FC236}">
                  <a16:creationId xmlns:a16="http://schemas.microsoft.com/office/drawing/2014/main" id="{5D8366C5-17C0-DF06-E862-2F8753DA9F3D}"/>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96632" y="1796942"/>
              <a:ext cx="809625" cy="809625"/>
            </a:xfrm>
            <a:prstGeom prst="rect">
              <a:avLst/>
            </a:prstGeom>
          </p:spPr>
        </p:pic>
      </p:grpSp>
      <p:grpSp>
        <p:nvGrpSpPr>
          <p:cNvPr id="7" name="Gruppieren 6">
            <a:extLst>
              <a:ext uri="{FF2B5EF4-FFF2-40B4-BE49-F238E27FC236}">
                <a16:creationId xmlns:a16="http://schemas.microsoft.com/office/drawing/2014/main" id="{F1F5FFA5-DE2A-0B66-5437-C7220B464679}"/>
              </a:ext>
            </a:extLst>
          </p:cNvPr>
          <p:cNvGrpSpPr/>
          <p:nvPr/>
        </p:nvGrpSpPr>
        <p:grpSpPr>
          <a:xfrm>
            <a:off x="8761542" y="3981459"/>
            <a:ext cx="703694" cy="703694"/>
            <a:chOff x="8575325" y="4111833"/>
            <a:chExt cx="869145" cy="869145"/>
          </a:xfrm>
        </p:grpSpPr>
        <p:sp>
          <p:nvSpPr>
            <p:cNvPr id="9" name="Kreis: nicht ausgefüllt 8">
              <a:extLst>
                <a:ext uri="{FF2B5EF4-FFF2-40B4-BE49-F238E27FC236}">
                  <a16:creationId xmlns:a16="http://schemas.microsoft.com/office/drawing/2014/main" id="{C09CBE8C-5A26-BDBA-BB89-1AA7531194CC}"/>
                </a:ext>
              </a:extLst>
            </p:cNvPr>
            <p:cNvSpPr/>
            <p:nvPr>
              <p:custDataLst>
                <p:tags r:id="rId9"/>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1" name="Grafik 10">
              <a:extLst>
                <a:ext uri="{FF2B5EF4-FFF2-40B4-BE49-F238E27FC236}">
                  <a16:creationId xmlns:a16="http://schemas.microsoft.com/office/drawing/2014/main" id="{8645CDA8-50AD-FDD2-87C6-51F41E503B64}"/>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8608010" y="4171353"/>
              <a:ext cx="809625" cy="809625"/>
            </a:xfrm>
            <a:prstGeom prst="rect">
              <a:avLst/>
            </a:prstGeom>
          </p:spPr>
        </p:pic>
      </p:grpSp>
      <p:grpSp>
        <p:nvGrpSpPr>
          <p:cNvPr id="13" name="Gruppieren 12">
            <a:extLst>
              <a:ext uri="{FF2B5EF4-FFF2-40B4-BE49-F238E27FC236}">
                <a16:creationId xmlns:a16="http://schemas.microsoft.com/office/drawing/2014/main" id="{4FDA4867-877D-D007-67CF-2E43F305AE65}"/>
              </a:ext>
            </a:extLst>
          </p:cNvPr>
          <p:cNvGrpSpPr/>
          <p:nvPr/>
        </p:nvGrpSpPr>
        <p:grpSpPr>
          <a:xfrm>
            <a:off x="4138804" y="3981459"/>
            <a:ext cx="703694" cy="703694"/>
            <a:chOff x="3460071" y="4111833"/>
            <a:chExt cx="869145" cy="869145"/>
          </a:xfrm>
        </p:grpSpPr>
        <p:sp>
          <p:nvSpPr>
            <p:cNvPr id="15" name="Kreis: nicht ausgefüllt 14">
              <a:extLst>
                <a:ext uri="{FF2B5EF4-FFF2-40B4-BE49-F238E27FC236}">
                  <a16:creationId xmlns:a16="http://schemas.microsoft.com/office/drawing/2014/main" id="{D947D8BD-B41F-E34C-8633-FC2A8E03C5B9}"/>
                </a:ext>
              </a:extLst>
            </p:cNvPr>
            <p:cNvSpPr/>
            <p:nvPr>
              <p:custDataLst>
                <p:tags r:id="rId8"/>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7" name="Grafik 16">
              <a:extLst>
                <a:ext uri="{FF2B5EF4-FFF2-40B4-BE49-F238E27FC236}">
                  <a16:creationId xmlns:a16="http://schemas.microsoft.com/office/drawing/2014/main" id="{E6B950D0-1824-387A-05DE-84CD56A11BA7}"/>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489830" y="4141593"/>
              <a:ext cx="809625" cy="809625"/>
            </a:xfrm>
            <a:prstGeom prst="rect">
              <a:avLst/>
            </a:prstGeom>
          </p:spPr>
        </p:pic>
      </p:grpSp>
      <p:grpSp>
        <p:nvGrpSpPr>
          <p:cNvPr id="18" name="Gruppieren 17">
            <a:extLst>
              <a:ext uri="{FF2B5EF4-FFF2-40B4-BE49-F238E27FC236}">
                <a16:creationId xmlns:a16="http://schemas.microsoft.com/office/drawing/2014/main" id="{C4763643-D17C-4C4A-0D0E-1DA3FDE678BF}"/>
              </a:ext>
            </a:extLst>
          </p:cNvPr>
          <p:cNvGrpSpPr/>
          <p:nvPr/>
        </p:nvGrpSpPr>
        <p:grpSpPr>
          <a:xfrm>
            <a:off x="8761541" y="1771450"/>
            <a:ext cx="703694" cy="703694"/>
            <a:chOff x="7459565" y="1779904"/>
            <a:chExt cx="869145" cy="869145"/>
          </a:xfrm>
        </p:grpSpPr>
        <p:sp>
          <p:nvSpPr>
            <p:cNvPr id="19" name="Kreis: nicht ausgefüllt 18">
              <a:extLst>
                <a:ext uri="{FF2B5EF4-FFF2-40B4-BE49-F238E27FC236}">
                  <a16:creationId xmlns:a16="http://schemas.microsoft.com/office/drawing/2014/main" id="{CE1FA356-A2B2-D35F-767B-706EDB8B2D84}"/>
                </a:ext>
              </a:extLst>
            </p:cNvPr>
            <p:cNvSpPr/>
            <p:nvPr>
              <p:custDataLst>
                <p:tags r:id="rId7"/>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21" name="Grafik 20">
              <a:extLst>
                <a:ext uri="{FF2B5EF4-FFF2-40B4-BE49-F238E27FC236}">
                  <a16:creationId xmlns:a16="http://schemas.microsoft.com/office/drawing/2014/main" id="{2C02D29D-A293-50B6-3B1D-A77E5F59D66B}"/>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7493685" y="1797686"/>
              <a:ext cx="809625" cy="809625"/>
            </a:xfrm>
            <a:prstGeom prst="rect">
              <a:avLst/>
            </a:prstGeom>
          </p:spPr>
        </p:pic>
      </p:grpSp>
      <p:sp>
        <p:nvSpPr>
          <p:cNvPr id="3" name="TextBox 1">
            <a:extLst>
              <a:ext uri="{FF2B5EF4-FFF2-40B4-BE49-F238E27FC236}">
                <a16:creationId xmlns:a16="http://schemas.microsoft.com/office/drawing/2014/main" id="{A78CBD30-D901-9CE1-1455-B83ED39BB8CF}"/>
              </a:ext>
            </a:extLst>
          </p:cNvPr>
          <p:cNvSpPr txBox="1"/>
          <p:nvPr/>
        </p:nvSpPr>
        <p:spPr>
          <a:xfrm>
            <a:off x="9842453" y="2325226"/>
            <a:ext cx="2067164" cy="2308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de-DE"/>
            </a:defPPr>
            <a:lvl1pPr algn="ctr">
              <a:defRPr sz="1500" b="1"/>
            </a:lvl1pPr>
          </a:lstStyle>
          <a:p>
            <a:r>
              <a:rPr lang="en-US" dirty="0" err="1"/>
              <a:t>msg.SemanticBridge</a:t>
            </a:r>
            <a:endParaRPr lang="en-US" dirty="0"/>
          </a:p>
        </p:txBody>
      </p:sp>
    </p:spTree>
    <p:extLst>
      <p:ext uri="{BB962C8B-B14F-4D97-AF65-F5344CB8AC3E}">
        <p14:creationId xmlns:p14="http://schemas.microsoft.com/office/powerpoint/2010/main" val="159206495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EB939C-E99B-3C45-AA65-F0EBCA0B3B0A}"/>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62C861D3-AC97-9BA9-DB88-9DD76B16F70F}"/>
              </a:ext>
            </a:extLst>
          </p:cNvPr>
          <p:cNvSpPr/>
          <p:nvPr>
            <p:custDataLst>
              <p:tags r:id="rId1"/>
            </p:custDataLst>
          </p:nvPr>
        </p:nvSpPr>
        <p:spPr>
          <a:xfrm>
            <a:off x="9671370" y="1781092"/>
            <a:ext cx="2685600" cy="4311733"/>
          </a:xfrm>
          <a:prstGeom prst="round2DiagRect">
            <a:avLst>
              <a:gd name="adj1" fmla="val 0"/>
              <a:gd name="adj2" fmla="val 5916"/>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252000" tIns="2340000" rIns="108000" bIns="72000" rtlCol="0" anchor="t" anchorCtr="0"/>
          <a:lstStyle/>
          <a:p>
            <a:r>
              <a:rPr lang="de-DE" sz="1200" b="1" dirty="0">
                <a:ea typeface="+mn-lt"/>
                <a:cs typeface="+mn-lt"/>
              </a:rPr>
              <a:t>Ansprechpartner</a:t>
            </a:r>
            <a:endParaRPr lang="en-US" sz="1200" dirty="0">
              <a:solidFill>
                <a:srgbClr val="000000"/>
              </a:solidFill>
              <a:ea typeface="+mn-lt"/>
              <a:cs typeface="+mn-lt"/>
            </a:endParaRPr>
          </a:p>
          <a:p>
            <a:r>
              <a:rPr lang="de-DE" sz="1200" dirty="0">
                <a:ea typeface="+mn-lt"/>
                <a:cs typeface="+mn-lt"/>
              </a:rPr>
              <a:t>Stefan Walter</a:t>
            </a:r>
            <a:endParaRPr lang="de-DE" dirty="0"/>
          </a:p>
          <a:p>
            <a:r>
              <a:rPr lang="de-DE" sz="1200" dirty="0">
                <a:ea typeface="+mn-lt"/>
                <a:cs typeface="+mn-lt"/>
              </a:rPr>
              <a:t>+49 172 4632842</a:t>
            </a:r>
            <a:endParaRPr lang="de-DE" dirty="0"/>
          </a:p>
          <a:p>
            <a:r>
              <a:rPr lang="de-DE" sz="1200" dirty="0" err="1">
                <a:ea typeface="+mn-lt"/>
                <a:cs typeface="+mn-lt"/>
              </a:rPr>
              <a:t>Stefan.Walter@msg.group</a:t>
            </a:r>
          </a:p>
        </p:txBody>
      </p:sp>
      <p:sp>
        <p:nvSpPr>
          <p:cNvPr id="10" name="Titel 11">
            <a:extLst>
              <a:ext uri="{FF2B5EF4-FFF2-40B4-BE49-F238E27FC236}">
                <a16:creationId xmlns:a16="http://schemas.microsoft.com/office/drawing/2014/main" id="{907C10CB-DB34-FC62-F9A4-EED69EBC62E6}"/>
              </a:ext>
            </a:extLst>
          </p:cNvPr>
          <p:cNvSpPr txBox="1">
            <a:spLocks/>
          </p:cNvSpPr>
          <p:nvPr>
            <p:custDataLst>
              <p:tags r:id="rId2"/>
            </p:custDataLst>
          </p:nvPr>
        </p:nvSpPr>
        <p:spPr bwMode="gray">
          <a:xfrm>
            <a:off x="9920288" y="2110176"/>
            <a:ext cx="1951038"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31" name="Textplatzhalter 30">
            <a:extLst>
              <a:ext uri="{FF2B5EF4-FFF2-40B4-BE49-F238E27FC236}">
                <a16:creationId xmlns:a16="http://schemas.microsoft.com/office/drawing/2014/main" id="{174FD082-8984-D050-3C32-6058BDA8EEDA}"/>
              </a:ext>
            </a:extLst>
          </p:cNvPr>
          <p:cNvSpPr>
            <a:spLocks noGrp="1"/>
          </p:cNvSpPr>
          <p:nvPr>
            <p:ph type="body" sz="quarter" idx="12"/>
          </p:nvPr>
        </p:nvSpPr>
        <p:spPr/>
        <p:txBody>
          <a:bodyPr/>
          <a:lstStyle/>
          <a:p>
            <a:endParaRPr lang="de-DE"/>
          </a:p>
        </p:txBody>
      </p:sp>
      <p:sp>
        <p:nvSpPr>
          <p:cNvPr id="12" name="Titel 5">
            <a:extLst>
              <a:ext uri="{FF2B5EF4-FFF2-40B4-BE49-F238E27FC236}">
                <a16:creationId xmlns:a16="http://schemas.microsoft.com/office/drawing/2014/main" id="{62DE8624-B123-6627-8995-047D2B33E96E}"/>
              </a:ext>
            </a:extLst>
          </p:cNvPr>
          <p:cNvSpPr>
            <a:spLocks noGrp="1"/>
          </p:cNvSpPr>
          <p:nvPr>
            <p:ph type="title"/>
          </p:nvPr>
        </p:nvSpPr>
        <p:spPr/>
        <p:txBody>
          <a:bodyPr vert="horz"/>
          <a:lstStyle/>
          <a:p>
            <a:r>
              <a:rPr lang="de-DE" dirty="0"/>
              <a:t>AI-</a:t>
            </a:r>
            <a:r>
              <a:rPr lang="de-DE" dirty="0" err="1"/>
              <a:t>Powered</a:t>
            </a:r>
            <a:r>
              <a:rPr lang="de-DE" dirty="0"/>
              <a:t> </a:t>
            </a:r>
            <a:r>
              <a:rPr lang="de-DE" dirty="0" err="1"/>
              <a:t>Testing</a:t>
            </a:r>
            <a:r>
              <a:rPr lang="de-DE" dirty="0"/>
              <a:t> Revolution</a:t>
            </a:r>
            <a:br>
              <a:rPr lang="en-US" dirty="0"/>
            </a:br>
            <a:r>
              <a:rPr lang="en-US" b="1" dirty="0" err="1"/>
              <a:t>msg.TestCaseGen.ai</a:t>
            </a:r>
            <a:endParaRPr lang="en-US" b="1" dirty="0"/>
          </a:p>
        </p:txBody>
      </p:sp>
      <p:sp>
        <p:nvSpPr>
          <p:cNvPr id="14" name="Fußzeilenplatzhalter 1">
            <a:extLst>
              <a:ext uri="{FF2B5EF4-FFF2-40B4-BE49-F238E27FC236}">
                <a16:creationId xmlns:a16="http://schemas.microsoft.com/office/drawing/2014/main" id="{82ADB2F5-9D88-28CE-F47F-790A9DC6F34B}"/>
              </a:ext>
            </a:extLst>
          </p:cNvPr>
          <p:cNvSpPr>
            <a:spLocks noGrp="1"/>
          </p:cNvSpPr>
          <p:nvPr>
            <p:ph type="ftr" sz="quarter" idx="10"/>
          </p:nvPr>
        </p:nvSpPr>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E3BFA256-C350-7B85-B41A-699C7370C2E9}"/>
              </a:ext>
            </a:extLst>
          </p:cNvPr>
          <p:cNvSpPr>
            <a:spLocks noGrp="1"/>
          </p:cNvSpPr>
          <p:nvPr>
            <p:ph type="sldNum" sz="quarter" idx="11"/>
          </p:nvPr>
        </p:nvSpPr>
        <p:spPr/>
        <p:txBody>
          <a:bodyPr/>
          <a:lstStyle/>
          <a:p>
            <a:fld id="{B27B0579-4238-4E44-9A9E-134B676F827C}" type="slidenum">
              <a:rPr lang="de-DE" smtClean="0"/>
              <a:pPr/>
              <a:t>45</a:t>
            </a:fld>
            <a:endParaRPr lang="de-DE"/>
          </a:p>
        </p:txBody>
      </p:sp>
      <p:cxnSp>
        <p:nvCxnSpPr>
          <p:cNvPr id="20" name="Gerader Verbinder 19">
            <a:extLst>
              <a:ext uri="{FF2B5EF4-FFF2-40B4-BE49-F238E27FC236}">
                <a16:creationId xmlns:a16="http://schemas.microsoft.com/office/drawing/2014/main" id="{3E03CB00-366F-A613-CD56-872857A64D60}"/>
              </a:ext>
            </a:extLst>
          </p:cNvPr>
          <p:cNvCxnSpPr>
            <a:cxnSpLocks/>
          </p:cNvCxnSpPr>
          <p:nvPr/>
        </p:nvCxnSpPr>
        <p:spPr>
          <a:xfrm>
            <a:off x="5019428" y="1773238"/>
            <a:ext cx="0" cy="431958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5E4EAE10-CA13-EC6C-5E76-8EF2CFE3D8DF}"/>
              </a:ext>
            </a:extLst>
          </p:cNvPr>
          <p:cNvSpPr txBox="1"/>
          <p:nvPr>
            <p:custDataLst>
              <p:tags r:id="rId3"/>
            </p:custDataLst>
          </p:nvPr>
        </p:nvSpPr>
        <p:spPr>
          <a:xfrm>
            <a:off x="623602" y="1782594"/>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sz="1400" b="1" dirty="0"/>
              <a:t>Ihre Herausforderung</a:t>
            </a:r>
          </a:p>
          <a:p>
            <a:pPr marL="215900" lvl="1" indent="-215900">
              <a:lnSpc>
                <a:spcPct val="95000"/>
              </a:lnSpc>
              <a:spcAft>
                <a:spcPts val="200"/>
              </a:spcAft>
            </a:pPr>
            <a:r>
              <a:rPr lang="de-DE" sz="1200" b="1" dirty="0"/>
              <a:t>Komplexität der Testfälle: </a:t>
            </a:r>
            <a:r>
              <a:rPr lang="de-DE" sz="1200" dirty="0"/>
              <a:t>Manuelle Erstellung</a:t>
            </a:r>
            <a:br>
              <a:rPr lang="de-DE" sz="1200" dirty="0"/>
            </a:br>
            <a:r>
              <a:rPr lang="de-DE" sz="1200" dirty="0"/>
              <a:t>und Verwaltung von Testfällen kann zeitaufwendig</a:t>
            </a:r>
            <a:br>
              <a:rPr lang="de-DE" sz="1200" dirty="0"/>
            </a:br>
            <a:r>
              <a:rPr lang="de-DE" sz="1200" dirty="0"/>
              <a:t>und fehleranfällig sein</a:t>
            </a:r>
          </a:p>
          <a:p>
            <a:pPr marL="215900" lvl="1" indent="-215900">
              <a:lnSpc>
                <a:spcPct val="95000"/>
              </a:lnSpc>
              <a:spcAft>
                <a:spcPts val="200"/>
              </a:spcAft>
            </a:pPr>
            <a:r>
              <a:rPr lang="de-DE" sz="1200" b="1" dirty="0"/>
              <a:t>Skalierbarkeit: </a:t>
            </a:r>
            <a:r>
              <a:rPr lang="de-DE" sz="1200" dirty="0"/>
              <a:t>Schwierigkeiten bei der Skalierung </a:t>
            </a:r>
            <a:br>
              <a:rPr lang="de-DE" sz="1200" dirty="0"/>
            </a:br>
            <a:r>
              <a:rPr lang="de-DE" sz="1200" dirty="0"/>
              <a:t>von Testprozessen in großen Projekten</a:t>
            </a:r>
          </a:p>
          <a:p>
            <a:pPr marL="215900" lvl="1" indent="-215900">
              <a:lnSpc>
                <a:spcPct val="95000"/>
              </a:lnSpc>
              <a:spcAft>
                <a:spcPts val="200"/>
              </a:spcAft>
            </a:pPr>
            <a:r>
              <a:rPr lang="de-DE" sz="1200" b="1" dirty="0"/>
              <a:t>Qualitätssicherung: </a:t>
            </a:r>
            <a:r>
              <a:rPr lang="de-DE" sz="1200" dirty="0"/>
              <a:t>Sicherstellung der Konsistenz </a:t>
            </a:r>
            <a:br>
              <a:rPr lang="de-DE" sz="1200" dirty="0"/>
            </a:br>
            <a:r>
              <a:rPr lang="de-DE" sz="1200" dirty="0"/>
              <a:t>und Vollständigkeit der Tests</a:t>
            </a:r>
          </a:p>
          <a:p>
            <a:pPr marL="0" lvl="1" indent="0">
              <a:lnSpc>
                <a:spcPct val="95000"/>
              </a:lnSpc>
              <a:spcAft>
                <a:spcPts val="200"/>
              </a:spcAft>
              <a:buClr>
                <a:srgbClr val="A01441"/>
              </a:buClr>
              <a:buNone/>
            </a:pPr>
            <a:endParaRPr lang="de-DE" sz="1200" dirty="0"/>
          </a:p>
          <a:p>
            <a:pPr>
              <a:lnSpc>
                <a:spcPct val="95000"/>
              </a:lnSpc>
              <a:spcAft>
                <a:spcPts val="200"/>
              </a:spcAft>
            </a:pPr>
            <a:endParaRPr lang="de-DE" sz="1400" dirty="0"/>
          </a:p>
        </p:txBody>
      </p:sp>
      <p:sp>
        <p:nvSpPr>
          <p:cNvPr id="26" name="Textfeld 25">
            <a:extLst>
              <a:ext uri="{FF2B5EF4-FFF2-40B4-BE49-F238E27FC236}">
                <a16:creationId xmlns:a16="http://schemas.microsoft.com/office/drawing/2014/main" id="{4D229239-6E3D-F25E-DBA5-BAA1043385F1}"/>
              </a:ext>
            </a:extLst>
          </p:cNvPr>
          <p:cNvSpPr txBox="1"/>
          <p:nvPr>
            <p:custDataLst>
              <p:tags r:id="rId4"/>
            </p:custDataLst>
          </p:nvPr>
        </p:nvSpPr>
        <p:spPr>
          <a:xfrm>
            <a:off x="5227890" y="1768083"/>
            <a:ext cx="3885971" cy="207327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sz="1400" b="1" dirty="0"/>
              <a:t>Ihr Nutzen</a:t>
            </a:r>
          </a:p>
          <a:p>
            <a:pPr marL="215900" lvl="1" indent="-215900">
              <a:lnSpc>
                <a:spcPct val="95000"/>
              </a:lnSpc>
              <a:spcAft>
                <a:spcPts val="200"/>
              </a:spcAft>
            </a:pPr>
            <a:r>
              <a:rPr lang="de-DE" sz="1200" b="1" dirty="0"/>
              <a:t>Effizienzsteigerung: </a:t>
            </a:r>
            <a:r>
              <a:rPr lang="de-DE" sz="1200" dirty="0"/>
              <a:t>Reduzierung des Zeit-</a:t>
            </a:r>
            <a:br>
              <a:rPr lang="de-DE" sz="1200" dirty="0"/>
            </a:br>
            <a:r>
              <a:rPr lang="de-DE" sz="1200" dirty="0" err="1"/>
              <a:t>aufwands</a:t>
            </a:r>
            <a:r>
              <a:rPr lang="de-DE" sz="1200" dirty="0"/>
              <a:t> für die Erstellung und Verwaltung von Testfällen</a:t>
            </a:r>
          </a:p>
          <a:p>
            <a:pPr marL="215900" lvl="1" indent="-215900">
              <a:lnSpc>
                <a:spcPct val="95000"/>
              </a:lnSpc>
              <a:spcAft>
                <a:spcPts val="200"/>
              </a:spcAft>
            </a:pPr>
            <a:r>
              <a:rPr lang="de-DE" sz="1200" b="1" dirty="0"/>
              <a:t>Kostenersparnis: </a:t>
            </a:r>
            <a:r>
              <a:rPr lang="de-DE" sz="1200" dirty="0"/>
              <a:t>Senkung der Kosten durch Automatisierung und Optimierung der Testprozesse</a:t>
            </a:r>
          </a:p>
          <a:p>
            <a:pPr marL="215900" lvl="1" indent="-215900">
              <a:lnSpc>
                <a:spcPct val="95000"/>
              </a:lnSpc>
              <a:spcAft>
                <a:spcPts val="200"/>
              </a:spcAft>
            </a:pPr>
            <a:r>
              <a:rPr lang="de-DE" sz="1200" b="1" dirty="0"/>
              <a:t>Verbesserte Qualität:</a:t>
            </a:r>
            <a:r>
              <a:rPr lang="de-DE" sz="1200" dirty="0"/>
              <a:t> Erhöhung der Testabdeckung und Sicherstellung der Konsistenz und Vollständigkeit der Tests</a:t>
            </a:r>
          </a:p>
        </p:txBody>
      </p:sp>
      <p:sp>
        <p:nvSpPr>
          <p:cNvPr id="28" name="Textfeld 27">
            <a:extLst>
              <a:ext uri="{FF2B5EF4-FFF2-40B4-BE49-F238E27FC236}">
                <a16:creationId xmlns:a16="http://schemas.microsoft.com/office/drawing/2014/main" id="{BE848B66-A370-EF13-E253-547D34D6448C}"/>
              </a:ext>
            </a:extLst>
          </p:cNvPr>
          <p:cNvSpPr txBox="1"/>
          <p:nvPr>
            <p:custDataLst>
              <p:tags r:id="rId5"/>
            </p:custDataLst>
          </p:nvPr>
        </p:nvSpPr>
        <p:spPr>
          <a:xfrm>
            <a:off x="653195" y="4113388"/>
            <a:ext cx="4490500" cy="210624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sz="1400" b="1" dirty="0"/>
              <a:t>Unser Angebot</a:t>
            </a:r>
          </a:p>
          <a:p>
            <a:pPr marL="215900" lvl="1" indent="-215900">
              <a:lnSpc>
                <a:spcPct val="95000"/>
              </a:lnSpc>
              <a:spcAft>
                <a:spcPts val="200"/>
              </a:spcAft>
            </a:pPr>
            <a:r>
              <a:rPr lang="de-DE" sz="1200" b="1" dirty="0"/>
              <a:t>Automatisierte Testfallgenerierung: </a:t>
            </a:r>
            <a:r>
              <a:rPr lang="de-DE" sz="1200" dirty="0"/>
              <a:t>Nutzung </a:t>
            </a:r>
            <a:br>
              <a:rPr lang="de-DE" sz="1200" dirty="0"/>
            </a:br>
            <a:r>
              <a:rPr lang="de-DE" sz="1200" dirty="0"/>
              <a:t>von KI zur automatischen Erstellung von Test-</a:t>
            </a:r>
            <a:br>
              <a:rPr lang="de-DE" sz="1200" dirty="0"/>
            </a:br>
            <a:r>
              <a:rPr lang="de-DE" sz="1200" dirty="0"/>
              <a:t>fällen basierend auf den Anforderungen</a:t>
            </a:r>
          </a:p>
          <a:p>
            <a:pPr marL="215900" lvl="1" indent="-215900">
              <a:lnSpc>
                <a:spcPct val="95000"/>
              </a:lnSpc>
              <a:spcAft>
                <a:spcPts val="200"/>
              </a:spcAft>
            </a:pPr>
            <a:r>
              <a:rPr lang="de-DE" sz="1200" b="1" dirty="0"/>
              <a:t>Integration: </a:t>
            </a:r>
            <a:r>
              <a:rPr lang="de-DE" sz="1200" dirty="0"/>
              <a:t>Nahtlose Integration mit bestehenden </a:t>
            </a:r>
            <a:br>
              <a:rPr lang="de-DE" sz="1200" dirty="0"/>
            </a:br>
            <a:r>
              <a:rPr lang="de-DE" sz="1200" dirty="0"/>
              <a:t>CI/CD-Pipelines und Testmanagement-Tools</a:t>
            </a:r>
          </a:p>
          <a:p>
            <a:pPr marL="215900" lvl="1" indent="-215900">
              <a:lnSpc>
                <a:spcPct val="95000"/>
              </a:lnSpc>
              <a:spcAft>
                <a:spcPts val="200"/>
              </a:spcAft>
            </a:pPr>
            <a:r>
              <a:rPr lang="de-DE" sz="1200" b="1" dirty="0"/>
              <a:t>Berichterstattung: </a:t>
            </a:r>
            <a:r>
              <a:rPr lang="de-DE" sz="1200" dirty="0"/>
              <a:t>Detaillierte Berichte und Analysen </a:t>
            </a:r>
            <a:br>
              <a:rPr lang="de-DE" sz="1200" dirty="0"/>
            </a:br>
            <a:r>
              <a:rPr lang="de-DE" sz="1200" dirty="0"/>
              <a:t>zur Testabdeckung und -leistung</a:t>
            </a:r>
          </a:p>
          <a:p>
            <a:pPr>
              <a:lnSpc>
                <a:spcPct val="95000"/>
              </a:lnSpc>
              <a:spcAft>
                <a:spcPts val="200"/>
              </a:spcAft>
            </a:pPr>
            <a:endParaRPr lang="de-DE" sz="1400" dirty="0"/>
          </a:p>
        </p:txBody>
      </p:sp>
      <p:sp>
        <p:nvSpPr>
          <p:cNvPr id="30" name="Textfeld 29">
            <a:extLst>
              <a:ext uri="{FF2B5EF4-FFF2-40B4-BE49-F238E27FC236}">
                <a16:creationId xmlns:a16="http://schemas.microsoft.com/office/drawing/2014/main" id="{17F48697-DD1E-34E7-A02E-81523E636669}"/>
              </a:ext>
            </a:extLst>
          </p:cNvPr>
          <p:cNvSpPr txBox="1"/>
          <p:nvPr>
            <p:custDataLst>
              <p:tags r:id="rId6"/>
            </p:custDataLst>
          </p:nvPr>
        </p:nvSpPr>
        <p:spPr>
          <a:xfrm>
            <a:off x="5227890" y="4113388"/>
            <a:ext cx="3778873" cy="91440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dirty="0"/>
              <a:t>Unsere Partner und Referenzen</a:t>
            </a:r>
            <a:endParaRPr lang="en-US" dirty="0"/>
          </a:p>
          <a:p>
            <a:pPr marL="215900" lvl="1" indent="-215900">
              <a:lnSpc>
                <a:spcPct val="95000"/>
              </a:lnSpc>
              <a:spcAft>
                <a:spcPts val="200"/>
              </a:spcAft>
              <a:buClr>
                <a:srgbClr val="A01441"/>
              </a:buClr>
            </a:pPr>
            <a:r>
              <a:rPr lang="de-DE" sz="1200" dirty="0" err="1"/>
              <a:t>TollCollect</a:t>
            </a:r>
            <a:endParaRPr lang="de-DE" sz="1200" dirty="0"/>
          </a:p>
          <a:p>
            <a:pPr marL="215900" lvl="1" indent="-215900">
              <a:lnSpc>
                <a:spcPct val="95000"/>
              </a:lnSpc>
              <a:spcAft>
                <a:spcPts val="200"/>
              </a:spcAft>
              <a:buClr>
                <a:srgbClr val="A01441"/>
              </a:buClr>
            </a:pPr>
            <a:r>
              <a:rPr lang="de-DE" sz="1200" dirty="0"/>
              <a:t>AUDI</a:t>
            </a:r>
          </a:p>
        </p:txBody>
      </p:sp>
      <p:grpSp>
        <p:nvGrpSpPr>
          <p:cNvPr id="4" name="Gruppieren 3">
            <a:extLst>
              <a:ext uri="{FF2B5EF4-FFF2-40B4-BE49-F238E27FC236}">
                <a16:creationId xmlns:a16="http://schemas.microsoft.com/office/drawing/2014/main" id="{C9E586E8-FAFD-6AC8-2041-2D1415B1DC85}"/>
              </a:ext>
            </a:extLst>
          </p:cNvPr>
          <p:cNvGrpSpPr/>
          <p:nvPr/>
        </p:nvGrpSpPr>
        <p:grpSpPr>
          <a:xfrm>
            <a:off x="4138804" y="1771450"/>
            <a:ext cx="703694" cy="703694"/>
            <a:chOff x="3460071" y="1779904"/>
            <a:chExt cx="869145" cy="869145"/>
          </a:xfrm>
        </p:grpSpPr>
        <p:sp>
          <p:nvSpPr>
            <p:cNvPr id="5" name="Kreis: nicht ausgefüllt 4">
              <a:extLst>
                <a:ext uri="{FF2B5EF4-FFF2-40B4-BE49-F238E27FC236}">
                  <a16:creationId xmlns:a16="http://schemas.microsoft.com/office/drawing/2014/main" id="{80A82CCD-9220-D631-3C4A-71891A9BD2AE}"/>
                </a:ext>
              </a:extLst>
            </p:cNvPr>
            <p:cNvSpPr/>
            <p:nvPr>
              <p:custDataLst>
                <p:tags r:id="rId10"/>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6" name="Grafik 5">
              <a:extLst>
                <a:ext uri="{FF2B5EF4-FFF2-40B4-BE49-F238E27FC236}">
                  <a16:creationId xmlns:a16="http://schemas.microsoft.com/office/drawing/2014/main" id="{3F26F57B-BED3-1B58-C154-73E3FB278C52}"/>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96632" y="1796942"/>
              <a:ext cx="809625" cy="809625"/>
            </a:xfrm>
            <a:prstGeom prst="rect">
              <a:avLst/>
            </a:prstGeom>
          </p:spPr>
        </p:pic>
      </p:grpSp>
      <p:grpSp>
        <p:nvGrpSpPr>
          <p:cNvPr id="7" name="Gruppieren 6">
            <a:extLst>
              <a:ext uri="{FF2B5EF4-FFF2-40B4-BE49-F238E27FC236}">
                <a16:creationId xmlns:a16="http://schemas.microsoft.com/office/drawing/2014/main" id="{54A71BF1-8F3C-8BB6-00FA-E7BEEC7382BB}"/>
              </a:ext>
            </a:extLst>
          </p:cNvPr>
          <p:cNvGrpSpPr/>
          <p:nvPr/>
        </p:nvGrpSpPr>
        <p:grpSpPr>
          <a:xfrm>
            <a:off x="8761542" y="4103379"/>
            <a:ext cx="703694" cy="703694"/>
            <a:chOff x="8575325" y="4111833"/>
            <a:chExt cx="869145" cy="869145"/>
          </a:xfrm>
        </p:grpSpPr>
        <p:sp>
          <p:nvSpPr>
            <p:cNvPr id="9" name="Kreis: nicht ausgefüllt 8">
              <a:extLst>
                <a:ext uri="{FF2B5EF4-FFF2-40B4-BE49-F238E27FC236}">
                  <a16:creationId xmlns:a16="http://schemas.microsoft.com/office/drawing/2014/main" id="{BABD8BDE-F899-CE76-2326-2F23D89F1298}"/>
                </a:ext>
              </a:extLst>
            </p:cNvPr>
            <p:cNvSpPr/>
            <p:nvPr>
              <p:custDataLst>
                <p:tags r:id="rId9"/>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1" name="Grafik 10">
              <a:extLst>
                <a:ext uri="{FF2B5EF4-FFF2-40B4-BE49-F238E27FC236}">
                  <a16:creationId xmlns:a16="http://schemas.microsoft.com/office/drawing/2014/main" id="{7F93FF18-FD66-93AD-0632-FE3D1D263534}"/>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8608010" y="4171353"/>
              <a:ext cx="809625" cy="809625"/>
            </a:xfrm>
            <a:prstGeom prst="rect">
              <a:avLst/>
            </a:prstGeom>
          </p:spPr>
        </p:pic>
      </p:grpSp>
      <p:grpSp>
        <p:nvGrpSpPr>
          <p:cNvPr id="13" name="Gruppieren 12">
            <a:extLst>
              <a:ext uri="{FF2B5EF4-FFF2-40B4-BE49-F238E27FC236}">
                <a16:creationId xmlns:a16="http://schemas.microsoft.com/office/drawing/2014/main" id="{656794AC-726E-F8EA-DA12-A528605A6AE7}"/>
              </a:ext>
            </a:extLst>
          </p:cNvPr>
          <p:cNvGrpSpPr/>
          <p:nvPr/>
        </p:nvGrpSpPr>
        <p:grpSpPr>
          <a:xfrm>
            <a:off x="4138804" y="4103379"/>
            <a:ext cx="703694" cy="703694"/>
            <a:chOff x="3460071" y="4111833"/>
            <a:chExt cx="869145" cy="869145"/>
          </a:xfrm>
        </p:grpSpPr>
        <p:sp>
          <p:nvSpPr>
            <p:cNvPr id="15" name="Kreis: nicht ausgefüllt 14">
              <a:extLst>
                <a:ext uri="{FF2B5EF4-FFF2-40B4-BE49-F238E27FC236}">
                  <a16:creationId xmlns:a16="http://schemas.microsoft.com/office/drawing/2014/main" id="{9C9B10C9-4180-7654-DC42-DBF6F8BC640A}"/>
                </a:ext>
              </a:extLst>
            </p:cNvPr>
            <p:cNvSpPr/>
            <p:nvPr>
              <p:custDataLst>
                <p:tags r:id="rId8"/>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7" name="Grafik 16">
              <a:extLst>
                <a:ext uri="{FF2B5EF4-FFF2-40B4-BE49-F238E27FC236}">
                  <a16:creationId xmlns:a16="http://schemas.microsoft.com/office/drawing/2014/main" id="{B4613DAE-6CC2-3B04-2B54-DDC296DF5F58}"/>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489830" y="4141593"/>
              <a:ext cx="809625" cy="809625"/>
            </a:xfrm>
            <a:prstGeom prst="rect">
              <a:avLst/>
            </a:prstGeom>
          </p:spPr>
        </p:pic>
      </p:grpSp>
      <p:grpSp>
        <p:nvGrpSpPr>
          <p:cNvPr id="18" name="Gruppieren 17">
            <a:extLst>
              <a:ext uri="{FF2B5EF4-FFF2-40B4-BE49-F238E27FC236}">
                <a16:creationId xmlns:a16="http://schemas.microsoft.com/office/drawing/2014/main" id="{66599728-6E29-28E6-CD80-41232440D9A3}"/>
              </a:ext>
            </a:extLst>
          </p:cNvPr>
          <p:cNvGrpSpPr/>
          <p:nvPr/>
        </p:nvGrpSpPr>
        <p:grpSpPr>
          <a:xfrm>
            <a:off x="8761541" y="1771450"/>
            <a:ext cx="703694" cy="703694"/>
            <a:chOff x="7459565" y="1779904"/>
            <a:chExt cx="869145" cy="869145"/>
          </a:xfrm>
        </p:grpSpPr>
        <p:sp>
          <p:nvSpPr>
            <p:cNvPr id="19" name="Kreis: nicht ausgefüllt 18">
              <a:extLst>
                <a:ext uri="{FF2B5EF4-FFF2-40B4-BE49-F238E27FC236}">
                  <a16:creationId xmlns:a16="http://schemas.microsoft.com/office/drawing/2014/main" id="{024ABC42-321A-9637-F375-EE2DA4A9C151}"/>
                </a:ext>
              </a:extLst>
            </p:cNvPr>
            <p:cNvSpPr/>
            <p:nvPr>
              <p:custDataLst>
                <p:tags r:id="rId7"/>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21" name="Grafik 20">
              <a:extLst>
                <a:ext uri="{FF2B5EF4-FFF2-40B4-BE49-F238E27FC236}">
                  <a16:creationId xmlns:a16="http://schemas.microsoft.com/office/drawing/2014/main" id="{690A74EF-972B-6764-2B70-C5C965486ADB}"/>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7493685" y="1797686"/>
              <a:ext cx="809625" cy="809625"/>
            </a:xfrm>
            <a:prstGeom prst="rect">
              <a:avLst/>
            </a:prstGeom>
          </p:spPr>
        </p:pic>
      </p:grpSp>
      <p:sp>
        <p:nvSpPr>
          <p:cNvPr id="2" name="TextBox 1">
            <a:extLst>
              <a:ext uri="{FF2B5EF4-FFF2-40B4-BE49-F238E27FC236}">
                <a16:creationId xmlns:a16="http://schemas.microsoft.com/office/drawing/2014/main" id="{ACC130B0-02B1-CC15-8429-D485633952AA}"/>
              </a:ext>
            </a:extLst>
          </p:cNvPr>
          <p:cNvSpPr txBox="1"/>
          <p:nvPr/>
        </p:nvSpPr>
        <p:spPr>
          <a:xfrm>
            <a:off x="9917228" y="2333163"/>
            <a:ext cx="1948103" cy="2308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de-DE"/>
            </a:defPPr>
            <a:lvl1pPr algn="ctr">
              <a:defRPr sz="1500" b="1"/>
            </a:lvl1pPr>
          </a:lstStyle>
          <a:p>
            <a:r>
              <a:rPr lang="en-US" dirty="0"/>
              <a:t>msg.TestCaseGen.ai</a:t>
            </a:r>
          </a:p>
        </p:txBody>
      </p:sp>
    </p:spTree>
    <p:extLst>
      <p:ext uri="{BB962C8B-B14F-4D97-AF65-F5344CB8AC3E}">
        <p14:creationId xmlns:p14="http://schemas.microsoft.com/office/powerpoint/2010/main" val="401224520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 name="Grafik 92" descr="Ein Bild, das Wasser, Landschaft, Natur, Baum enthält.&#10;&#10;Automatisch generierte Beschreibung">
            <a:extLst>
              <a:ext uri="{FF2B5EF4-FFF2-40B4-BE49-F238E27FC236}">
                <a16:creationId xmlns:a16="http://schemas.microsoft.com/office/drawing/2014/main" id="{7173CB58-C466-2C5D-03EC-F921AE49047B}"/>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5871" y="-16575"/>
            <a:ext cx="12215290" cy="6874575"/>
          </a:xfrm>
          <a:prstGeom prst="rect">
            <a:avLst/>
          </a:prstGeom>
        </p:spPr>
      </p:pic>
      <p:sp>
        <p:nvSpPr>
          <p:cNvPr id="80" name="Rechteck 79">
            <a:extLst>
              <a:ext uri="{FF2B5EF4-FFF2-40B4-BE49-F238E27FC236}">
                <a16:creationId xmlns:a16="http://schemas.microsoft.com/office/drawing/2014/main" id="{33AA7F34-1680-C33D-26D6-10B325F221CE}"/>
              </a:ext>
            </a:extLst>
          </p:cNvPr>
          <p:cNvSpPr/>
          <p:nvPr/>
        </p:nvSpPr>
        <p:spPr>
          <a:xfrm>
            <a:off x="-5871" y="0"/>
            <a:ext cx="12192000" cy="6877050"/>
          </a:xfrm>
          <a:prstGeom prst="rect">
            <a:avLst/>
          </a:prstGeom>
          <a:gradFill flip="none" rotWithShape="1">
            <a:gsLst>
              <a:gs pos="0">
                <a:schemeClr val="tx1">
                  <a:alpha val="0"/>
                </a:schemeClr>
              </a:gs>
              <a:gs pos="68000">
                <a:schemeClr val="tx1">
                  <a:alpha val="35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Fußzeilenplatzhalter 1">
            <a:extLst>
              <a:ext uri="{FF2B5EF4-FFF2-40B4-BE49-F238E27FC236}">
                <a16:creationId xmlns:a16="http://schemas.microsoft.com/office/drawing/2014/main" id="{5F372483-FDDD-1544-32CD-745CC15B5DD8}"/>
              </a:ext>
            </a:extLst>
          </p:cNvPr>
          <p:cNvSpPr>
            <a:spLocks noGrp="1"/>
          </p:cNvSpPr>
          <p:nvPr>
            <p:ph type="ftr" sz="quarter" idx="10"/>
          </p:nvPr>
        </p:nvSpPr>
        <p:spPr/>
        <p:txBody>
          <a:bodyPr/>
          <a:lstStyle/>
          <a:p>
            <a:r>
              <a:rPr lang="de-DE">
                <a:solidFill>
                  <a:schemeClr val="bg1"/>
                </a:solidFill>
              </a:rPr>
              <a:t>© msg systems ag | 2026 | msg-Unternehmenspräsentation</a:t>
            </a: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p:txBody>
          <a:bodyPr/>
          <a:lstStyle/>
          <a:p>
            <a:fld id="{B27B0579-4238-4E44-9A9E-134B676F827C}" type="slidenum">
              <a:rPr lang="de-DE" smtClean="0">
                <a:solidFill>
                  <a:schemeClr val="bg1"/>
                </a:solidFill>
              </a:rPr>
              <a:pPr/>
              <a:t>46</a:t>
            </a:fld>
            <a:endParaRPr lang="de-DE">
              <a:solidFill>
                <a:schemeClr val="bg1"/>
              </a:solidFill>
            </a:endParaRPr>
          </a:p>
        </p:txBody>
      </p:sp>
      <p:sp>
        <p:nvSpPr>
          <p:cNvPr id="5" name="Diagonal liegende Ecken des Rechtecks abrunden 4">
            <a:extLst>
              <a:ext uri="{FF2B5EF4-FFF2-40B4-BE49-F238E27FC236}">
                <a16:creationId xmlns:a16="http://schemas.microsoft.com/office/drawing/2014/main" id="{9634DA1D-D56B-E51E-20A2-BFE902703A5D}"/>
              </a:ext>
            </a:extLst>
          </p:cNvPr>
          <p:cNvSpPr/>
          <p:nvPr/>
        </p:nvSpPr>
        <p:spPr>
          <a:xfrm flipV="1">
            <a:off x="623888" y="4136083"/>
            <a:ext cx="10393243" cy="2047329"/>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0" name="Titel 1">
            <a:extLst>
              <a:ext uri="{FF2B5EF4-FFF2-40B4-BE49-F238E27FC236}">
                <a16:creationId xmlns:a16="http://schemas.microsoft.com/office/drawing/2014/main" id="{1CD63F4E-FFCD-EA36-161A-DA16AFA675A4}"/>
              </a:ext>
            </a:extLst>
          </p:cNvPr>
          <p:cNvSpPr txBox="1">
            <a:spLocks/>
          </p:cNvSpPr>
          <p:nvPr/>
        </p:nvSpPr>
        <p:spPr>
          <a:xfrm>
            <a:off x="1239312" y="4871090"/>
            <a:ext cx="9777819"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a:solidFill>
                  <a:schemeClr val="tx1"/>
                </a:solidFill>
                <a:latin typeface="+mn-lt"/>
              </a:rPr>
              <a:t>Digitalisierung als zentraler </a:t>
            </a:r>
          </a:p>
          <a:p>
            <a:pPr>
              <a:buClrTx/>
            </a:pPr>
            <a:r>
              <a:rPr lang="de-DE" sz="4300">
                <a:solidFill>
                  <a:schemeClr val="tx1"/>
                </a:solidFill>
                <a:latin typeface="+mn-lt"/>
              </a:rPr>
              <a:t>Schlüssel für Nachhaltigkeit und ESG</a:t>
            </a:r>
          </a:p>
        </p:txBody>
      </p:sp>
      <p:sp>
        <p:nvSpPr>
          <p:cNvPr id="12" name="Untertitel 2">
            <a:extLst>
              <a:ext uri="{FF2B5EF4-FFF2-40B4-BE49-F238E27FC236}">
                <a16:creationId xmlns:a16="http://schemas.microsoft.com/office/drawing/2014/main" id="{19672157-5311-EAAA-C637-9E9262E6B5E7}"/>
              </a:ext>
            </a:extLst>
          </p:cNvPr>
          <p:cNvSpPr txBox="1">
            <a:spLocks/>
          </p:cNvSpPr>
          <p:nvPr/>
        </p:nvSpPr>
        <p:spPr>
          <a:xfrm>
            <a:off x="1266181" y="4472110"/>
            <a:ext cx="9750950"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a:ln>
                  <a:noFill/>
                </a:ln>
                <a:effectLst/>
                <a:uLnTx/>
                <a:uFillTx/>
                <a:cs typeface="Calibri Light"/>
              </a:rPr>
              <a:t>Mehrwert für unsere Kunden</a:t>
            </a:r>
          </a:p>
        </p:txBody>
      </p:sp>
      <p:sp>
        <p:nvSpPr>
          <p:cNvPr id="13" name="Ellipse 13">
            <a:extLst>
              <a:ext uri="{FF2B5EF4-FFF2-40B4-BE49-F238E27FC236}">
                <a16:creationId xmlns:a16="http://schemas.microsoft.com/office/drawing/2014/main" id="{E2FBD26C-5D0C-DD94-8E69-1D83982379FA}"/>
              </a:ext>
            </a:extLst>
          </p:cNvPr>
          <p:cNvSpPr/>
          <p:nvPr/>
        </p:nvSpPr>
        <p:spPr>
          <a:xfrm>
            <a:off x="790715" y="4450536"/>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5</a:t>
            </a:r>
          </a:p>
        </p:txBody>
      </p:sp>
      <p:pic>
        <p:nvPicPr>
          <p:cNvPr id="6" name="Grafik 5">
            <a:extLst>
              <a:ext uri="{FF2B5EF4-FFF2-40B4-BE49-F238E27FC236}">
                <a16:creationId xmlns:a16="http://schemas.microsoft.com/office/drawing/2014/main" id="{E5BC3078-9380-7F7F-2EB5-F1D463E0B5E3}"/>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3218598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D7088C15-32F8-4808-F6C6-5A1B578C2FC5}"/>
              </a:ext>
            </a:extLst>
          </p:cNvPr>
          <p:cNvPicPr>
            <a:picLocks noChangeAspect="1"/>
          </p:cNvPicPr>
          <p:nvPr/>
        </p:nvPicPr>
        <p:blipFill>
          <a:blip r:embed="rId4"/>
          <a:srcRect/>
          <a:stretch/>
        </p:blipFill>
        <p:spPr>
          <a:xfrm>
            <a:off x="623888" y="2311232"/>
            <a:ext cx="5288362" cy="2770582"/>
          </a:xfrm>
          <a:prstGeom prst="rect">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534B2BB7-BD7F-A1B5-3A29-B33C25C9BAE9}"/>
              </a:ext>
            </a:extLst>
          </p:cNvPr>
          <p:cNvSpPr>
            <a:spLocks noGrp="1"/>
          </p:cNvSpPr>
          <p:nvPr>
            <p:ph type="body" sz="quarter" idx="12"/>
          </p:nvPr>
        </p:nvSpPr>
        <p:spPr/>
        <p:txBody>
          <a:bodyPr/>
          <a:lstStyle/>
          <a:p>
            <a:r>
              <a:rPr lang="de-DE"/>
              <a:t>Digitalisierung als zentraler Schlüssel für Nachhaltigkeit und ESG</a:t>
            </a:r>
          </a:p>
        </p:txBody>
      </p:sp>
      <p:sp>
        <p:nvSpPr>
          <p:cNvPr id="4" name="Titel 3">
            <a:extLst>
              <a:ext uri="{FF2B5EF4-FFF2-40B4-BE49-F238E27FC236}">
                <a16:creationId xmlns:a16="http://schemas.microsoft.com/office/drawing/2014/main" id="{C4438A09-170C-DB9D-FC1E-94F48D3AA6CC}"/>
              </a:ext>
            </a:extLst>
          </p:cNvPr>
          <p:cNvSpPr>
            <a:spLocks noGrp="1"/>
          </p:cNvSpPr>
          <p:nvPr>
            <p:ph type="title"/>
          </p:nvPr>
        </p:nvSpPr>
        <p:spPr/>
        <p:txBody>
          <a:bodyPr/>
          <a:lstStyle/>
          <a:p>
            <a:r>
              <a:rPr lang="de-DE" b="1" dirty="0"/>
              <a:t>Nachhaltigkeit und ESG im Fokus:</a:t>
            </a:r>
            <a:br>
              <a:rPr lang="de-DE" dirty="0"/>
            </a:br>
            <a:r>
              <a:rPr lang="de-DE" dirty="0"/>
              <a:t>Wir bieten unsere Kunden eine E2E-Unterstützung</a:t>
            </a:r>
          </a:p>
        </p:txBody>
      </p:sp>
      <p:sp>
        <p:nvSpPr>
          <p:cNvPr id="2" name="Fußzeilenplatzhalter 1">
            <a:extLst>
              <a:ext uri="{FF2B5EF4-FFF2-40B4-BE49-F238E27FC236}">
                <a16:creationId xmlns:a16="http://schemas.microsoft.com/office/drawing/2014/main" id="{CA6685D8-E297-0A7D-4D3B-3250A9DF66CA}"/>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47</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497837" y="2069466"/>
            <a:ext cx="5340140"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a:cs typeface="Calibri"/>
              </a:rPr>
              <a:t>Regulatorik | Wir sorgen für eine vollständige Erfassung der regulatorischen ESG-Anforderungen.</a:t>
            </a:r>
          </a:p>
        </p:txBody>
      </p:sp>
      <p:sp>
        <p:nvSpPr>
          <p:cNvPr id="16" name="Oval 15">
            <a:extLst>
              <a:ext uri="{FF2B5EF4-FFF2-40B4-BE49-F238E27FC236}">
                <a16:creationId xmlns:a16="http://schemas.microsoft.com/office/drawing/2014/main" id="{EFA575AD-93D6-1694-427E-2954B668EC1D}"/>
              </a:ext>
            </a:extLst>
          </p:cNvPr>
          <p:cNvSpPr/>
          <p:nvPr/>
        </p:nvSpPr>
        <p:spPr>
          <a:xfrm>
            <a:off x="6397952" y="3396640"/>
            <a:ext cx="577121" cy="577121"/>
          </a:xfrm>
          <a:prstGeom prst="ellipse">
            <a:avLst/>
          </a:prstGeom>
          <a:solidFill>
            <a:schemeClr val="bg1">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8" name="Oval 17">
            <a:extLst>
              <a:ext uri="{FF2B5EF4-FFF2-40B4-BE49-F238E27FC236}">
                <a16:creationId xmlns:a16="http://schemas.microsoft.com/office/drawing/2014/main" id="{117B5022-16E2-C428-42F3-D6D9781E9198}"/>
              </a:ext>
            </a:extLst>
          </p:cNvPr>
          <p:cNvSpPr/>
          <p:nvPr/>
        </p:nvSpPr>
        <p:spPr>
          <a:xfrm>
            <a:off x="6238354" y="4149118"/>
            <a:ext cx="577121" cy="577121"/>
          </a:xfrm>
          <a:prstGeom prst="ellipse">
            <a:avLst/>
          </a:prstGeom>
          <a:solidFill>
            <a:schemeClr val="bg1">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9" name="Oval 18">
            <a:extLst>
              <a:ext uri="{FF2B5EF4-FFF2-40B4-BE49-F238E27FC236}">
                <a16:creationId xmlns:a16="http://schemas.microsoft.com/office/drawing/2014/main" id="{3A804382-CAE7-364A-9CD3-DC176660D9F4}"/>
              </a:ext>
            </a:extLst>
          </p:cNvPr>
          <p:cNvSpPr/>
          <p:nvPr/>
        </p:nvSpPr>
        <p:spPr>
          <a:xfrm>
            <a:off x="6238354" y="2644162"/>
            <a:ext cx="577121" cy="577121"/>
          </a:xfrm>
          <a:prstGeom prst="ellipse">
            <a:avLst/>
          </a:prstGeom>
          <a:solidFill>
            <a:schemeClr val="bg1">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23" name="Oval 22">
            <a:extLst>
              <a:ext uri="{FF2B5EF4-FFF2-40B4-BE49-F238E27FC236}">
                <a16:creationId xmlns:a16="http://schemas.microsoft.com/office/drawing/2014/main" id="{77645DAC-DC11-5747-88E7-FF83C68546E6}"/>
              </a:ext>
            </a:extLst>
          </p:cNvPr>
          <p:cNvSpPr/>
          <p:nvPr/>
        </p:nvSpPr>
        <p:spPr>
          <a:xfrm>
            <a:off x="5765245" y="2040033"/>
            <a:ext cx="577121" cy="577121"/>
          </a:xfrm>
          <a:prstGeom prst="ellipse">
            <a:avLst/>
          </a:prstGeom>
          <a:solidFill>
            <a:schemeClr val="bg1">
              <a:lumMod val="50000"/>
              <a:alpha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sp>
        <p:nvSpPr>
          <p:cNvPr id="24" name="Oval 23">
            <a:extLst>
              <a:ext uri="{FF2B5EF4-FFF2-40B4-BE49-F238E27FC236}">
                <a16:creationId xmlns:a16="http://schemas.microsoft.com/office/drawing/2014/main" id="{1E7FA8A6-5DAC-8979-6FF5-7E2EC4F2C786}"/>
              </a:ext>
            </a:extLst>
          </p:cNvPr>
          <p:cNvSpPr/>
          <p:nvPr/>
        </p:nvSpPr>
        <p:spPr>
          <a:xfrm>
            <a:off x="5796886" y="4760743"/>
            <a:ext cx="577121" cy="577121"/>
          </a:xfrm>
          <a:prstGeom prst="ellipse">
            <a:avLst/>
          </a:prstGeom>
          <a:solidFill>
            <a:schemeClr val="bg1">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28" name="Textplatzhalter 14">
            <a:extLst>
              <a:ext uri="{FF2B5EF4-FFF2-40B4-BE49-F238E27FC236}">
                <a16:creationId xmlns:a16="http://schemas.microsoft.com/office/drawing/2014/main" id="{3CDCFF25-5E5B-E652-66DB-C24D41654B34}"/>
              </a:ext>
            </a:extLst>
          </p:cNvPr>
          <p:cNvSpPr txBox="1">
            <a:spLocks/>
          </p:cNvSpPr>
          <p:nvPr/>
        </p:nvSpPr>
        <p:spPr>
          <a:xfrm>
            <a:off x="6497837" y="4919758"/>
            <a:ext cx="5340140"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a:cs typeface="Calibri"/>
              </a:rPr>
              <a:t>Wachstumsfelder | Wir setzen auf ESG-Innovationen als Wachstumschance.</a:t>
            </a:r>
          </a:p>
        </p:txBody>
      </p:sp>
      <p:sp>
        <p:nvSpPr>
          <p:cNvPr id="29" name="Textplatzhalter 14">
            <a:extLst>
              <a:ext uri="{FF2B5EF4-FFF2-40B4-BE49-F238E27FC236}">
                <a16:creationId xmlns:a16="http://schemas.microsoft.com/office/drawing/2014/main" id="{44CFB695-FCD0-43B7-39CC-90D0825A51C3}"/>
              </a:ext>
            </a:extLst>
          </p:cNvPr>
          <p:cNvSpPr txBox="1">
            <a:spLocks/>
          </p:cNvSpPr>
          <p:nvPr/>
        </p:nvSpPr>
        <p:spPr>
          <a:xfrm>
            <a:off x="7161035" y="3478136"/>
            <a:ext cx="4676942"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a:cs typeface="Calibri"/>
              </a:rPr>
              <a:t>Nachhaltigkeitsrisiken | Wir gewährleisten ein umfängliches Risikomanagement.</a:t>
            </a:r>
          </a:p>
        </p:txBody>
      </p:sp>
      <p:sp>
        <p:nvSpPr>
          <p:cNvPr id="40" name="Textplatzhalter 14">
            <a:extLst>
              <a:ext uri="{FF2B5EF4-FFF2-40B4-BE49-F238E27FC236}">
                <a16:creationId xmlns:a16="http://schemas.microsoft.com/office/drawing/2014/main" id="{7C46C0C9-45B1-9FEF-7079-EFF677229EFA}"/>
              </a:ext>
            </a:extLst>
          </p:cNvPr>
          <p:cNvSpPr txBox="1">
            <a:spLocks/>
          </p:cNvSpPr>
          <p:nvPr/>
        </p:nvSpPr>
        <p:spPr>
          <a:xfrm>
            <a:off x="6975073" y="4227779"/>
            <a:ext cx="4862903"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a:cs typeface="Calibri"/>
              </a:rPr>
              <a:t>Informationsmanagement | Wir bilden relevante Informationen mit Steuerungswerkzeugen ab.</a:t>
            </a:r>
          </a:p>
        </p:txBody>
      </p:sp>
      <p:sp>
        <p:nvSpPr>
          <p:cNvPr id="41" name="Textplatzhalter 14">
            <a:extLst>
              <a:ext uri="{FF2B5EF4-FFF2-40B4-BE49-F238E27FC236}">
                <a16:creationId xmlns:a16="http://schemas.microsoft.com/office/drawing/2014/main" id="{016D87D3-7EDC-54B6-F905-F094AF32B941}"/>
              </a:ext>
            </a:extLst>
          </p:cNvPr>
          <p:cNvSpPr txBox="1">
            <a:spLocks/>
          </p:cNvSpPr>
          <p:nvPr/>
        </p:nvSpPr>
        <p:spPr>
          <a:xfrm>
            <a:off x="6975073" y="2703779"/>
            <a:ext cx="4881965"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a:cs typeface="Calibri"/>
              </a:rPr>
              <a:t>Nachhaltigkeitsstrategie | Wir stellen eine klare Positionierung gegenüber relevanten Stakeholdern sicher.</a:t>
            </a:r>
          </a:p>
        </p:txBody>
      </p:sp>
      <p:grpSp>
        <p:nvGrpSpPr>
          <p:cNvPr id="194" name="Gruppieren 193">
            <a:extLst>
              <a:ext uri="{FF2B5EF4-FFF2-40B4-BE49-F238E27FC236}">
                <a16:creationId xmlns:a16="http://schemas.microsoft.com/office/drawing/2014/main" id="{EB0F3629-AF54-45D1-63D1-F9D6658131BC}"/>
              </a:ext>
            </a:extLst>
          </p:cNvPr>
          <p:cNvGrpSpPr/>
          <p:nvPr/>
        </p:nvGrpSpPr>
        <p:grpSpPr>
          <a:xfrm>
            <a:off x="6359140" y="2752233"/>
            <a:ext cx="336011" cy="352589"/>
            <a:chOff x="6342371" y="2733367"/>
            <a:chExt cx="362729" cy="380627"/>
          </a:xfrm>
        </p:grpSpPr>
        <p:grpSp>
          <p:nvGrpSpPr>
            <p:cNvPr id="26" name="Grafik 2">
              <a:extLst>
                <a:ext uri="{FF2B5EF4-FFF2-40B4-BE49-F238E27FC236}">
                  <a16:creationId xmlns:a16="http://schemas.microsoft.com/office/drawing/2014/main" id="{2365278D-558D-1A74-2C8D-FA7F3F412D7C}"/>
                </a:ext>
              </a:extLst>
            </p:cNvPr>
            <p:cNvGrpSpPr/>
            <p:nvPr/>
          </p:nvGrpSpPr>
          <p:grpSpPr>
            <a:xfrm>
              <a:off x="6368029" y="2946374"/>
              <a:ext cx="337071" cy="167620"/>
              <a:chOff x="6368029" y="2946374"/>
              <a:chExt cx="337071" cy="167620"/>
            </a:xfrm>
            <a:noFill/>
          </p:grpSpPr>
          <p:sp>
            <p:nvSpPr>
              <p:cNvPr id="27" name="Freihandform: Form 26">
                <a:extLst>
                  <a:ext uri="{FF2B5EF4-FFF2-40B4-BE49-F238E27FC236}">
                    <a16:creationId xmlns:a16="http://schemas.microsoft.com/office/drawing/2014/main" id="{BEBC79FC-4840-48A9-88FE-F2DBDE96D938}"/>
                  </a:ext>
                </a:extLst>
              </p:cNvPr>
              <p:cNvSpPr/>
              <p:nvPr/>
            </p:nvSpPr>
            <p:spPr>
              <a:xfrm>
                <a:off x="6368029" y="2946374"/>
                <a:ext cx="337071" cy="167620"/>
              </a:xfrm>
              <a:custGeom>
                <a:avLst/>
                <a:gdLst>
                  <a:gd name="connsiteX0" fmla="*/ 0 w 337071"/>
                  <a:gd name="connsiteY0" fmla="*/ 0 h 167620"/>
                  <a:gd name="connsiteX1" fmla="*/ 168536 w 337071"/>
                  <a:gd name="connsiteY1" fmla="*/ 167620 h 167620"/>
                  <a:gd name="connsiteX2" fmla="*/ 337072 w 337071"/>
                  <a:gd name="connsiteY2" fmla="*/ 0 h 167620"/>
                  <a:gd name="connsiteX3" fmla="*/ 0 w 337071"/>
                  <a:gd name="connsiteY3" fmla="*/ 0 h 167620"/>
                </a:gdLst>
                <a:ahLst/>
                <a:cxnLst>
                  <a:cxn ang="0">
                    <a:pos x="connsiteX0" y="connsiteY0"/>
                  </a:cxn>
                  <a:cxn ang="0">
                    <a:pos x="connsiteX1" y="connsiteY1"/>
                  </a:cxn>
                  <a:cxn ang="0">
                    <a:pos x="connsiteX2" y="connsiteY2"/>
                  </a:cxn>
                  <a:cxn ang="0">
                    <a:pos x="connsiteX3" y="connsiteY3"/>
                  </a:cxn>
                </a:cxnLst>
                <a:rect l="l" t="t" r="r" b="b"/>
                <a:pathLst>
                  <a:path w="337071" h="167620">
                    <a:moveTo>
                      <a:pt x="0" y="0"/>
                    </a:moveTo>
                    <a:cubicBezTo>
                      <a:pt x="469" y="92653"/>
                      <a:pt x="75739" y="167620"/>
                      <a:pt x="168536" y="167620"/>
                    </a:cubicBezTo>
                    <a:cubicBezTo>
                      <a:pt x="261332" y="167620"/>
                      <a:pt x="336446" y="92653"/>
                      <a:pt x="337072" y="0"/>
                    </a:cubicBezTo>
                    <a:lnTo>
                      <a:pt x="0" y="0"/>
                    </a:lnTo>
                    <a:close/>
                  </a:path>
                </a:pathLst>
              </a:custGeom>
              <a:noFill/>
              <a:ln w="7734" cap="rnd">
                <a:solidFill>
                  <a:schemeClr val="bg1"/>
                </a:solidFill>
                <a:prstDash val="solid"/>
                <a:round/>
              </a:ln>
            </p:spPr>
            <p:txBody>
              <a:bodyPr rtlCol="0" anchor="ctr"/>
              <a:lstStyle/>
              <a:p>
                <a:endParaRPr lang="de-DE"/>
              </a:p>
            </p:txBody>
          </p:sp>
          <p:sp>
            <p:nvSpPr>
              <p:cNvPr id="30" name="Freihandform: Form 29">
                <a:extLst>
                  <a:ext uri="{FF2B5EF4-FFF2-40B4-BE49-F238E27FC236}">
                    <a16:creationId xmlns:a16="http://schemas.microsoft.com/office/drawing/2014/main" id="{6701BB23-E273-A1AA-2F93-7498593C4EA7}"/>
                  </a:ext>
                </a:extLst>
              </p:cNvPr>
              <p:cNvSpPr/>
              <p:nvPr/>
            </p:nvSpPr>
            <p:spPr>
              <a:xfrm>
                <a:off x="6545641" y="2964529"/>
                <a:ext cx="117208" cy="107364"/>
              </a:xfrm>
              <a:custGeom>
                <a:avLst/>
                <a:gdLst>
                  <a:gd name="connsiteX0" fmla="*/ 117208 w 117208"/>
                  <a:gd name="connsiteY0" fmla="*/ 157 h 107364"/>
                  <a:gd name="connsiteX1" fmla="*/ 117208 w 117208"/>
                  <a:gd name="connsiteY1" fmla="*/ 26137 h 107364"/>
                  <a:gd name="connsiteX2" fmla="*/ 113296 w 117208"/>
                  <a:gd name="connsiteY2" fmla="*/ 33962 h 107364"/>
                  <a:gd name="connsiteX3" fmla="*/ 79652 w 117208"/>
                  <a:gd name="connsiteY3" fmla="*/ 59943 h 107364"/>
                  <a:gd name="connsiteX4" fmla="*/ 75896 w 117208"/>
                  <a:gd name="connsiteY4" fmla="*/ 66203 h 107364"/>
                  <a:gd name="connsiteX5" fmla="*/ 70419 w 117208"/>
                  <a:gd name="connsiteY5" fmla="*/ 99070 h 107364"/>
                  <a:gd name="connsiteX6" fmla="*/ 60560 w 117208"/>
                  <a:gd name="connsiteY6" fmla="*/ 107365 h 107364"/>
                  <a:gd name="connsiteX7" fmla="*/ 38339 w 117208"/>
                  <a:gd name="connsiteY7" fmla="*/ 107365 h 107364"/>
                  <a:gd name="connsiteX8" fmla="*/ 29419 w 117208"/>
                  <a:gd name="connsiteY8" fmla="*/ 101887 h 107364"/>
                  <a:gd name="connsiteX9" fmla="*/ 17996 w 117208"/>
                  <a:gd name="connsiteY9" fmla="*/ 79193 h 107364"/>
                  <a:gd name="connsiteX10" fmla="*/ 13145 w 117208"/>
                  <a:gd name="connsiteY10" fmla="*/ 74498 h 107364"/>
                  <a:gd name="connsiteX11" fmla="*/ 6572 w 117208"/>
                  <a:gd name="connsiteY11" fmla="*/ 71524 h 107364"/>
                  <a:gd name="connsiteX12" fmla="*/ 626 w 117208"/>
                  <a:gd name="connsiteY12" fmla="*/ 62916 h 107364"/>
                  <a:gd name="connsiteX13" fmla="*/ 0 w 117208"/>
                  <a:gd name="connsiteY13" fmla="*/ 50865 h 107364"/>
                  <a:gd name="connsiteX14" fmla="*/ 0 w 117208"/>
                  <a:gd name="connsiteY14" fmla="*/ 50396 h 107364"/>
                  <a:gd name="connsiteX15" fmla="*/ 8294 w 117208"/>
                  <a:gd name="connsiteY15" fmla="*/ 40536 h 107364"/>
                  <a:gd name="connsiteX16" fmla="*/ 16588 w 117208"/>
                  <a:gd name="connsiteY16" fmla="*/ 30676 h 107364"/>
                  <a:gd name="connsiteX17" fmla="*/ 16588 w 117208"/>
                  <a:gd name="connsiteY17" fmla="*/ 27232 h 107364"/>
                  <a:gd name="connsiteX18" fmla="*/ 26603 w 117208"/>
                  <a:gd name="connsiteY18" fmla="*/ 17216 h 107364"/>
                  <a:gd name="connsiteX19" fmla="*/ 41156 w 117208"/>
                  <a:gd name="connsiteY19" fmla="*/ 17216 h 107364"/>
                  <a:gd name="connsiteX20" fmla="*/ 50545 w 117208"/>
                  <a:gd name="connsiteY20" fmla="*/ 10799 h 107364"/>
                  <a:gd name="connsiteX21" fmla="*/ 51484 w 117208"/>
                  <a:gd name="connsiteY21" fmla="*/ 0 h 10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7208" h="107364">
                    <a:moveTo>
                      <a:pt x="117208" y="157"/>
                    </a:moveTo>
                    <a:lnTo>
                      <a:pt x="117208" y="26137"/>
                    </a:lnTo>
                    <a:cubicBezTo>
                      <a:pt x="117208" y="29267"/>
                      <a:pt x="115800" y="32084"/>
                      <a:pt x="113296" y="33962"/>
                    </a:cubicBezTo>
                    <a:lnTo>
                      <a:pt x="79652" y="59943"/>
                    </a:lnTo>
                    <a:cubicBezTo>
                      <a:pt x="77617" y="61508"/>
                      <a:pt x="76365" y="63699"/>
                      <a:pt x="75896" y="66203"/>
                    </a:cubicBezTo>
                    <a:lnTo>
                      <a:pt x="70419" y="99070"/>
                    </a:lnTo>
                    <a:cubicBezTo>
                      <a:pt x="69636" y="103921"/>
                      <a:pt x="65411" y="107365"/>
                      <a:pt x="60560" y="107365"/>
                    </a:cubicBezTo>
                    <a:lnTo>
                      <a:pt x="38339" y="107365"/>
                    </a:lnTo>
                    <a:cubicBezTo>
                      <a:pt x="34583" y="107365"/>
                      <a:pt x="31141" y="105173"/>
                      <a:pt x="29419" y="101887"/>
                    </a:cubicBezTo>
                    <a:lnTo>
                      <a:pt x="17996" y="79193"/>
                    </a:lnTo>
                    <a:cubicBezTo>
                      <a:pt x="16901" y="77159"/>
                      <a:pt x="15179" y="75437"/>
                      <a:pt x="13145" y="74498"/>
                    </a:cubicBezTo>
                    <a:lnTo>
                      <a:pt x="6572" y="71524"/>
                    </a:lnTo>
                    <a:cubicBezTo>
                      <a:pt x="3130" y="69959"/>
                      <a:pt x="782" y="66672"/>
                      <a:pt x="626" y="62916"/>
                    </a:cubicBezTo>
                    <a:lnTo>
                      <a:pt x="0" y="50865"/>
                    </a:lnTo>
                    <a:cubicBezTo>
                      <a:pt x="0" y="50709"/>
                      <a:pt x="0" y="50552"/>
                      <a:pt x="0" y="50396"/>
                    </a:cubicBezTo>
                    <a:cubicBezTo>
                      <a:pt x="0" y="45544"/>
                      <a:pt x="3443" y="41475"/>
                      <a:pt x="8294" y="40536"/>
                    </a:cubicBezTo>
                    <a:cubicBezTo>
                      <a:pt x="12988" y="39753"/>
                      <a:pt x="16588" y="35527"/>
                      <a:pt x="16588" y="30676"/>
                    </a:cubicBezTo>
                    <a:lnTo>
                      <a:pt x="16588" y="27232"/>
                    </a:lnTo>
                    <a:cubicBezTo>
                      <a:pt x="16588" y="21755"/>
                      <a:pt x="20969" y="17216"/>
                      <a:pt x="26603" y="17216"/>
                    </a:cubicBezTo>
                    <a:lnTo>
                      <a:pt x="41156" y="17216"/>
                    </a:lnTo>
                    <a:cubicBezTo>
                      <a:pt x="45225" y="17216"/>
                      <a:pt x="48980" y="14712"/>
                      <a:pt x="50545" y="10799"/>
                    </a:cubicBezTo>
                    <a:lnTo>
                      <a:pt x="51484" y="0"/>
                    </a:lnTo>
                  </a:path>
                </a:pathLst>
              </a:custGeom>
              <a:noFill/>
              <a:ln w="7734" cap="rnd">
                <a:solidFill>
                  <a:schemeClr val="bg1"/>
                </a:solidFill>
                <a:prstDash val="solid"/>
                <a:round/>
              </a:ln>
            </p:spPr>
            <p:txBody>
              <a:bodyPr rtlCol="0" anchor="ctr"/>
              <a:lstStyle/>
              <a:p>
                <a:endParaRPr lang="de-DE"/>
              </a:p>
            </p:txBody>
          </p:sp>
          <p:sp>
            <p:nvSpPr>
              <p:cNvPr id="31" name="Freihandform: Form 30">
                <a:extLst>
                  <a:ext uri="{FF2B5EF4-FFF2-40B4-BE49-F238E27FC236}">
                    <a16:creationId xmlns:a16="http://schemas.microsoft.com/office/drawing/2014/main" id="{B7F55361-C309-8B52-54C5-8DFEFAEBAE96}"/>
                  </a:ext>
                </a:extLst>
              </p:cNvPr>
              <p:cNvSpPr/>
              <p:nvPr/>
            </p:nvSpPr>
            <p:spPr>
              <a:xfrm>
                <a:off x="6413664" y="2964686"/>
                <a:ext cx="108035" cy="91874"/>
              </a:xfrm>
              <a:custGeom>
                <a:avLst/>
                <a:gdLst>
                  <a:gd name="connsiteX0" fmla="*/ 9449 w 108035"/>
                  <a:gd name="connsiteY0" fmla="*/ 0 h 91874"/>
                  <a:gd name="connsiteX1" fmla="*/ 1624 w 108035"/>
                  <a:gd name="connsiteY1" fmla="*/ 39127 h 91874"/>
                  <a:gd name="connsiteX2" fmla="*/ 7571 w 108035"/>
                  <a:gd name="connsiteY2" fmla="*/ 60256 h 91874"/>
                  <a:gd name="connsiteX3" fmla="*/ 9292 w 108035"/>
                  <a:gd name="connsiteY3" fmla="*/ 63229 h 91874"/>
                  <a:gd name="connsiteX4" fmla="*/ 34330 w 108035"/>
                  <a:gd name="connsiteY4" fmla="*/ 89366 h 91874"/>
                  <a:gd name="connsiteX5" fmla="*/ 39338 w 108035"/>
                  <a:gd name="connsiteY5" fmla="*/ 91557 h 91874"/>
                  <a:gd name="connsiteX6" fmla="*/ 57647 w 108035"/>
                  <a:gd name="connsiteY6" fmla="*/ 91870 h 91874"/>
                  <a:gd name="connsiteX7" fmla="*/ 64845 w 108035"/>
                  <a:gd name="connsiteY7" fmla="*/ 83262 h 91874"/>
                  <a:gd name="connsiteX8" fmla="*/ 61246 w 108035"/>
                  <a:gd name="connsiteY8" fmla="*/ 65107 h 91874"/>
                  <a:gd name="connsiteX9" fmla="*/ 62654 w 108035"/>
                  <a:gd name="connsiteY9" fmla="*/ 59317 h 91874"/>
                  <a:gd name="connsiteX10" fmla="*/ 77677 w 108035"/>
                  <a:gd name="connsiteY10" fmla="*/ 40223 h 91874"/>
                  <a:gd name="connsiteX11" fmla="*/ 79242 w 108035"/>
                  <a:gd name="connsiteY11" fmla="*/ 38814 h 91874"/>
                  <a:gd name="connsiteX12" fmla="*/ 94421 w 108035"/>
                  <a:gd name="connsiteY12" fmla="*/ 28328 h 91874"/>
                  <a:gd name="connsiteX13" fmla="*/ 104436 w 108035"/>
                  <a:gd name="connsiteY13" fmla="*/ 16903 h 91874"/>
                  <a:gd name="connsiteX14" fmla="*/ 108035 w 108035"/>
                  <a:gd name="connsiteY14" fmla="*/ 4695 h 9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035" h="91874">
                    <a:moveTo>
                      <a:pt x="9449" y="0"/>
                    </a:moveTo>
                    <a:cubicBezTo>
                      <a:pt x="686" y="10956"/>
                      <a:pt x="-2131" y="25511"/>
                      <a:pt x="1624" y="39127"/>
                    </a:cubicBezTo>
                    <a:lnTo>
                      <a:pt x="7571" y="60256"/>
                    </a:lnTo>
                    <a:cubicBezTo>
                      <a:pt x="7884" y="61351"/>
                      <a:pt x="8510" y="62447"/>
                      <a:pt x="9292" y="63229"/>
                    </a:cubicBezTo>
                    <a:lnTo>
                      <a:pt x="34330" y="89366"/>
                    </a:lnTo>
                    <a:cubicBezTo>
                      <a:pt x="35739" y="90775"/>
                      <a:pt x="37460" y="91557"/>
                      <a:pt x="39338" y="91557"/>
                    </a:cubicBezTo>
                    <a:lnTo>
                      <a:pt x="57647" y="91870"/>
                    </a:lnTo>
                    <a:cubicBezTo>
                      <a:pt x="62185" y="92027"/>
                      <a:pt x="65784" y="87801"/>
                      <a:pt x="64845" y="83262"/>
                    </a:cubicBezTo>
                    <a:lnTo>
                      <a:pt x="61246" y="65107"/>
                    </a:lnTo>
                    <a:cubicBezTo>
                      <a:pt x="60776" y="63073"/>
                      <a:pt x="61402" y="60882"/>
                      <a:pt x="62654" y="59317"/>
                    </a:cubicBezTo>
                    <a:lnTo>
                      <a:pt x="77677" y="40223"/>
                    </a:lnTo>
                    <a:cubicBezTo>
                      <a:pt x="78146" y="39597"/>
                      <a:pt x="78616" y="39127"/>
                      <a:pt x="79242" y="38814"/>
                    </a:cubicBezTo>
                    <a:lnTo>
                      <a:pt x="94421" y="28328"/>
                    </a:lnTo>
                    <a:cubicBezTo>
                      <a:pt x="98646" y="25354"/>
                      <a:pt x="102089" y="21442"/>
                      <a:pt x="104436" y="16903"/>
                    </a:cubicBezTo>
                    <a:cubicBezTo>
                      <a:pt x="106470" y="13147"/>
                      <a:pt x="107566" y="8921"/>
                      <a:pt x="108035" y="4695"/>
                    </a:cubicBezTo>
                  </a:path>
                </a:pathLst>
              </a:custGeom>
              <a:noFill/>
              <a:ln w="7734" cap="rnd">
                <a:solidFill>
                  <a:schemeClr val="bg1"/>
                </a:solidFill>
                <a:prstDash val="solid"/>
                <a:round/>
              </a:ln>
            </p:spPr>
            <p:txBody>
              <a:bodyPr rtlCol="0" anchor="ctr"/>
              <a:lstStyle/>
              <a:p>
                <a:endParaRPr lang="de-DE"/>
              </a:p>
            </p:txBody>
          </p:sp>
        </p:grpSp>
        <p:sp>
          <p:nvSpPr>
            <p:cNvPr id="32" name="Freihandform: Form 31">
              <a:extLst>
                <a:ext uri="{FF2B5EF4-FFF2-40B4-BE49-F238E27FC236}">
                  <a16:creationId xmlns:a16="http://schemas.microsoft.com/office/drawing/2014/main" id="{7FCD8EB7-33A8-9EB9-3A66-FBDD58EDFE32}"/>
                </a:ext>
              </a:extLst>
            </p:cNvPr>
            <p:cNvSpPr/>
            <p:nvPr/>
          </p:nvSpPr>
          <p:spPr>
            <a:xfrm>
              <a:off x="6504329" y="2891283"/>
              <a:ext cx="1564" cy="53838"/>
            </a:xfrm>
            <a:custGeom>
              <a:avLst/>
              <a:gdLst>
                <a:gd name="connsiteX0" fmla="*/ 0 w 1564"/>
                <a:gd name="connsiteY0" fmla="*/ 53839 h 53838"/>
                <a:gd name="connsiteX1" fmla="*/ 0 w 1564"/>
                <a:gd name="connsiteY1" fmla="*/ 0 h 53838"/>
              </a:gdLst>
              <a:ahLst/>
              <a:cxnLst>
                <a:cxn ang="0">
                  <a:pos x="connsiteX0" y="connsiteY0"/>
                </a:cxn>
                <a:cxn ang="0">
                  <a:pos x="connsiteX1" y="connsiteY1"/>
                </a:cxn>
              </a:cxnLst>
              <a:rect l="l" t="t" r="r" b="b"/>
              <a:pathLst>
                <a:path w="1564" h="53838">
                  <a:moveTo>
                    <a:pt x="0" y="53839"/>
                  </a:moveTo>
                  <a:lnTo>
                    <a:pt x="0" y="0"/>
                  </a:lnTo>
                </a:path>
              </a:pathLst>
            </a:custGeom>
            <a:ln w="6847" cap="rnd">
              <a:solidFill>
                <a:schemeClr val="bg1"/>
              </a:solidFill>
              <a:prstDash val="solid"/>
              <a:round/>
            </a:ln>
          </p:spPr>
          <p:txBody>
            <a:bodyPr rtlCol="0" anchor="ctr"/>
            <a:lstStyle/>
            <a:p>
              <a:endParaRPr lang="de-DE"/>
            </a:p>
          </p:txBody>
        </p:sp>
        <p:sp>
          <p:nvSpPr>
            <p:cNvPr id="33" name="Freihandform: Form 32">
              <a:extLst>
                <a:ext uri="{FF2B5EF4-FFF2-40B4-BE49-F238E27FC236}">
                  <a16:creationId xmlns:a16="http://schemas.microsoft.com/office/drawing/2014/main" id="{268935D2-09C5-2F47-F5BD-C47C5B1DEA0E}"/>
                </a:ext>
              </a:extLst>
            </p:cNvPr>
            <p:cNvSpPr/>
            <p:nvPr/>
          </p:nvSpPr>
          <p:spPr>
            <a:xfrm>
              <a:off x="6442830" y="2905682"/>
              <a:ext cx="1564" cy="39283"/>
            </a:xfrm>
            <a:custGeom>
              <a:avLst/>
              <a:gdLst>
                <a:gd name="connsiteX0" fmla="*/ 0 w 1564"/>
                <a:gd name="connsiteY0" fmla="*/ 39284 h 39283"/>
                <a:gd name="connsiteX1" fmla="*/ 0 w 1564"/>
                <a:gd name="connsiteY1" fmla="*/ 0 h 39283"/>
              </a:gdLst>
              <a:ahLst/>
              <a:cxnLst>
                <a:cxn ang="0">
                  <a:pos x="connsiteX0" y="connsiteY0"/>
                </a:cxn>
                <a:cxn ang="0">
                  <a:pos x="connsiteX1" y="connsiteY1"/>
                </a:cxn>
              </a:cxnLst>
              <a:rect l="l" t="t" r="r" b="b"/>
              <a:pathLst>
                <a:path w="1564" h="39283">
                  <a:moveTo>
                    <a:pt x="0" y="39284"/>
                  </a:moveTo>
                  <a:lnTo>
                    <a:pt x="0" y="0"/>
                  </a:lnTo>
                </a:path>
              </a:pathLst>
            </a:custGeom>
            <a:ln w="6847" cap="rnd">
              <a:solidFill>
                <a:schemeClr val="bg1"/>
              </a:solidFill>
              <a:prstDash val="solid"/>
              <a:round/>
            </a:ln>
          </p:spPr>
          <p:txBody>
            <a:bodyPr rtlCol="0" anchor="ctr"/>
            <a:lstStyle/>
            <a:p>
              <a:endParaRPr lang="de-DE"/>
            </a:p>
          </p:txBody>
        </p:sp>
        <p:sp>
          <p:nvSpPr>
            <p:cNvPr id="34" name="Freihandform: Form 33">
              <a:extLst>
                <a:ext uri="{FF2B5EF4-FFF2-40B4-BE49-F238E27FC236}">
                  <a16:creationId xmlns:a16="http://schemas.microsoft.com/office/drawing/2014/main" id="{6795759A-CD2D-6F98-C9DF-710BD1B1B928}"/>
                </a:ext>
              </a:extLst>
            </p:cNvPr>
            <p:cNvSpPr/>
            <p:nvPr/>
          </p:nvSpPr>
          <p:spPr>
            <a:xfrm>
              <a:off x="6342366" y="2733367"/>
              <a:ext cx="1564" cy="1565"/>
            </a:xfrm>
            <a:custGeom>
              <a:avLst/>
              <a:gdLst/>
              <a:ahLst/>
              <a:cxnLst/>
              <a:rect l="l" t="t" r="r" b="b"/>
              <a:pathLst>
                <a:path w="1564" h="1565"/>
              </a:pathLst>
            </a:custGeom>
            <a:noFill/>
            <a:ln w="7734" cap="rnd">
              <a:solidFill>
                <a:schemeClr val="bg1"/>
              </a:solidFill>
              <a:prstDash val="solid"/>
              <a:round/>
            </a:ln>
          </p:spPr>
          <p:txBody>
            <a:bodyPr rtlCol="0" anchor="ctr"/>
            <a:lstStyle/>
            <a:p>
              <a:endParaRPr lang="de-DE"/>
            </a:p>
          </p:txBody>
        </p:sp>
        <p:sp>
          <p:nvSpPr>
            <p:cNvPr id="35" name="Freihandform: Form 34">
              <a:extLst>
                <a:ext uri="{FF2B5EF4-FFF2-40B4-BE49-F238E27FC236}">
                  <a16:creationId xmlns:a16="http://schemas.microsoft.com/office/drawing/2014/main" id="{64BD6E45-28DA-C459-BF78-5A571C72B18A}"/>
                </a:ext>
              </a:extLst>
            </p:cNvPr>
            <p:cNvSpPr/>
            <p:nvPr/>
          </p:nvSpPr>
          <p:spPr>
            <a:xfrm>
              <a:off x="6416540" y="2819446"/>
              <a:ext cx="52266" cy="86392"/>
            </a:xfrm>
            <a:custGeom>
              <a:avLst/>
              <a:gdLst>
                <a:gd name="connsiteX0" fmla="*/ 40686 w 52266"/>
                <a:gd name="connsiteY0" fmla="*/ 29893 h 86392"/>
                <a:gd name="connsiteX1" fmla="*/ 44912 w 52266"/>
                <a:gd name="connsiteY1" fmla="*/ 18311 h 86392"/>
                <a:gd name="connsiteX2" fmla="*/ 25820 w 52266"/>
                <a:gd name="connsiteY2" fmla="*/ 0 h 86392"/>
                <a:gd name="connsiteX3" fmla="*/ 6885 w 52266"/>
                <a:gd name="connsiteY3" fmla="*/ 18468 h 86392"/>
                <a:gd name="connsiteX4" fmla="*/ 11267 w 52266"/>
                <a:gd name="connsiteY4" fmla="*/ 30206 h 86392"/>
                <a:gd name="connsiteX5" fmla="*/ 0 w 52266"/>
                <a:gd name="connsiteY5" fmla="*/ 55560 h 86392"/>
                <a:gd name="connsiteX6" fmla="*/ 26133 w 52266"/>
                <a:gd name="connsiteY6" fmla="*/ 86392 h 86392"/>
                <a:gd name="connsiteX7" fmla="*/ 52266 w 52266"/>
                <a:gd name="connsiteY7" fmla="*/ 55560 h 86392"/>
                <a:gd name="connsiteX8" fmla="*/ 40686 w 52266"/>
                <a:gd name="connsiteY8" fmla="*/ 29893 h 86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266" h="86392">
                  <a:moveTo>
                    <a:pt x="40686" y="29893"/>
                  </a:moveTo>
                  <a:cubicBezTo>
                    <a:pt x="43347" y="26763"/>
                    <a:pt x="44912" y="22694"/>
                    <a:pt x="44912" y="18311"/>
                  </a:cubicBezTo>
                  <a:cubicBezTo>
                    <a:pt x="44755" y="8138"/>
                    <a:pt x="36305" y="0"/>
                    <a:pt x="25820" y="0"/>
                  </a:cubicBezTo>
                  <a:cubicBezTo>
                    <a:pt x="15336" y="0"/>
                    <a:pt x="6885" y="8295"/>
                    <a:pt x="6885" y="18468"/>
                  </a:cubicBezTo>
                  <a:cubicBezTo>
                    <a:pt x="6885" y="23007"/>
                    <a:pt x="8607" y="27076"/>
                    <a:pt x="11267" y="30206"/>
                  </a:cubicBezTo>
                  <a:cubicBezTo>
                    <a:pt x="4382" y="35840"/>
                    <a:pt x="0" y="45074"/>
                    <a:pt x="0" y="55560"/>
                  </a:cubicBezTo>
                  <a:cubicBezTo>
                    <a:pt x="0" y="72620"/>
                    <a:pt x="11736" y="86392"/>
                    <a:pt x="26133" y="86392"/>
                  </a:cubicBezTo>
                  <a:cubicBezTo>
                    <a:pt x="40530" y="86392"/>
                    <a:pt x="52266" y="72620"/>
                    <a:pt x="52266" y="55560"/>
                  </a:cubicBezTo>
                  <a:cubicBezTo>
                    <a:pt x="52266" y="44761"/>
                    <a:pt x="47728" y="35371"/>
                    <a:pt x="40686" y="29893"/>
                  </a:cubicBezTo>
                  <a:close/>
                </a:path>
              </a:pathLst>
            </a:custGeom>
            <a:noFill/>
            <a:ln w="6847" cap="rnd">
              <a:solidFill>
                <a:schemeClr val="bg1"/>
              </a:solidFill>
              <a:prstDash val="solid"/>
              <a:round/>
            </a:ln>
          </p:spPr>
          <p:txBody>
            <a:bodyPr rtlCol="0" anchor="ctr"/>
            <a:lstStyle/>
            <a:p>
              <a:endParaRPr lang="de-DE"/>
            </a:p>
          </p:txBody>
        </p:sp>
        <p:sp>
          <p:nvSpPr>
            <p:cNvPr id="36" name="Freihandform: Form 35">
              <a:extLst>
                <a:ext uri="{FF2B5EF4-FFF2-40B4-BE49-F238E27FC236}">
                  <a16:creationId xmlns:a16="http://schemas.microsoft.com/office/drawing/2014/main" id="{4C801BB8-00C7-44C1-082E-6582C0186718}"/>
                </a:ext>
              </a:extLst>
            </p:cNvPr>
            <p:cNvSpPr/>
            <p:nvPr/>
          </p:nvSpPr>
          <p:spPr>
            <a:xfrm>
              <a:off x="6470058" y="2798161"/>
              <a:ext cx="67289" cy="92026"/>
            </a:xfrm>
            <a:custGeom>
              <a:avLst/>
              <a:gdLst>
                <a:gd name="connsiteX0" fmla="*/ 54927 w 67289"/>
                <a:gd name="connsiteY0" fmla="*/ 37405 h 92026"/>
                <a:gd name="connsiteX1" fmla="*/ 60247 w 67289"/>
                <a:gd name="connsiteY1" fmla="*/ 23320 h 92026"/>
                <a:gd name="connsiteX2" fmla="*/ 34114 w 67289"/>
                <a:gd name="connsiteY2" fmla="*/ 0 h 92026"/>
                <a:gd name="connsiteX3" fmla="*/ 7981 w 67289"/>
                <a:gd name="connsiteY3" fmla="*/ 23320 h 92026"/>
                <a:gd name="connsiteX4" fmla="*/ 12988 w 67289"/>
                <a:gd name="connsiteY4" fmla="*/ 36936 h 92026"/>
                <a:gd name="connsiteX5" fmla="*/ 0 w 67289"/>
                <a:gd name="connsiteY5" fmla="*/ 61195 h 92026"/>
                <a:gd name="connsiteX6" fmla="*/ 33645 w 67289"/>
                <a:gd name="connsiteY6" fmla="*/ 92027 h 92026"/>
                <a:gd name="connsiteX7" fmla="*/ 67289 w 67289"/>
                <a:gd name="connsiteY7" fmla="*/ 61195 h 92026"/>
                <a:gd name="connsiteX8" fmla="*/ 54927 w 67289"/>
                <a:gd name="connsiteY8" fmla="*/ 37405 h 9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89" h="92026">
                  <a:moveTo>
                    <a:pt x="54927" y="37405"/>
                  </a:moveTo>
                  <a:cubicBezTo>
                    <a:pt x="58213" y="33493"/>
                    <a:pt x="60247" y="28641"/>
                    <a:pt x="60247" y="23320"/>
                  </a:cubicBezTo>
                  <a:cubicBezTo>
                    <a:pt x="60247" y="10486"/>
                    <a:pt x="48511" y="0"/>
                    <a:pt x="34114" y="0"/>
                  </a:cubicBezTo>
                  <a:cubicBezTo>
                    <a:pt x="19717" y="0"/>
                    <a:pt x="7981" y="10486"/>
                    <a:pt x="7981" y="23320"/>
                  </a:cubicBezTo>
                  <a:cubicBezTo>
                    <a:pt x="7981" y="28484"/>
                    <a:pt x="9859" y="33180"/>
                    <a:pt x="12988" y="36936"/>
                  </a:cubicBezTo>
                  <a:cubicBezTo>
                    <a:pt x="5008" y="42570"/>
                    <a:pt x="0" y="51335"/>
                    <a:pt x="0" y="61195"/>
                  </a:cubicBezTo>
                  <a:cubicBezTo>
                    <a:pt x="0" y="78254"/>
                    <a:pt x="15023" y="92027"/>
                    <a:pt x="33645" y="92027"/>
                  </a:cubicBezTo>
                  <a:cubicBezTo>
                    <a:pt x="52266" y="92027"/>
                    <a:pt x="67289" y="78254"/>
                    <a:pt x="67289" y="61195"/>
                  </a:cubicBezTo>
                  <a:cubicBezTo>
                    <a:pt x="67289" y="51648"/>
                    <a:pt x="62438" y="43040"/>
                    <a:pt x="54927" y="37405"/>
                  </a:cubicBezTo>
                  <a:close/>
                </a:path>
              </a:pathLst>
            </a:custGeom>
            <a:noFill/>
            <a:ln w="6029" cap="rnd">
              <a:solidFill>
                <a:schemeClr val="bg1"/>
              </a:solidFill>
              <a:prstDash val="solid"/>
              <a:round/>
            </a:ln>
          </p:spPr>
          <p:txBody>
            <a:bodyPr rtlCol="0" anchor="ctr"/>
            <a:lstStyle/>
            <a:p>
              <a:endParaRPr lang="de-DE"/>
            </a:p>
          </p:txBody>
        </p:sp>
        <p:sp>
          <p:nvSpPr>
            <p:cNvPr id="37" name="Freihandform: Form 36">
              <a:extLst>
                <a:ext uri="{FF2B5EF4-FFF2-40B4-BE49-F238E27FC236}">
                  <a16:creationId xmlns:a16="http://schemas.microsoft.com/office/drawing/2014/main" id="{23CDE37B-93D7-020A-6E98-A27687C24DA9}"/>
                </a:ext>
              </a:extLst>
            </p:cNvPr>
            <p:cNvSpPr/>
            <p:nvPr/>
          </p:nvSpPr>
          <p:spPr>
            <a:xfrm>
              <a:off x="6470058" y="2798161"/>
              <a:ext cx="67289" cy="92026"/>
            </a:xfrm>
            <a:custGeom>
              <a:avLst/>
              <a:gdLst>
                <a:gd name="connsiteX0" fmla="*/ 54927 w 67289"/>
                <a:gd name="connsiteY0" fmla="*/ 37405 h 92026"/>
                <a:gd name="connsiteX1" fmla="*/ 60247 w 67289"/>
                <a:gd name="connsiteY1" fmla="*/ 23320 h 92026"/>
                <a:gd name="connsiteX2" fmla="*/ 34114 w 67289"/>
                <a:gd name="connsiteY2" fmla="*/ 0 h 92026"/>
                <a:gd name="connsiteX3" fmla="*/ 7981 w 67289"/>
                <a:gd name="connsiteY3" fmla="*/ 23320 h 92026"/>
                <a:gd name="connsiteX4" fmla="*/ 12988 w 67289"/>
                <a:gd name="connsiteY4" fmla="*/ 36936 h 92026"/>
                <a:gd name="connsiteX5" fmla="*/ 0 w 67289"/>
                <a:gd name="connsiteY5" fmla="*/ 61195 h 92026"/>
                <a:gd name="connsiteX6" fmla="*/ 33645 w 67289"/>
                <a:gd name="connsiteY6" fmla="*/ 92027 h 92026"/>
                <a:gd name="connsiteX7" fmla="*/ 67289 w 67289"/>
                <a:gd name="connsiteY7" fmla="*/ 61195 h 92026"/>
                <a:gd name="connsiteX8" fmla="*/ 54927 w 67289"/>
                <a:gd name="connsiteY8" fmla="*/ 37405 h 9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89" h="92026">
                  <a:moveTo>
                    <a:pt x="54927" y="37405"/>
                  </a:moveTo>
                  <a:cubicBezTo>
                    <a:pt x="58213" y="33493"/>
                    <a:pt x="60247" y="28641"/>
                    <a:pt x="60247" y="23320"/>
                  </a:cubicBezTo>
                  <a:cubicBezTo>
                    <a:pt x="60247" y="10486"/>
                    <a:pt x="48511" y="0"/>
                    <a:pt x="34114" y="0"/>
                  </a:cubicBezTo>
                  <a:cubicBezTo>
                    <a:pt x="19717" y="0"/>
                    <a:pt x="7981" y="10486"/>
                    <a:pt x="7981" y="23320"/>
                  </a:cubicBezTo>
                  <a:cubicBezTo>
                    <a:pt x="7981" y="28484"/>
                    <a:pt x="9859" y="33180"/>
                    <a:pt x="12988" y="36936"/>
                  </a:cubicBezTo>
                  <a:cubicBezTo>
                    <a:pt x="5008" y="42570"/>
                    <a:pt x="0" y="51335"/>
                    <a:pt x="0" y="61195"/>
                  </a:cubicBezTo>
                  <a:cubicBezTo>
                    <a:pt x="0" y="78254"/>
                    <a:pt x="15023" y="92027"/>
                    <a:pt x="33645" y="92027"/>
                  </a:cubicBezTo>
                  <a:cubicBezTo>
                    <a:pt x="52266" y="92027"/>
                    <a:pt x="67289" y="78254"/>
                    <a:pt x="67289" y="61195"/>
                  </a:cubicBezTo>
                  <a:cubicBezTo>
                    <a:pt x="67289" y="51648"/>
                    <a:pt x="62438" y="43040"/>
                    <a:pt x="54927" y="37405"/>
                  </a:cubicBezTo>
                  <a:close/>
                </a:path>
              </a:pathLst>
            </a:custGeom>
            <a:noFill/>
            <a:ln w="6847" cap="rnd">
              <a:solidFill>
                <a:schemeClr val="bg1"/>
              </a:solidFill>
              <a:prstDash val="solid"/>
              <a:round/>
            </a:ln>
          </p:spPr>
          <p:txBody>
            <a:bodyPr rtlCol="0" anchor="ctr"/>
            <a:lstStyle/>
            <a:p>
              <a:endParaRPr lang="de-DE"/>
            </a:p>
          </p:txBody>
        </p:sp>
        <p:sp>
          <p:nvSpPr>
            <p:cNvPr id="38" name="Freihandform: Form 37">
              <a:extLst>
                <a:ext uri="{FF2B5EF4-FFF2-40B4-BE49-F238E27FC236}">
                  <a16:creationId xmlns:a16="http://schemas.microsoft.com/office/drawing/2014/main" id="{93B38D1B-A5F2-E035-218F-D7A6BF85A545}"/>
                </a:ext>
              </a:extLst>
            </p:cNvPr>
            <p:cNvSpPr/>
            <p:nvPr/>
          </p:nvSpPr>
          <p:spPr>
            <a:xfrm>
              <a:off x="6581007" y="2876258"/>
              <a:ext cx="69010" cy="70272"/>
            </a:xfrm>
            <a:custGeom>
              <a:avLst/>
              <a:gdLst>
                <a:gd name="connsiteX0" fmla="*/ 0 w 69010"/>
                <a:gd name="connsiteY0" fmla="*/ 0 h 70272"/>
                <a:gd name="connsiteX1" fmla="*/ 69010 w 69010"/>
                <a:gd name="connsiteY1" fmla="*/ 0 h 70272"/>
                <a:gd name="connsiteX2" fmla="*/ 69010 w 69010"/>
                <a:gd name="connsiteY2" fmla="*/ 70272 h 70272"/>
                <a:gd name="connsiteX3" fmla="*/ 0 w 69010"/>
                <a:gd name="connsiteY3" fmla="*/ 70272 h 70272"/>
              </a:gdLst>
              <a:ahLst/>
              <a:cxnLst>
                <a:cxn ang="0">
                  <a:pos x="connsiteX0" y="connsiteY0"/>
                </a:cxn>
                <a:cxn ang="0">
                  <a:pos x="connsiteX1" y="connsiteY1"/>
                </a:cxn>
                <a:cxn ang="0">
                  <a:pos x="connsiteX2" y="connsiteY2"/>
                </a:cxn>
                <a:cxn ang="0">
                  <a:pos x="connsiteX3" y="connsiteY3"/>
                </a:cxn>
              </a:cxnLst>
              <a:rect l="l" t="t" r="r" b="b"/>
              <a:pathLst>
                <a:path w="69010" h="70272">
                  <a:moveTo>
                    <a:pt x="0" y="0"/>
                  </a:moveTo>
                  <a:lnTo>
                    <a:pt x="69010" y="0"/>
                  </a:lnTo>
                  <a:lnTo>
                    <a:pt x="69010" y="70272"/>
                  </a:lnTo>
                  <a:lnTo>
                    <a:pt x="0" y="70272"/>
                  </a:lnTo>
                  <a:close/>
                </a:path>
              </a:pathLst>
            </a:custGeom>
            <a:noFill/>
            <a:ln w="6847" cap="rnd">
              <a:solidFill>
                <a:schemeClr val="bg1"/>
              </a:solidFill>
              <a:prstDash val="solid"/>
              <a:round/>
            </a:ln>
          </p:spPr>
          <p:txBody>
            <a:bodyPr rtlCol="0" anchor="ctr"/>
            <a:lstStyle/>
            <a:p>
              <a:endParaRPr lang="de-DE"/>
            </a:p>
          </p:txBody>
        </p:sp>
        <p:sp>
          <p:nvSpPr>
            <p:cNvPr id="42" name="Freihandform: Form 41">
              <a:extLst>
                <a:ext uri="{FF2B5EF4-FFF2-40B4-BE49-F238E27FC236}">
                  <a16:creationId xmlns:a16="http://schemas.microsoft.com/office/drawing/2014/main" id="{C18D2DD2-942E-E08B-2D8E-AD2CFE275810}"/>
                </a:ext>
              </a:extLst>
            </p:cNvPr>
            <p:cNvSpPr/>
            <p:nvPr/>
          </p:nvSpPr>
          <p:spPr>
            <a:xfrm>
              <a:off x="6628110"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3" name="Freihandform: Form 42">
              <a:extLst>
                <a:ext uri="{FF2B5EF4-FFF2-40B4-BE49-F238E27FC236}">
                  <a16:creationId xmlns:a16="http://schemas.microsoft.com/office/drawing/2014/main" id="{92BD3217-464C-C974-1483-0D58BB8A9DA9}"/>
                </a:ext>
              </a:extLst>
            </p:cNvPr>
            <p:cNvSpPr/>
            <p:nvPr/>
          </p:nvSpPr>
          <p:spPr>
            <a:xfrm>
              <a:off x="6628110"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4" name="Freihandform: Form 43">
              <a:extLst>
                <a:ext uri="{FF2B5EF4-FFF2-40B4-BE49-F238E27FC236}">
                  <a16:creationId xmlns:a16="http://schemas.microsoft.com/office/drawing/2014/main" id="{4953EB20-5166-88E6-5581-2EC3991F086E}"/>
                </a:ext>
              </a:extLst>
            </p:cNvPr>
            <p:cNvSpPr/>
            <p:nvPr/>
          </p:nvSpPr>
          <p:spPr>
            <a:xfrm>
              <a:off x="6628110"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F844AA97-EB80-C043-822E-3A316C717C82}"/>
                </a:ext>
              </a:extLst>
            </p:cNvPr>
            <p:cNvSpPr/>
            <p:nvPr/>
          </p:nvSpPr>
          <p:spPr>
            <a:xfrm>
              <a:off x="6609801"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6" name="Freihandform: Form 45">
              <a:extLst>
                <a:ext uri="{FF2B5EF4-FFF2-40B4-BE49-F238E27FC236}">
                  <a16:creationId xmlns:a16="http://schemas.microsoft.com/office/drawing/2014/main" id="{5A5FE2D8-BE07-19F1-5D2B-3CFEC92A90DF}"/>
                </a:ext>
              </a:extLst>
            </p:cNvPr>
            <p:cNvSpPr/>
            <p:nvPr/>
          </p:nvSpPr>
          <p:spPr>
            <a:xfrm>
              <a:off x="6609801"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7" name="Freihandform: Form 46">
              <a:extLst>
                <a:ext uri="{FF2B5EF4-FFF2-40B4-BE49-F238E27FC236}">
                  <a16:creationId xmlns:a16="http://schemas.microsoft.com/office/drawing/2014/main" id="{B2A4236D-1554-730C-A56A-88BC04684D88}"/>
                </a:ext>
              </a:extLst>
            </p:cNvPr>
            <p:cNvSpPr/>
            <p:nvPr/>
          </p:nvSpPr>
          <p:spPr>
            <a:xfrm>
              <a:off x="6609801"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8" name="Freihandform: Form 47">
              <a:extLst>
                <a:ext uri="{FF2B5EF4-FFF2-40B4-BE49-F238E27FC236}">
                  <a16:creationId xmlns:a16="http://schemas.microsoft.com/office/drawing/2014/main" id="{A0E9F63A-AC20-6BDD-34F0-F8F7B7D09A20}"/>
                </a:ext>
              </a:extLst>
            </p:cNvPr>
            <p:cNvSpPr/>
            <p:nvPr/>
          </p:nvSpPr>
          <p:spPr>
            <a:xfrm>
              <a:off x="6591492"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9" name="Freihandform: Form 48">
              <a:extLst>
                <a:ext uri="{FF2B5EF4-FFF2-40B4-BE49-F238E27FC236}">
                  <a16:creationId xmlns:a16="http://schemas.microsoft.com/office/drawing/2014/main" id="{759C4CB1-58F5-EAF7-EDDE-5A37657E322C}"/>
                </a:ext>
              </a:extLst>
            </p:cNvPr>
            <p:cNvSpPr/>
            <p:nvPr/>
          </p:nvSpPr>
          <p:spPr>
            <a:xfrm>
              <a:off x="6591492"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0" name="Freihandform: Form 49">
              <a:extLst>
                <a:ext uri="{FF2B5EF4-FFF2-40B4-BE49-F238E27FC236}">
                  <a16:creationId xmlns:a16="http://schemas.microsoft.com/office/drawing/2014/main" id="{518661DC-3D92-AF25-3089-11FF8FAF9495}"/>
                </a:ext>
              </a:extLst>
            </p:cNvPr>
            <p:cNvSpPr/>
            <p:nvPr/>
          </p:nvSpPr>
          <p:spPr>
            <a:xfrm>
              <a:off x="6591492"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1" name="Freihandform: Form 50">
              <a:extLst>
                <a:ext uri="{FF2B5EF4-FFF2-40B4-BE49-F238E27FC236}">
                  <a16:creationId xmlns:a16="http://schemas.microsoft.com/office/drawing/2014/main" id="{B4979A14-7526-E247-5E68-CC0604C8D8C8}"/>
                </a:ext>
              </a:extLst>
            </p:cNvPr>
            <p:cNvSpPr/>
            <p:nvPr/>
          </p:nvSpPr>
          <p:spPr>
            <a:xfrm>
              <a:off x="6532183" y="2838853"/>
              <a:ext cx="69010" cy="36309"/>
            </a:xfrm>
            <a:custGeom>
              <a:avLst/>
              <a:gdLst>
                <a:gd name="connsiteX0" fmla="*/ 0 w 69010"/>
                <a:gd name="connsiteY0" fmla="*/ 3130 h 36309"/>
                <a:gd name="connsiteX1" fmla="*/ 0 w 69010"/>
                <a:gd name="connsiteY1" fmla="*/ 0 h 36309"/>
                <a:gd name="connsiteX2" fmla="*/ 69010 w 69010"/>
                <a:gd name="connsiteY2" fmla="*/ 0 h 36309"/>
                <a:gd name="connsiteX3" fmla="*/ 69010 w 69010"/>
                <a:gd name="connsiteY3" fmla="*/ 36310 h 36309"/>
              </a:gdLst>
              <a:ahLst/>
              <a:cxnLst>
                <a:cxn ang="0">
                  <a:pos x="connsiteX0" y="connsiteY0"/>
                </a:cxn>
                <a:cxn ang="0">
                  <a:pos x="connsiteX1" y="connsiteY1"/>
                </a:cxn>
                <a:cxn ang="0">
                  <a:pos x="connsiteX2" y="connsiteY2"/>
                </a:cxn>
                <a:cxn ang="0">
                  <a:pos x="connsiteX3" y="connsiteY3"/>
                </a:cxn>
              </a:cxnLst>
              <a:rect l="l" t="t" r="r" b="b"/>
              <a:pathLst>
                <a:path w="69010" h="36309">
                  <a:moveTo>
                    <a:pt x="0" y="3130"/>
                  </a:moveTo>
                  <a:lnTo>
                    <a:pt x="0" y="0"/>
                  </a:lnTo>
                  <a:lnTo>
                    <a:pt x="69010" y="0"/>
                  </a:lnTo>
                  <a:lnTo>
                    <a:pt x="69010" y="36310"/>
                  </a:lnTo>
                </a:path>
              </a:pathLst>
            </a:custGeom>
            <a:noFill/>
            <a:ln w="6847" cap="rnd">
              <a:solidFill>
                <a:schemeClr val="bg1"/>
              </a:solidFill>
              <a:prstDash val="solid"/>
              <a:round/>
            </a:ln>
          </p:spPr>
          <p:txBody>
            <a:bodyPr rtlCol="0" anchor="ctr"/>
            <a:lstStyle/>
            <a:p>
              <a:endParaRPr lang="de-DE"/>
            </a:p>
          </p:txBody>
        </p:sp>
        <p:sp>
          <p:nvSpPr>
            <p:cNvPr id="52" name="Freihandform: Form 51">
              <a:extLst>
                <a:ext uri="{FF2B5EF4-FFF2-40B4-BE49-F238E27FC236}">
                  <a16:creationId xmlns:a16="http://schemas.microsoft.com/office/drawing/2014/main" id="{F425E9D9-75A5-C15E-B911-3DB65C7C7AD2}"/>
                </a:ext>
              </a:extLst>
            </p:cNvPr>
            <p:cNvSpPr/>
            <p:nvPr/>
          </p:nvSpPr>
          <p:spPr>
            <a:xfrm>
              <a:off x="6532183" y="2878450"/>
              <a:ext cx="45068" cy="67924"/>
            </a:xfrm>
            <a:custGeom>
              <a:avLst/>
              <a:gdLst>
                <a:gd name="connsiteX0" fmla="*/ 45068 w 45068"/>
                <a:gd name="connsiteY0" fmla="*/ 67925 h 67924"/>
                <a:gd name="connsiteX1" fmla="*/ 0 w 45068"/>
                <a:gd name="connsiteY1" fmla="*/ 67925 h 67924"/>
                <a:gd name="connsiteX2" fmla="*/ 0 w 45068"/>
                <a:gd name="connsiteY2" fmla="*/ 0 h 67924"/>
              </a:gdLst>
              <a:ahLst/>
              <a:cxnLst>
                <a:cxn ang="0">
                  <a:pos x="connsiteX0" y="connsiteY0"/>
                </a:cxn>
                <a:cxn ang="0">
                  <a:pos x="connsiteX1" y="connsiteY1"/>
                </a:cxn>
                <a:cxn ang="0">
                  <a:pos x="connsiteX2" y="connsiteY2"/>
                </a:cxn>
              </a:cxnLst>
              <a:rect l="l" t="t" r="r" b="b"/>
              <a:pathLst>
                <a:path w="45068" h="67924">
                  <a:moveTo>
                    <a:pt x="45068" y="67925"/>
                  </a:moveTo>
                  <a:lnTo>
                    <a:pt x="0" y="67925"/>
                  </a:lnTo>
                  <a:lnTo>
                    <a:pt x="0" y="0"/>
                  </a:lnTo>
                </a:path>
              </a:pathLst>
            </a:custGeom>
            <a:noFill/>
            <a:ln w="6847" cap="rnd">
              <a:solidFill>
                <a:schemeClr val="bg1"/>
              </a:solidFill>
              <a:prstDash val="solid"/>
              <a:round/>
            </a:ln>
          </p:spPr>
          <p:txBody>
            <a:bodyPr rtlCol="0" anchor="ctr"/>
            <a:lstStyle/>
            <a:p>
              <a:endParaRPr lang="de-DE"/>
            </a:p>
          </p:txBody>
        </p:sp>
        <p:sp>
          <p:nvSpPr>
            <p:cNvPr id="53" name="Freihandform: Form 52">
              <a:extLst>
                <a:ext uri="{FF2B5EF4-FFF2-40B4-BE49-F238E27FC236}">
                  <a16:creationId xmlns:a16="http://schemas.microsoft.com/office/drawing/2014/main" id="{A3D78A57-29C4-AA1D-0DE4-CE4318B4D61B}"/>
                </a:ext>
              </a:extLst>
            </p:cNvPr>
            <p:cNvSpPr/>
            <p:nvPr/>
          </p:nvSpPr>
          <p:spPr>
            <a:xfrm>
              <a:off x="6560977"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4" name="Freihandform: Form 53">
              <a:extLst>
                <a:ext uri="{FF2B5EF4-FFF2-40B4-BE49-F238E27FC236}">
                  <a16:creationId xmlns:a16="http://schemas.microsoft.com/office/drawing/2014/main" id="{1B7BD767-742E-8422-1466-40DF164E8632}"/>
                </a:ext>
              </a:extLst>
            </p:cNvPr>
            <p:cNvSpPr/>
            <p:nvPr/>
          </p:nvSpPr>
          <p:spPr>
            <a:xfrm>
              <a:off x="6560977"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5" name="Freihandform: Form 54">
              <a:extLst>
                <a:ext uri="{FF2B5EF4-FFF2-40B4-BE49-F238E27FC236}">
                  <a16:creationId xmlns:a16="http://schemas.microsoft.com/office/drawing/2014/main" id="{7EB1CC6C-4DAA-B319-FB96-6A170C999C6F}"/>
                </a:ext>
              </a:extLst>
            </p:cNvPr>
            <p:cNvSpPr/>
            <p:nvPr/>
          </p:nvSpPr>
          <p:spPr>
            <a:xfrm>
              <a:off x="6560977"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6" name="Freihandform: Form 55">
              <a:extLst>
                <a:ext uri="{FF2B5EF4-FFF2-40B4-BE49-F238E27FC236}">
                  <a16:creationId xmlns:a16="http://schemas.microsoft.com/office/drawing/2014/main" id="{9D35A7BD-FC81-F6B1-DF37-C2ECF8065C60}"/>
                </a:ext>
              </a:extLst>
            </p:cNvPr>
            <p:cNvSpPr/>
            <p:nvPr/>
          </p:nvSpPr>
          <p:spPr>
            <a:xfrm>
              <a:off x="6542668"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7" name="Freihandform: Form 56">
              <a:extLst>
                <a:ext uri="{FF2B5EF4-FFF2-40B4-BE49-F238E27FC236}">
                  <a16:creationId xmlns:a16="http://schemas.microsoft.com/office/drawing/2014/main" id="{8FEC883E-24EA-7829-E8AB-2356E4EDC730}"/>
                </a:ext>
              </a:extLst>
            </p:cNvPr>
            <p:cNvSpPr/>
            <p:nvPr/>
          </p:nvSpPr>
          <p:spPr>
            <a:xfrm>
              <a:off x="6542668"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8" name="Freihandform: Form 57">
              <a:extLst>
                <a:ext uri="{FF2B5EF4-FFF2-40B4-BE49-F238E27FC236}">
                  <a16:creationId xmlns:a16="http://schemas.microsoft.com/office/drawing/2014/main" id="{66B2E296-3B94-DA86-4A57-CFEDC24C8D07}"/>
                </a:ext>
              </a:extLst>
            </p:cNvPr>
            <p:cNvSpPr/>
            <p:nvPr/>
          </p:nvSpPr>
          <p:spPr>
            <a:xfrm>
              <a:off x="6542668"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9" name="Freihandform: Form 58">
              <a:extLst>
                <a:ext uri="{FF2B5EF4-FFF2-40B4-BE49-F238E27FC236}">
                  <a16:creationId xmlns:a16="http://schemas.microsoft.com/office/drawing/2014/main" id="{84EF55B0-BBE0-D262-5695-15B744413010}"/>
                </a:ext>
              </a:extLst>
            </p:cNvPr>
            <p:cNvSpPr/>
            <p:nvPr/>
          </p:nvSpPr>
          <p:spPr>
            <a:xfrm>
              <a:off x="6560977" y="2869372"/>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60" name="Freihandform: Form 59">
              <a:extLst>
                <a:ext uri="{FF2B5EF4-FFF2-40B4-BE49-F238E27FC236}">
                  <a16:creationId xmlns:a16="http://schemas.microsoft.com/office/drawing/2014/main" id="{A9328DDD-A631-D546-6C48-72DF0092671B}"/>
                </a:ext>
              </a:extLst>
            </p:cNvPr>
            <p:cNvSpPr/>
            <p:nvPr/>
          </p:nvSpPr>
          <p:spPr>
            <a:xfrm>
              <a:off x="6542668" y="2869372"/>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CABE98BB-6B7D-FFA0-D087-4BFE7538FD00}"/>
                </a:ext>
              </a:extLst>
            </p:cNvPr>
            <p:cNvSpPr/>
            <p:nvPr/>
          </p:nvSpPr>
          <p:spPr>
            <a:xfrm>
              <a:off x="6579286" y="2851061"/>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62" name="Freihandform: Form 61">
              <a:extLst>
                <a:ext uri="{FF2B5EF4-FFF2-40B4-BE49-F238E27FC236}">
                  <a16:creationId xmlns:a16="http://schemas.microsoft.com/office/drawing/2014/main" id="{0DCB0E62-C9BF-AD50-764C-7AC8B7BAA111}"/>
                </a:ext>
              </a:extLst>
            </p:cNvPr>
            <p:cNvSpPr/>
            <p:nvPr/>
          </p:nvSpPr>
          <p:spPr>
            <a:xfrm>
              <a:off x="6560977" y="2851061"/>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63" name="Freihandform: Form 62">
              <a:extLst>
                <a:ext uri="{FF2B5EF4-FFF2-40B4-BE49-F238E27FC236}">
                  <a16:creationId xmlns:a16="http://schemas.microsoft.com/office/drawing/2014/main" id="{6486A901-BF4A-88DA-7D27-F97F12F7D7A7}"/>
                </a:ext>
              </a:extLst>
            </p:cNvPr>
            <p:cNvSpPr/>
            <p:nvPr/>
          </p:nvSpPr>
          <p:spPr>
            <a:xfrm>
              <a:off x="6542668" y="2851061"/>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192" name="Freihandform: Form 191">
              <a:extLst>
                <a:ext uri="{FF2B5EF4-FFF2-40B4-BE49-F238E27FC236}">
                  <a16:creationId xmlns:a16="http://schemas.microsoft.com/office/drawing/2014/main" id="{8951FEF3-5295-8C7F-6A1E-B02B95557622}"/>
                </a:ext>
              </a:extLst>
            </p:cNvPr>
            <p:cNvSpPr/>
            <p:nvPr/>
          </p:nvSpPr>
          <p:spPr>
            <a:xfrm>
              <a:off x="6342441" y="2754925"/>
              <a:ext cx="173804" cy="154635"/>
            </a:xfrm>
            <a:custGeom>
              <a:avLst/>
              <a:gdLst>
                <a:gd name="connsiteX0" fmla="*/ 169869 w 173804"/>
                <a:gd name="connsiteY0" fmla="*/ 8960 h 154635"/>
                <a:gd name="connsiteX1" fmla="*/ 172060 w 173804"/>
                <a:gd name="connsiteY1" fmla="*/ 8021 h 154635"/>
                <a:gd name="connsiteX2" fmla="*/ 173781 w 173804"/>
                <a:gd name="connsiteY2" fmla="*/ 3952 h 154635"/>
                <a:gd name="connsiteX3" fmla="*/ 172060 w 173804"/>
                <a:gd name="connsiteY3" fmla="*/ 978 h 154635"/>
                <a:gd name="connsiteX4" fmla="*/ 168774 w 173804"/>
                <a:gd name="connsiteY4" fmla="*/ 39 h 154635"/>
                <a:gd name="connsiteX5" fmla="*/ 85523 w 173804"/>
                <a:gd name="connsiteY5" fmla="*/ 35253 h 154635"/>
                <a:gd name="connsiteX6" fmla="*/ 26215 w 173804"/>
                <a:gd name="connsiteY6" fmla="*/ 124776 h 154635"/>
                <a:gd name="connsiteX7" fmla="*/ 22772 w 173804"/>
                <a:gd name="connsiteY7" fmla="*/ 137610 h 154635"/>
                <a:gd name="connsiteX8" fmla="*/ 8062 w 173804"/>
                <a:gd name="connsiteY8" fmla="*/ 115073 h 154635"/>
                <a:gd name="connsiteX9" fmla="*/ 4306 w 173804"/>
                <a:gd name="connsiteY9" fmla="*/ 113038 h 154635"/>
                <a:gd name="connsiteX10" fmla="*/ 1959 w 173804"/>
                <a:gd name="connsiteY10" fmla="*/ 113821 h 154635"/>
                <a:gd name="connsiteX11" fmla="*/ 1646 w 173804"/>
                <a:gd name="connsiteY11" fmla="*/ 113977 h 154635"/>
                <a:gd name="connsiteX12" fmla="*/ 707 w 173804"/>
                <a:gd name="connsiteY12" fmla="*/ 119924 h 154635"/>
                <a:gd name="connsiteX13" fmla="*/ 22146 w 173804"/>
                <a:gd name="connsiteY13" fmla="*/ 152635 h 154635"/>
                <a:gd name="connsiteX14" fmla="*/ 24963 w 173804"/>
                <a:gd name="connsiteY14" fmla="*/ 154513 h 154635"/>
                <a:gd name="connsiteX15" fmla="*/ 28249 w 173804"/>
                <a:gd name="connsiteY15" fmla="*/ 153887 h 154635"/>
                <a:gd name="connsiteX16" fmla="*/ 60955 w 173804"/>
                <a:gd name="connsiteY16" fmla="*/ 132445 h 154635"/>
                <a:gd name="connsiteX17" fmla="*/ 61268 w 173804"/>
                <a:gd name="connsiteY17" fmla="*/ 132289 h 154635"/>
                <a:gd name="connsiteX18" fmla="*/ 62206 w 173804"/>
                <a:gd name="connsiteY18" fmla="*/ 126341 h 154635"/>
                <a:gd name="connsiteX19" fmla="*/ 59390 w 173804"/>
                <a:gd name="connsiteY19" fmla="*/ 124463 h 154635"/>
                <a:gd name="connsiteX20" fmla="*/ 56103 w 173804"/>
                <a:gd name="connsiteY20" fmla="*/ 125089 h 154635"/>
                <a:gd name="connsiteX21" fmla="*/ 30753 w 173804"/>
                <a:gd name="connsiteY21" fmla="*/ 141679 h 154635"/>
                <a:gd name="connsiteX22" fmla="*/ 34978 w 173804"/>
                <a:gd name="connsiteY22" fmla="*/ 126498 h 154635"/>
                <a:gd name="connsiteX23" fmla="*/ 91000 w 173804"/>
                <a:gd name="connsiteY23" fmla="*/ 42296 h 154635"/>
                <a:gd name="connsiteX24" fmla="*/ 169869 w 173804"/>
                <a:gd name="connsiteY24" fmla="*/ 8960 h 15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3804" h="154635">
                  <a:moveTo>
                    <a:pt x="169869" y="8960"/>
                  </a:moveTo>
                  <a:cubicBezTo>
                    <a:pt x="170651" y="8804"/>
                    <a:pt x="171434" y="8491"/>
                    <a:pt x="172060" y="8021"/>
                  </a:cubicBezTo>
                  <a:cubicBezTo>
                    <a:pt x="173312" y="7082"/>
                    <a:pt x="173938" y="5517"/>
                    <a:pt x="173781" y="3952"/>
                  </a:cubicBezTo>
                  <a:cubicBezTo>
                    <a:pt x="173625" y="2856"/>
                    <a:pt x="172999" y="1761"/>
                    <a:pt x="172060" y="978"/>
                  </a:cubicBezTo>
                  <a:cubicBezTo>
                    <a:pt x="171121" y="196"/>
                    <a:pt x="170025" y="-117"/>
                    <a:pt x="168774" y="39"/>
                  </a:cubicBezTo>
                  <a:cubicBezTo>
                    <a:pt x="138415" y="4108"/>
                    <a:pt x="109622" y="16159"/>
                    <a:pt x="85523" y="35253"/>
                  </a:cubicBezTo>
                  <a:cubicBezTo>
                    <a:pt x="56416" y="58417"/>
                    <a:pt x="35917" y="89249"/>
                    <a:pt x="26215" y="124776"/>
                  </a:cubicBezTo>
                  <a:lnTo>
                    <a:pt x="22772" y="137610"/>
                  </a:lnTo>
                  <a:lnTo>
                    <a:pt x="8062" y="115073"/>
                  </a:lnTo>
                  <a:cubicBezTo>
                    <a:pt x="7123" y="113821"/>
                    <a:pt x="5715" y="113038"/>
                    <a:pt x="4306" y="113038"/>
                  </a:cubicBezTo>
                  <a:cubicBezTo>
                    <a:pt x="3524" y="113038"/>
                    <a:pt x="2585" y="113195"/>
                    <a:pt x="1959" y="113821"/>
                  </a:cubicBezTo>
                  <a:cubicBezTo>
                    <a:pt x="1803" y="113821"/>
                    <a:pt x="1803" y="113977"/>
                    <a:pt x="1646" y="113977"/>
                  </a:cubicBezTo>
                  <a:cubicBezTo>
                    <a:pt x="-75" y="115386"/>
                    <a:pt x="-545" y="117890"/>
                    <a:pt x="707" y="119924"/>
                  </a:cubicBezTo>
                  <a:lnTo>
                    <a:pt x="22146" y="152635"/>
                  </a:lnTo>
                  <a:cubicBezTo>
                    <a:pt x="22772" y="153574"/>
                    <a:pt x="23711" y="154356"/>
                    <a:pt x="24963" y="154513"/>
                  </a:cubicBezTo>
                  <a:cubicBezTo>
                    <a:pt x="26058" y="154826"/>
                    <a:pt x="27310" y="154513"/>
                    <a:pt x="28249" y="153887"/>
                  </a:cubicBezTo>
                  <a:lnTo>
                    <a:pt x="60955" y="132445"/>
                  </a:lnTo>
                  <a:cubicBezTo>
                    <a:pt x="61111" y="132445"/>
                    <a:pt x="61111" y="132289"/>
                    <a:pt x="61268" y="132289"/>
                  </a:cubicBezTo>
                  <a:cubicBezTo>
                    <a:pt x="62989" y="130880"/>
                    <a:pt x="63458" y="128376"/>
                    <a:pt x="62206" y="126341"/>
                  </a:cubicBezTo>
                  <a:cubicBezTo>
                    <a:pt x="61580" y="125402"/>
                    <a:pt x="60642" y="124620"/>
                    <a:pt x="59390" y="124463"/>
                  </a:cubicBezTo>
                  <a:cubicBezTo>
                    <a:pt x="58294" y="124150"/>
                    <a:pt x="57042" y="124463"/>
                    <a:pt x="56103" y="125089"/>
                  </a:cubicBezTo>
                  <a:lnTo>
                    <a:pt x="30753" y="141679"/>
                  </a:lnTo>
                  <a:lnTo>
                    <a:pt x="34978" y="126498"/>
                  </a:lnTo>
                  <a:cubicBezTo>
                    <a:pt x="44210" y="93005"/>
                    <a:pt x="63615" y="63894"/>
                    <a:pt x="91000" y="42296"/>
                  </a:cubicBezTo>
                  <a:cubicBezTo>
                    <a:pt x="113847" y="24298"/>
                    <a:pt x="141232" y="12873"/>
                    <a:pt x="169869" y="8960"/>
                  </a:cubicBezTo>
                  <a:close/>
                </a:path>
              </a:pathLst>
            </a:custGeom>
            <a:solidFill>
              <a:schemeClr val="bg1"/>
            </a:solidFill>
            <a:ln w="1547" cap="flat">
              <a:solidFill>
                <a:schemeClr val="bg1"/>
              </a:solidFill>
              <a:prstDash val="solid"/>
              <a:miter/>
            </a:ln>
          </p:spPr>
          <p:txBody>
            <a:bodyPr rtlCol="0" anchor="ctr"/>
            <a:lstStyle/>
            <a:p>
              <a:endParaRPr lang="de-DE"/>
            </a:p>
          </p:txBody>
        </p:sp>
        <p:sp>
          <p:nvSpPr>
            <p:cNvPr id="193" name="Freihandform: Form 192">
              <a:extLst>
                <a:ext uri="{FF2B5EF4-FFF2-40B4-BE49-F238E27FC236}">
                  <a16:creationId xmlns:a16="http://schemas.microsoft.com/office/drawing/2014/main" id="{ADF83A5E-C391-F100-DF61-9289163B5298}"/>
                </a:ext>
              </a:extLst>
            </p:cNvPr>
            <p:cNvSpPr/>
            <p:nvPr/>
          </p:nvSpPr>
          <p:spPr>
            <a:xfrm>
              <a:off x="6549316" y="2733389"/>
              <a:ext cx="154556" cy="173896"/>
            </a:xfrm>
            <a:custGeom>
              <a:avLst/>
              <a:gdLst>
                <a:gd name="connsiteX0" fmla="*/ 150621 w 154556"/>
                <a:gd name="connsiteY0" fmla="*/ 173858 h 173896"/>
                <a:gd name="connsiteX1" fmla="*/ 152812 w 154556"/>
                <a:gd name="connsiteY1" fmla="*/ 172919 h 173896"/>
                <a:gd name="connsiteX2" fmla="*/ 152812 w 154556"/>
                <a:gd name="connsiteY2" fmla="*/ 172919 h 173896"/>
                <a:gd name="connsiteX3" fmla="*/ 154533 w 154556"/>
                <a:gd name="connsiteY3" fmla="*/ 168849 h 173896"/>
                <a:gd name="connsiteX4" fmla="*/ 119324 w 154556"/>
                <a:gd name="connsiteY4" fmla="*/ 85587 h 173896"/>
                <a:gd name="connsiteX5" fmla="*/ 29814 w 154556"/>
                <a:gd name="connsiteY5" fmla="*/ 26270 h 173896"/>
                <a:gd name="connsiteX6" fmla="*/ 16982 w 154556"/>
                <a:gd name="connsiteY6" fmla="*/ 22827 h 173896"/>
                <a:gd name="connsiteX7" fmla="*/ 39516 w 154556"/>
                <a:gd name="connsiteY7" fmla="*/ 8116 h 173896"/>
                <a:gd name="connsiteX8" fmla="*/ 39829 w 154556"/>
                <a:gd name="connsiteY8" fmla="*/ 7959 h 173896"/>
                <a:gd name="connsiteX9" fmla="*/ 40768 w 154556"/>
                <a:gd name="connsiteY9" fmla="*/ 2012 h 173896"/>
                <a:gd name="connsiteX10" fmla="*/ 34665 w 154556"/>
                <a:gd name="connsiteY10" fmla="*/ 760 h 173896"/>
                <a:gd name="connsiteX11" fmla="*/ 1959 w 154556"/>
                <a:gd name="connsiteY11" fmla="*/ 22201 h 173896"/>
                <a:gd name="connsiteX12" fmla="*/ 1646 w 154556"/>
                <a:gd name="connsiteY12" fmla="*/ 22358 h 173896"/>
                <a:gd name="connsiteX13" fmla="*/ 707 w 154556"/>
                <a:gd name="connsiteY13" fmla="*/ 28305 h 173896"/>
                <a:gd name="connsiteX14" fmla="*/ 22146 w 154556"/>
                <a:gd name="connsiteY14" fmla="*/ 61015 h 173896"/>
                <a:gd name="connsiteX15" fmla="*/ 24963 w 154556"/>
                <a:gd name="connsiteY15" fmla="*/ 62893 h 173896"/>
                <a:gd name="connsiteX16" fmla="*/ 28249 w 154556"/>
                <a:gd name="connsiteY16" fmla="*/ 62267 h 173896"/>
                <a:gd name="connsiteX17" fmla="*/ 28562 w 154556"/>
                <a:gd name="connsiteY17" fmla="*/ 62111 h 173896"/>
                <a:gd name="connsiteX18" fmla="*/ 29501 w 154556"/>
                <a:gd name="connsiteY18" fmla="*/ 56164 h 173896"/>
                <a:gd name="connsiteX19" fmla="*/ 12913 w 154556"/>
                <a:gd name="connsiteY19" fmla="*/ 30809 h 173896"/>
                <a:gd name="connsiteX20" fmla="*/ 28092 w 154556"/>
                <a:gd name="connsiteY20" fmla="*/ 35035 h 173896"/>
                <a:gd name="connsiteX21" fmla="*/ 112282 w 154556"/>
                <a:gd name="connsiteY21" fmla="*/ 91065 h 173896"/>
                <a:gd name="connsiteX22" fmla="*/ 145614 w 154556"/>
                <a:gd name="connsiteY22" fmla="*/ 169945 h 173896"/>
                <a:gd name="connsiteX23" fmla="*/ 147335 w 154556"/>
                <a:gd name="connsiteY23" fmla="*/ 172919 h 173896"/>
                <a:gd name="connsiteX24" fmla="*/ 150621 w 154556"/>
                <a:gd name="connsiteY24" fmla="*/ 173858 h 173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4556" h="173896">
                  <a:moveTo>
                    <a:pt x="150621" y="173858"/>
                  </a:moveTo>
                  <a:cubicBezTo>
                    <a:pt x="151404" y="173701"/>
                    <a:pt x="152186" y="173388"/>
                    <a:pt x="152812" y="172919"/>
                  </a:cubicBezTo>
                  <a:lnTo>
                    <a:pt x="152812" y="172919"/>
                  </a:lnTo>
                  <a:cubicBezTo>
                    <a:pt x="154064" y="171980"/>
                    <a:pt x="154690" y="170414"/>
                    <a:pt x="154533" y="168849"/>
                  </a:cubicBezTo>
                  <a:cubicBezTo>
                    <a:pt x="150465" y="138487"/>
                    <a:pt x="138415" y="109689"/>
                    <a:pt x="119324" y="85587"/>
                  </a:cubicBezTo>
                  <a:cubicBezTo>
                    <a:pt x="96320" y="56477"/>
                    <a:pt x="65336" y="35974"/>
                    <a:pt x="29814" y="26270"/>
                  </a:cubicBezTo>
                  <a:lnTo>
                    <a:pt x="16982" y="22827"/>
                  </a:lnTo>
                  <a:lnTo>
                    <a:pt x="39516" y="8116"/>
                  </a:lnTo>
                  <a:cubicBezTo>
                    <a:pt x="39672" y="8116"/>
                    <a:pt x="39672" y="7959"/>
                    <a:pt x="39829" y="7959"/>
                  </a:cubicBezTo>
                  <a:cubicBezTo>
                    <a:pt x="41550" y="6550"/>
                    <a:pt x="42020" y="4046"/>
                    <a:pt x="40768" y="2012"/>
                  </a:cubicBezTo>
                  <a:cubicBezTo>
                    <a:pt x="39359" y="-23"/>
                    <a:pt x="36699" y="-649"/>
                    <a:pt x="34665" y="760"/>
                  </a:cubicBezTo>
                  <a:lnTo>
                    <a:pt x="1959" y="22201"/>
                  </a:lnTo>
                  <a:cubicBezTo>
                    <a:pt x="1803" y="22201"/>
                    <a:pt x="1803" y="22358"/>
                    <a:pt x="1646" y="22358"/>
                  </a:cubicBezTo>
                  <a:cubicBezTo>
                    <a:pt x="-75" y="23766"/>
                    <a:pt x="-545" y="26270"/>
                    <a:pt x="707" y="28305"/>
                  </a:cubicBezTo>
                  <a:lnTo>
                    <a:pt x="22146" y="61015"/>
                  </a:lnTo>
                  <a:cubicBezTo>
                    <a:pt x="22772" y="61954"/>
                    <a:pt x="23711" y="62737"/>
                    <a:pt x="24963" y="62893"/>
                  </a:cubicBezTo>
                  <a:cubicBezTo>
                    <a:pt x="26058" y="63206"/>
                    <a:pt x="27310" y="62893"/>
                    <a:pt x="28249" y="62267"/>
                  </a:cubicBezTo>
                  <a:cubicBezTo>
                    <a:pt x="28405" y="62267"/>
                    <a:pt x="28405" y="62111"/>
                    <a:pt x="28562" y="62111"/>
                  </a:cubicBezTo>
                  <a:cubicBezTo>
                    <a:pt x="30283" y="60702"/>
                    <a:pt x="30753" y="58198"/>
                    <a:pt x="29501" y="56164"/>
                  </a:cubicBezTo>
                  <a:lnTo>
                    <a:pt x="12913" y="30809"/>
                  </a:lnTo>
                  <a:lnTo>
                    <a:pt x="28092" y="35035"/>
                  </a:lnTo>
                  <a:cubicBezTo>
                    <a:pt x="61580" y="44269"/>
                    <a:pt x="90687" y="63676"/>
                    <a:pt x="112282" y="91065"/>
                  </a:cubicBezTo>
                  <a:cubicBezTo>
                    <a:pt x="130278" y="113915"/>
                    <a:pt x="141858" y="141304"/>
                    <a:pt x="145614" y="169945"/>
                  </a:cubicBezTo>
                  <a:cubicBezTo>
                    <a:pt x="145770" y="171041"/>
                    <a:pt x="146396" y="172136"/>
                    <a:pt x="147335" y="172919"/>
                  </a:cubicBezTo>
                  <a:cubicBezTo>
                    <a:pt x="148274" y="173701"/>
                    <a:pt x="149369" y="174014"/>
                    <a:pt x="150621" y="173858"/>
                  </a:cubicBezTo>
                  <a:close/>
                </a:path>
              </a:pathLst>
            </a:custGeom>
            <a:solidFill>
              <a:schemeClr val="bg1"/>
            </a:solidFill>
            <a:ln w="1547" cap="flat">
              <a:solidFill>
                <a:schemeClr val="bg1"/>
              </a:solidFill>
              <a:prstDash val="solid"/>
              <a:miter/>
            </a:ln>
          </p:spPr>
          <p:txBody>
            <a:bodyPr rtlCol="0" anchor="ctr"/>
            <a:lstStyle/>
            <a:p>
              <a:endParaRPr lang="de-DE"/>
            </a:p>
          </p:txBody>
        </p:sp>
      </p:grpSp>
      <p:pic>
        <p:nvPicPr>
          <p:cNvPr id="6" name="Grafik 5">
            <a:extLst>
              <a:ext uri="{FF2B5EF4-FFF2-40B4-BE49-F238E27FC236}">
                <a16:creationId xmlns:a16="http://schemas.microsoft.com/office/drawing/2014/main" id="{B190CC0F-6C96-B509-3B34-EF5CF3FBEE4C}"/>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06906" y="4259176"/>
            <a:ext cx="264167" cy="373990"/>
          </a:xfrm>
          <a:prstGeom prst="rect">
            <a:avLst/>
          </a:prstGeom>
        </p:spPr>
      </p:pic>
      <p:pic>
        <p:nvPicPr>
          <p:cNvPr id="8" name="Grafik 7">
            <a:extLst>
              <a:ext uri="{FF2B5EF4-FFF2-40B4-BE49-F238E27FC236}">
                <a16:creationId xmlns:a16="http://schemas.microsoft.com/office/drawing/2014/main" id="{9D2273FE-3F9D-B155-2F0C-83AAC652005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47609" y="4931791"/>
            <a:ext cx="301226" cy="228457"/>
          </a:xfrm>
          <a:prstGeom prst="rect">
            <a:avLst/>
          </a:prstGeom>
        </p:spPr>
      </p:pic>
      <p:pic>
        <p:nvPicPr>
          <p:cNvPr id="14" name="Grafik 13">
            <a:extLst>
              <a:ext uri="{FF2B5EF4-FFF2-40B4-BE49-F238E27FC236}">
                <a16:creationId xmlns:a16="http://schemas.microsoft.com/office/drawing/2014/main" id="{095D7AA3-F0FD-ECB5-B1F9-E6A716966EAC}"/>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27241" y="2197086"/>
            <a:ext cx="276831" cy="266300"/>
          </a:xfrm>
          <a:prstGeom prst="rect">
            <a:avLst/>
          </a:prstGeom>
        </p:spPr>
      </p:pic>
      <p:grpSp>
        <p:nvGrpSpPr>
          <p:cNvPr id="221" name="Gruppieren 220">
            <a:extLst>
              <a:ext uri="{FF2B5EF4-FFF2-40B4-BE49-F238E27FC236}">
                <a16:creationId xmlns:a16="http://schemas.microsoft.com/office/drawing/2014/main" id="{298B69C0-A38B-AC07-97C0-91D7F4252768}"/>
              </a:ext>
            </a:extLst>
          </p:cNvPr>
          <p:cNvGrpSpPr/>
          <p:nvPr/>
        </p:nvGrpSpPr>
        <p:grpSpPr>
          <a:xfrm>
            <a:off x="6504564" y="3547562"/>
            <a:ext cx="382911" cy="241557"/>
            <a:chOff x="6444558" y="3458248"/>
            <a:chExt cx="490275" cy="309287"/>
          </a:xfrm>
        </p:grpSpPr>
        <p:sp>
          <p:nvSpPr>
            <p:cNvPr id="212" name="Freihandform: Form 211">
              <a:extLst>
                <a:ext uri="{FF2B5EF4-FFF2-40B4-BE49-F238E27FC236}">
                  <a16:creationId xmlns:a16="http://schemas.microsoft.com/office/drawing/2014/main" id="{7ECA9BB6-CD08-2371-B84C-A31BFDAB0E11}"/>
                </a:ext>
              </a:extLst>
            </p:cNvPr>
            <p:cNvSpPr/>
            <p:nvPr/>
          </p:nvSpPr>
          <p:spPr>
            <a:xfrm>
              <a:off x="6579716" y="3574236"/>
              <a:ext cx="220594" cy="193299"/>
            </a:xfrm>
            <a:custGeom>
              <a:avLst/>
              <a:gdLst>
                <a:gd name="connsiteX0" fmla="*/ 145515 w 312116"/>
                <a:gd name="connsiteY0" fmla="*/ 6087 h 273498"/>
                <a:gd name="connsiteX1" fmla="*/ 1657 w 312116"/>
                <a:gd name="connsiteY1" fmla="*/ 255230 h 273498"/>
                <a:gd name="connsiteX2" fmla="*/ 12200 w 312116"/>
                <a:gd name="connsiteY2" fmla="*/ 273499 h 273498"/>
                <a:gd name="connsiteX3" fmla="*/ 299917 w 312116"/>
                <a:gd name="connsiteY3" fmla="*/ 273499 h 273498"/>
                <a:gd name="connsiteX4" fmla="*/ 310460 w 312116"/>
                <a:gd name="connsiteY4" fmla="*/ 255230 h 273498"/>
                <a:gd name="connsiteX5" fmla="*/ 166601 w 312116"/>
                <a:gd name="connsiteY5" fmla="*/ 6087 h 273498"/>
                <a:gd name="connsiteX6" fmla="*/ 145515 w 312116"/>
                <a:gd name="connsiteY6" fmla="*/ 6087 h 27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116" h="273498">
                  <a:moveTo>
                    <a:pt x="145515" y="6087"/>
                  </a:moveTo>
                  <a:lnTo>
                    <a:pt x="1657" y="255230"/>
                  </a:lnTo>
                  <a:cubicBezTo>
                    <a:pt x="-3046" y="263346"/>
                    <a:pt x="2825" y="273499"/>
                    <a:pt x="12200" y="273499"/>
                  </a:cubicBezTo>
                  <a:lnTo>
                    <a:pt x="299917" y="273499"/>
                  </a:lnTo>
                  <a:cubicBezTo>
                    <a:pt x="309292" y="273499"/>
                    <a:pt x="315163" y="263346"/>
                    <a:pt x="310460" y="255230"/>
                  </a:cubicBezTo>
                  <a:lnTo>
                    <a:pt x="166601" y="6087"/>
                  </a:lnTo>
                  <a:cubicBezTo>
                    <a:pt x="161899" y="-2029"/>
                    <a:pt x="150188" y="-2029"/>
                    <a:pt x="145515" y="6087"/>
                  </a:cubicBezTo>
                  <a:close/>
                </a:path>
              </a:pathLst>
            </a:custGeom>
            <a:noFill/>
            <a:ln w="6350" cap="rnd">
              <a:solidFill>
                <a:schemeClr val="bg1"/>
              </a:solidFill>
              <a:prstDash val="solid"/>
              <a:round/>
            </a:ln>
          </p:spPr>
          <p:txBody>
            <a:bodyPr rtlCol="0" anchor="ctr"/>
            <a:lstStyle/>
            <a:p>
              <a:endParaRPr lang="de-DE"/>
            </a:p>
          </p:txBody>
        </p:sp>
        <p:sp>
          <p:nvSpPr>
            <p:cNvPr id="213" name="Freihandform: Form 212">
              <a:extLst>
                <a:ext uri="{FF2B5EF4-FFF2-40B4-BE49-F238E27FC236}">
                  <a16:creationId xmlns:a16="http://schemas.microsoft.com/office/drawing/2014/main" id="{A05E275A-78E9-0F6B-A53F-E880C0AFEA1F}"/>
                </a:ext>
              </a:extLst>
            </p:cNvPr>
            <p:cNvSpPr/>
            <p:nvPr/>
          </p:nvSpPr>
          <p:spPr>
            <a:xfrm>
              <a:off x="6488951" y="3477194"/>
              <a:ext cx="55447" cy="55420"/>
            </a:xfrm>
            <a:custGeom>
              <a:avLst/>
              <a:gdLst>
                <a:gd name="connsiteX0" fmla="*/ 78201 w 78452"/>
                <a:gd name="connsiteY0" fmla="*/ 70466 h 78414"/>
                <a:gd name="connsiteX1" fmla="*/ 60590 w 78452"/>
                <a:gd name="connsiteY1" fmla="*/ 4699 h 78414"/>
                <a:gd name="connsiteX2" fmla="*/ 50017 w 78452"/>
                <a:gd name="connsiteY2" fmla="*/ 1854 h 78414"/>
                <a:gd name="connsiteX3" fmla="*/ 1854 w 78452"/>
                <a:gd name="connsiteY3" fmla="*/ 50011 h 78414"/>
                <a:gd name="connsiteX4" fmla="*/ 4699 w 78452"/>
                <a:gd name="connsiteY4" fmla="*/ 60583 h 78414"/>
                <a:gd name="connsiteX5" fmla="*/ 70474 w 78452"/>
                <a:gd name="connsiteY5" fmla="*/ 78193 h 78414"/>
                <a:gd name="connsiteX6" fmla="*/ 78231 w 78452"/>
                <a:gd name="connsiteY6" fmla="*/ 70436 h 7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452" h="78414">
                  <a:moveTo>
                    <a:pt x="78201" y="70466"/>
                  </a:moveTo>
                  <a:lnTo>
                    <a:pt x="60590" y="4699"/>
                  </a:lnTo>
                  <a:cubicBezTo>
                    <a:pt x="59332" y="-3"/>
                    <a:pt x="53461" y="-1590"/>
                    <a:pt x="50017" y="1854"/>
                  </a:cubicBezTo>
                  <a:lnTo>
                    <a:pt x="1854" y="50011"/>
                  </a:lnTo>
                  <a:cubicBezTo>
                    <a:pt x="-1591" y="53455"/>
                    <a:pt x="-3" y="59325"/>
                    <a:pt x="4699" y="60583"/>
                  </a:cubicBezTo>
                  <a:lnTo>
                    <a:pt x="70474" y="78193"/>
                  </a:lnTo>
                  <a:cubicBezTo>
                    <a:pt x="75176" y="79451"/>
                    <a:pt x="79489" y="75138"/>
                    <a:pt x="78231" y="70436"/>
                  </a:cubicBezTo>
                  <a:close/>
                </a:path>
              </a:pathLst>
            </a:custGeom>
            <a:solidFill>
              <a:schemeClr val="bg1"/>
            </a:solidFill>
            <a:ln w="6350" cap="flat">
              <a:solidFill>
                <a:schemeClr val="bg1"/>
              </a:solidFill>
              <a:prstDash val="solid"/>
              <a:miter/>
            </a:ln>
          </p:spPr>
          <p:txBody>
            <a:bodyPr rtlCol="0" anchor="ctr"/>
            <a:lstStyle/>
            <a:p>
              <a:endParaRPr lang="de-DE"/>
            </a:p>
          </p:txBody>
        </p:sp>
        <p:sp>
          <p:nvSpPr>
            <p:cNvPr id="214" name="Freihandform: Form 213">
              <a:extLst>
                <a:ext uri="{FF2B5EF4-FFF2-40B4-BE49-F238E27FC236}">
                  <a16:creationId xmlns:a16="http://schemas.microsoft.com/office/drawing/2014/main" id="{C3399443-A92F-0B7B-A623-4E540986753D}"/>
                </a:ext>
              </a:extLst>
            </p:cNvPr>
            <p:cNvSpPr/>
            <p:nvPr/>
          </p:nvSpPr>
          <p:spPr>
            <a:xfrm>
              <a:off x="6678306" y="3631392"/>
              <a:ext cx="21211" cy="106257"/>
            </a:xfrm>
            <a:custGeom>
              <a:avLst/>
              <a:gdLst>
                <a:gd name="connsiteX0" fmla="*/ 4074 w 30011"/>
                <a:gd name="connsiteY0" fmla="*/ 84994 h 150342"/>
                <a:gd name="connsiteX1" fmla="*/ 899 w 30011"/>
                <a:gd name="connsiteY1" fmla="*/ 37436 h 150342"/>
                <a:gd name="connsiteX2" fmla="*/ 0 w 30011"/>
                <a:gd name="connsiteY2" fmla="*/ 17460 h 150342"/>
                <a:gd name="connsiteX3" fmla="*/ 4313 w 30011"/>
                <a:gd name="connsiteY3" fmla="*/ 4612 h 150342"/>
                <a:gd name="connsiteX4" fmla="*/ 15695 w 30011"/>
                <a:gd name="connsiteY4" fmla="*/ 0 h 150342"/>
                <a:gd name="connsiteX5" fmla="*/ 27106 w 30011"/>
                <a:gd name="connsiteY5" fmla="*/ 5900 h 150342"/>
                <a:gd name="connsiteX6" fmla="*/ 29982 w 30011"/>
                <a:gd name="connsiteY6" fmla="*/ 22941 h 150342"/>
                <a:gd name="connsiteX7" fmla="*/ 29293 w 30011"/>
                <a:gd name="connsiteY7" fmla="*/ 36238 h 150342"/>
                <a:gd name="connsiteX8" fmla="*/ 25010 w 30011"/>
                <a:gd name="connsiteY8" fmla="*/ 85204 h 150342"/>
                <a:gd name="connsiteX9" fmla="*/ 22045 w 30011"/>
                <a:gd name="connsiteY9" fmla="*/ 98621 h 150342"/>
                <a:gd name="connsiteX10" fmla="*/ 14497 w 30011"/>
                <a:gd name="connsiteY10" fmla="*/ 103293 h 150342"/>
                <a:gd name="connsiteX11" fmla="*/ 7039 w 30011"/>
                <a:gd name="connsiteY11" fmla="*/ 98771 h 150342"/>
                <a:gd name="connsiteX12" fmla="*/ 4074 w 30011"/>
                <a:gd name="connsiteY12" fmla="*/ 85024 h 150342"/>
                <a:gd name="connsiteX13" fmla="*/ 15096 w 30011"/>
                <a:gd name="connsiteY13" fmla="*/ 150342 h 150342"/>
                <a:gd name="connsiteX14" fmla="*/ 4523 w 30011"/>
                <a:gd name="connsiteY14" fmla="*/ 146419 h 150342"/>
                <a:gd name="connsiteX15" fmla="*/ 0 w 30011"/>
                <a:gd name="connsiteY15" fmla="*/ 135428 h 150342"/>
                <a:gd name="connsiteX16" fmla="*/ 4313 w 30011"/>
                <a:gd name="connsiteY16" fmla="*/ 124946 h 150342"/>
                <a:gd name="connsiteX17" fmla="*/ 14886 w 30011"/>
                <a:gd name="connsiteY17" fmla="*/ 120633 h 150342"/>
                <a:gd name="connsiteX18" fmla="*/ 25579 w 30011"/>
                <a:gd name="connsiteY18" fmla="*/ 124946 h 150342"/>
                <a:gd name="connsiteX19" fmla="*/ 30012 w 30011"/>
                <a:gd name="connsiteY19" fmla="*/ 135428 h 150342"/>
                <a:gd name="connsiteX20" fmla="*/ 25549 w 30011"/>
                <a:gd name="connsiteY20" fmla="*/ 146359 h 150342"/>
                <a:gd name="connsiteX21" fmla="*/ 15126 w 30011"/>
                <a:gd name="connsiteY21" fmla="*/ 150342 h 15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011" h="150342">
                  <a:moveTo>
                    <a:pt x="4074" y="84994"/>
                  </a:moveTo>
                  <a:lnTo>
                    <a:pt x="899" y="37436"/>
                  </a:lnTo>
                  <a:cubicBezTo>
                    <a:pt x="300" y="28182"/>
                    <a:pt x="0" y="21503"/>
                    <a:pt x="0" y="17460"/>
                  </a:cubicBezTo>
                  <a:cubicBezTo>
                    <a:pt x="0" y="11979"/>
                    <a:pt x="1438" y="7667"/>
                    <a:pt x="4313" y="4612"/>
                  </a:cubicBezTo>
                  <a:cubicBezTo>
                    <a:pt x="7188" y="1527"/>
                    <a:pt x="10992" y="0"/>
                    <a:pt x="15695" y="0"/>
                  </a:cubicBezTo>
                  <a:cubicBezTo>
                    <a:pt x="21386" y="0"/>
                    <a:pt x="25190" y="1977"/>
                    <a:pt x="27106" y="5900"/>
                  </a:cubicBezTo>
                  <a:cubicBezTo>
                    <a:pt x="29023" y="9853"/>
                    <a:pt x="29982" y="15513"/>
                    <a:pt x="29982" y="22941"/>
                  </a:cubicBezTo>
                  <a:cubicBezTo>
                    <a:pt x="29982" y="27313"/>
                    <a:pt x="29742" y="31746"/>
                    <a:pt x="29293" y="36238"/>
                  </a:cubicBezTo>
                  <a:lnTo>
                    <a:pt x="25010" y="85204"/>
                  </a:lnTo>
                  <a:cubicBezTo>
                    <a:pt x="24531" y="91044"/>
                    <a:pt x="23542" y="95506"/>
                    <a:pt x="22045" y="98621"/>
                  </a:cubicBezTo>
                  <a:cubicBezTo>
                    <a:pt x="20517" y="101736"/>
                    <a:pt x="18001" y="103293"/>
                    <a:pt x="14497" y="103293"/>
                  </a:cubicBezTo>
                  <a:cubicBezTo>
                    <a:pt x="10992" y="103293"/>
                    <a:pt x="8446" y="101796"/>
                    <a:pt x="7039" y="98771"/>
                  </a:cubicBezTo>
                  <a:cubicBezTo>
                    <a:pt x="5661" y="95746"/>
                    <a:pt x="4643" y="91164"/>
                    <a:pt x="4074" y="85024"/>
                  </a:cubicBezTo>
                  <a:close/>
                  <a:moveTo>
                    <a:pt x="15096" y="150342"/>
                  </a:moveTo>
                  <a:cubicBezTo>
                    <a:pt x="11052" y="150342"/>
                    <a:pt x="7518" y="149025"/>
                    <a:pt x="4523" y="146419"/>
                  </a:cubicBezTo>
                  <a:cubicBezTo>
                    <a:pt x="1498" y="143814"/>
                    <a:pt x="0" y="140160"/>
                    <a:pt x="0" y="135428"/>
                  </a:cubicBezTo>
                  <a:cubicBezTo>
                    <a:pt x="0" y="131325"/>
                    <a:pt x="1438" y="127821"/>
                    <a:pt x="4313" y="124946"/>
                  </a:cubicBezTo>
                  <a:cubicBezTo>
                    <a:pt x="7188" y="122071"/>
                    <a:pt x="10723" y="120633"/>
                    <a:pt x="14886" y="120633"/>
                  </a:cubicBezTo>
                  <a:cubicBezTo>
                    <a:pt x="19049" y="120633"/>
                    <a:pt x="22614" y="122071"/>
                    <a:pt x="25579" y="124946"/>
                  </a:cubicBezTo>
                  <a:cubicBezTo>
                    <a:pt x="28514" y="127821"/>
                    <a:pt x="30012" y="131325"/>
                    <a:pt x="30012" y="135428"/>
                  </a:cubicBezTo>
                  <a:cubicBezTo>
                    <a:pt x="30012" y="140070"/>
                    <a:pt x="28514" y="143694"/>
                    <a:pt x="25549" y="146359"/>
                  </a:cubicBezTo>
                  <a:cubicBezTo>
                    <a:pt x="22584" y="149025"/>
                    <a:pt x="19079" y="150342"/>
                    <a:pt x="15126" y="150342"/>
                  </a:cubicBezTo>
                  <a:close/>
                </a:path>
              </a:pathLst>
            </a:custGeom>
            <a:solidFill>
              <a:schemeClr val="bg1"/>
            </a:solidFill>
            <a:ln w="6350" cap="flat">
              <a:solidFill>
                <a:schemeClr val="bg1"/>
              </a:solidFill>
              <a:prstDash val="solid"/>
              <a:miter/>
            </a:ln>
          </p:spPr>
          <p:txBody>
            <a:bodyPr rtlCol="0" anchor="ctr"/>
            <a:lstStyle/>
            <a:p>
              <a:endParaRPr lang="de-DE"/>
            </a:p>
          </p:txBody>
        </p:sp>
        <p:sp>
          <p:nvSpPr>
            <p:cNvPr id="216" name="Freihandform: Form 215">
              <a:extLst>
                <a:ext uri="{FF2B5EF4-FFF2-40B4-BE49-F238E27FC236}">
                  <a16:creationId xmlns:a16="http://schemas.microsoft.com/office/drawing/2014/main" id="{CD8E6E4B-3395-0F79-D093-5156D4BCF496}"/>
                </a:ext>
              </a:extLst>
            </p:cNvPr>
            <p:cNvSpPr/>
            <p:nvPr/>
          </p:nvSpPr>
          <p:spPr>
            <a:xfrm>
              <a:off x="6444558" y="3496814"/>
              <a:ext cx="146468" cy="206545"/>
            </a:xfrm>
            <a:custGeom>
              <a:avLst/>
              <a:gdLst>
                <a:gd name="connsiteX0" fmla="*/ 160033 w 207236"/>
                <a:gd name="connsiteY0" fmla="*/ 0 h 292239"/>
                <a:gd name="connsiteX1" fmla="*/ 0 w 207236"/>
                <a:gd name="connsiteY1" fmla="*/ 292239 h 292239"/>
                <a:gd name="connsiteX2" fmla="*/ 94229 w 207236"/>
                <a:gd name="connsiteY2" fmla="*/ 292239 h 292239"/>
                <a:gd name="connsiteX3" fmla="*/ 207237 w 207236"/>
                <a:gd name="connsiteY3" fmla="*/ 81760 h 292239"/>
                <a:gd name="connsiteX4" fmla="*/ 160033 w 207236"/>
                <a:gd name="connsiteY4" fmla="*/ 0 h 292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236" h="292239">
                  <a:moveTo>
                    <a:pt x="160033" y="0"/>
                  </a:moveTo>
                  <a:cubicBezTo>
                    <a:pt x="63798" y="61634"/>
                    <a:pt x="0" y="169480"/>
                    <a:pt x="0" y="292239"/>
                  </a:cubicBezTo>
                  <a:lnTo>
                    <a:pt x="94229" y="292239"/>
                  </a:lnTo>
                  <a:cubicBezTo>
                    <a:pt x="94229" y="204370"/>
                    <a:pt x="139126" y="127012"/>
                    <a:pt x="207237" y="81760"/>
                  </a:cubicBezTo>
                  <a:lnTo>
                    <a:pt x="160033" y="0"/>
                  </a:lnTo>
                  <a:close/>
                </a:path>
              </a:pathLst>
            </a:custGeom>
            <a:noFill/>
            <a:ln w="6350" cap="rnd">
              <a:solidFill>
                <a:schemeClr val="bg1"/>
              </a:solidFill>
              <a:prstDash val="solid"/>
              <a:round/>
            </a:ln>
          </p:spPr>
          <p:txBody>
            <a:bodyPr rtlCol="0" anchor="ctr"/>
            <a:lstStyle/>
            <a:p>
              <a:endParaRPr lang="de-DE"/>
            </a:p>
          </p:txBody>
        </p:sp>
        <p:sp>
          <p:nvSpPr>
            <p:cNvPr id="217" name="Freihandform: Form 216">
              <a:extLst>
                <a:ext uri="{FF2B5EF4-FFF2-40B4-BE49-F238E27FC236}">
                  <a16:creationId xmlns:a16="http://schemas.microsoft.com/office/drawing/2014/main" id="{5C102E18-92F1-5766-608C-31A83F20A822}"/>
                </a:ext>
              </a:extLst>
            </p:cNvPr>
            <p:cNvSpPr/>
            <p:nvPr/>
          </p:nvSpPr>
          <p:spPr>
            <a:xfrm>
              <a:off x="6578515" y="3458248"/>
              <a:ext cx="220623" cy="84434"/>
            </a:xfrm>
            <a:custGeom>
              <a:avLst/>
              <a:gdLst>
                <a:gd name="connsiteX0" fmla="*/ 47204 w 312158"/>
                <a:gd name="connsiteY0" fmla="*/ 119465 h 119465"/>
                <a:gd name="connsiteX1" fmla="*/ 157337 w 312158"/>
                <a:gd name="connsiteY1" fmla="*/ 94249 h 119465"/>
                <a:gd name="connsiteX2" fmla="*/ 264894 w 312158"/>
                <a:gd name="connsiteY2" fmla="*/ 118267 h 119465"/>
                <a:gd name="connsiteX3" fmla="*/ 312158 w 312158"/>
                <a:gd name="connsiteY3" fmla="*/ 36418 h 119465"/>
                <a:gd name="connsiteX4" fmla="*/ 157337 w 312158"/>
                <a:gd name="connsiteY4" fmla="*/ 0 h 119465"/>
                <a:gd name="connsiteX5" fmla="*/ 0 w 312158"/>
                <a:gd name="connsiteY5" fmla="*/ 37675 h 119465"/>
                <a:gd name="connsiteX6" fmla="*/ 47234 w 312158"/>
                <a:gd name="connsiteY6" fmla="*/ 119465 h 119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158" h="119465">
                  <a:moveTo>
                    <a:pt x="47204" y="119465"/>
                  </a:moveTo>
                  <a:cubicBezTo>
                    <a:pt x="80481" y="103323"/>
                    <a:pt x="117861" y="94249"/>
                    <a:pt x="157337" y="94249"/>
                  </a:cubicBezTo>
                  <a:cubicBezTo>
                    <a:pt x="196814" y="94249"/>
                    <a:pt x="232247" y="102874"/>
                    <a:pt x="264894" y="118267"/>
                  </a:cubicBezTo>
                  <a:lnTo>
                    <a:pt x="312158" y="36418"/>
                  </a:lnTo>
                  <a:cubicBezTo>
                    <a:pt x="265553" y="13118"/>
                    <a:pt x="212988" y="0"/>
                    <a:pt x="157337" y="0"/>
                  </a:cubicBezTo>
                  <a:cubicBezTo>
                    <a:pt x="101687" y="0"/>
                    <a:pt x="47204" y="13597"/>
                    <a:pt x="0" y="37675"/>
                  </a:cubicBezTo>
                  <a:lnTo>
                    <a:pt x="47234" y="119465"/>
                  </a:lnTo>
                  <a:close/>
                </a:path>
              </a:pathLst>
            </a:custGeom>
            <a:noFill/>
            <a:ln w="6350" cap="rnd">
              <a:solidFill>
                <a:schemeClr val="bg1"/>
              </a:solidFill>
              <a:prstDash val="solid"/>
              <a:round/>
            </a:ln>
          </p:spPr>
          <p:txBody>
            <a:bodyPr rtlCol="0" anchor="ctr"/>
            <a:lstStyle/>
            <a:p>
              <a:endParaRPr lang="de-DE"/>
            </a:p>
          </p:txBody>
        </p:sp>
        <p:sp>
          <p:nvSpPr>
            <p:cNvPr id="218" name="Freihandform: Form 217">
              <a:extLst>
                <a:ext uri="{FF2B5EF4-FFF2-40B4-BE49-F238E27FC236}">
                  <a16:creationId xmlns:a16="http://schemas.microsoft.com/office/drawing/2014/main" id="{BC394DE5-50EC-4C42-395A-060EC5D1534E}"/>
                </a:ext>
              </a:extLst>
            </p:cNvPr>
            <p:cNvSpPr/>
            <p:nvPr/>
          </p:nvSpPr>
          <p:spPr>
            <a:xfrm>
              <a:off x="6786692" y="3495777"/>
              <a:ext cx="148141" cy="207603"/>
            </a:xfrm>
            <a:custGeom>
              <a:avLst/>
              <a:gdLst>
                <a:gd name="connsiteX0" fmla="*/ 47204 w 209603"/>
                <a:gd name="connsiteY0" fmla="*/ 0 h 293736"/>
                <a:gd name="connsiteX1" fmla="*/ 0 w 209603"/>
                <a:gd name="connsiteY1" fmla="*/ 81730 h 293736"/>
                <a:gd name="connsiteX2" fmla="*/ 115375 w 209603"/>
                <a:gd name="connsiteY2" fmla="*/ 293737 h 293736"/>
                <a:gd name="connsiteX3" fmla="*/ 209603 w 209603"/>
                <a:gd name="connsiteY3" fmla="*/ 293737 h 293736"/>
                <a:gd name="connsiteX4" fmla="*/ 47174 w 209603"/>
                <a:gd name="connsiteY4" fmla="*/ 0 h 293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03" h="293736">
                  <a:moveTo>
                    <a:pt x="47204" y="0"/>
                  </a:moveTo>
                  <a:lnTo>
                    <a:pt x="0" y="81730"/>
                  </a:lnTo>
                  <a:cubicBezTo>
                    <a:pt x="69428" y="126743"/>
                    <a:pt x="115375" y="204849"/>
                    <a:pt x="115375" y="293737"/>
                  </a:cubicBezTo>
                  <a:lnTo>
                    <a:pt x="209603" y="293737"/>
                  </a:lnTo>
                  <a:cubicBezTo>
                    <a:pt x="209603" y="169959"/>
                    <a:pt x="144757" y="61365"/>
                    <a:pt x="47174" y="0"/>
                  </a:cubicBezTo>
                  <a:close/>
                </a:path>
              </a:pathLst>
            </a:custGeom>
            <a:noFill/>
            <a:ln w="6350" cap="rnd">
              <a:solidFill>
                <a:schemeClr val="bg1"/>
              </a:solidFill>
              <a:prstDash val="solid"/>
              <a:round/>
            </a:ln>
          </p:spPr>
          <p:txBody>
            <a:bodyPr rtlCol="0" anchor="ctr"/>
            <a:lstStyle/>
            <a:p>
              <a:endParaRPr lang="de-DE"/>
            </a:p>
          </p:txBody>
        </p:sp>
      </p:grpSp>
    </p:spTree>
    <p:extLst>
      <p:ext uri="{BB962C8B-B14F-4D97-AF65-F5344CB8AC3E}">
        <p14:creationId xmlns:p14="http://schemas.microsoft.com/office/powerpoint/2010/main" val="4243726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extplatzhalter 18">
            <a:extLst>
              <a:ext uri="{FF2B5EF4-FFF2-40B4-BE49-F238E27FC236}">
                <a16:creationId xmlns:a16="http://schemas.microsoft.com/office/drawing/2014/main" id="{F4B76C24-74C7-D214-0168-C441BD40D6FA}"/>
              </a:ext>
            </a:extLst>
          </p:cNvPr>
          <p:cNvSpPr>
            <a:spLocks noGrp="1"/>
          </p:cNvSpPr>
          <p:nvPr>
            <p:ph type="body" sz="quarter" idx="12"/>
          </p:nvPr>
        </p:nvSpPr>
        <p:spPr/>
        <p:txBody>
          <a:bodyPr/>
          <a:lstStyle/>
          <a:p>
            <a:r>
              <a:rPr lang="de-DE"/>
              <a:t>Digitalisierung als zentraler Schlüssel für Nachhaltigkeit und ESG</a:t>
            </a:r>
          </a:p>
        </p:txBody>
      </p:sp>
      <p:sp>
        <p:nvSpPr>
          <p:cNvPr id="18" name="Titel 17">
            <a:extLst>
              <a:ext uri="{FF2B5EF4-FFF2-40B4-BE49-F238E27FC236}">
                <a16:creationId xmlns:a16="http://schemas.microsoft.com/office/drawing/2014/main" id="{FE89A007-21AF-1075-383B-5A12CFEDE51D}"/>
              </a:ext>
            </a:extLst>
          </p:cNvPr>
          <p:cNvSpPr>
            <a:spLocks noGrp="1"/>
          </p:cNvSpPr>
          <p:nvPr>
            <p:ph type="title"/>
          </p:nvPr>
        </p:nvSpPr>
        <p:spPr/>
        <p:txBody>
          <a:bodyPr/>
          <a:lstStyle/>
          <a:p>
            <a:r>
              <a:rPr lang="de-DE" b="1" dirty="0"/>
              <a:t>Nachhaltigkeit und ESG im Fokus:</a:t>
            </a:r>
            <a:br>
              <a:rPr lang="de-DE" dirty="0"/>
            </a:br>
            <a:r>
              <a:rPr lang="de-DE" dirty="0"/>
              <a:t>Wir leben unsere Verantwortung</a:t>
            </a:r>
            <a:br>
              <a:rPr lang="de-DE" dirty="0"/>
            </a:br>
            <a:endParaRPr lang="de-DE" dirty="0"/>
          </a:p>
        </p:txBody>
      </p:sp>
      <p:sp>
        <p:nvSpPr>
          <p:cNvPr id="3" name="Fußzeilenplatzhalter 1">
            <a:extLst>
              <a:ext uri="{FF2B5EF4-FFF2-40B4-BE49-F238E27FC236}">
                <a16:creationId xmlns:a16="http://schemas.microsoft.com/office/drawing/2014/main" id="{F1A6866F-5744-AD5F-8E38-7A6AEF778D62}"/>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48</a:t>
            </a:fld>
            <a:endParaRPr lang="de-DE"/>
          </a:p>
        </p:txBody>
      </p:sp>
      <p:pic>
        <p:nvPicPr>
          <p:cNvPr id="2" name="Grafik 1">
            <a:extLst>
              <a:ext uri="{FF2B5EF4-FFF2-40B4-BE49-F238E27FC236}">
                <a16:creationId xmlns:a16="http://schemas.microsoft.com/office/drawing/2014/main" id="{24F048C1-E8AA-EFAF-F9BC-7130F61FFE04}"/>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6000"/>
                    </a14:imgEffect>
                  </a14:imgLayer>
                </a14:imgProps>
              </a:ext>
            </a:extLst>
          </a:blip>
          <a:srcRect t="7006" b="7006"/>
          <a:stretch/>
        </p:blipFill>
        <p:spPr>
          <a:xfrm>
            <a:off x="2219" y="1469291"/>
            <a:ext cx="12189781" cy="4623533"/>
          </a:xfrm>
          <a:prstGeom prst="rect">
            <a:avLst/>
          </a:prstGeom>
        </p:spPr>
      </p:pic>
      <p:sp>
        <p:nvSpPr>
          <p:cNvPr id="38" name="Textfeld 37">
            <a:extLst>
              <a:ext uri="{FF2B5EF4-FFF2-40B4-BE49-F238E27FC236}">
                <a16:creationId xmlns:a16="http://schemas.microsoft.com/office/drawing/2014/main" id="{79906020-3963-A7BF-5C9B-2FB5F21A37DC}"/>
              </a:ext>
            </a:extLst>
          </p:cNvPr>
          <p:cNvSpPr txBox="1"/>
          <p:nvPr/>
        </p:nvSpPr>
        <p:spPr>
          <a:xfrm>
            <a:off x="1019367" y="1844130"/>
            <a:ext cx="6219634" cy="369332"/>
          </a:xfrm>
          <a:prstGeom prst="rect">
            <a:avLst/>
          </a:prstGeom>
        </p:spPr>
        <p:txBody>
          <a:bodyPr vert="horz" wrap="square" lIns="0" tIns="0" rIns="0" bIns="0" rtlCol="0" anchor="t">
            <a:spAutoFit/>
          </a:bodyPr>
          <a:lstStyle/>
          <a:p>
            <a:r>
              <a:rPr lang="de-DE" sz="1200" dirty="0">
                <a:solidFill>
                  <a:schemeClr val="bg1"/>
                </a:solidFill>
                <a:cs typeface="Calibri"/>
              </a:rPr>
              <a:t>Als Unterzeichner der Charta der Vielfalt verpflichten wir uns, ein wertschätzendes Arbeitsumfeld für alle Mitarbeitenden zu schaffen.</a:t>
            </a:r>
          </a:p>
        </p:txBody>
      </p:sp>
      <p:sp>
        <p:nvSpPr>
          <p:cNvPr id="39" name="Textfeld 38">
            <a:extLst>
              <a:ext uri="{FF2B5EF4-FFF2-40B4-BE49-F238E27FC236}">
                <a16:creationId xmlns:a16="http://schemas.microsoft.com/office/drawing/2014/main" id="{76532D20-D828-D0F8-4D6B-0D70DFEB8AC9}"/>
              </a:ext>
            </a:extLst>
          </p:cNvPr>
          <p:cNvSpPr txBox="1"/>
          <p:nvPr/>
        </p:nvSpPr>
        <p:spPr>
          <a:xfrm>
            <a:off x="1019367" y="2379734"/>
            <a:ext cx="6219634" cy="369332"/>
          </a:xfrm>
          <a:prstGeom prst="rect">
            <a:avLst/>
          </a:prstGeom>
        </p:spPr>
        <p:txBody>
          <a:bodyPr vert="horz" wrap="square" lIns="0" tIns="0" rIns="0" bIns="0" rtlCol="0" anchor="t">
            <a:spAutoFit/>
          </a:bodyPr>
          <a:lstStyle/>
          <a:p>
            <a:r>
              <a:rPr lang="de-DE" sz="1200" dirty="0">
                <a:solidFill>
                  <a:schemeClr val="bg1"/>
                </a:solidFill>
                <a:ea typeface="Calibri"/>
                <a:cs typeface="Calibri"/>
              </a:rPr>
              <a:t>Seit 2023 sind </a:t>
            </a:r>
            <a:r>
              <a:rPr lang="de-DE" sz="1200" dirty="0" err="1">
                <a:solidFill>
                  <a:schemeClr val="bg1"/>
                </a:solidFill>
                <a:ea typeface="Calibri"/>
                <a:cs typeface="Calibri"/>
              </a:rPr>
              <a:t>msg</a:t>
            </a:r>
            <a:r>
              <a:rPr lang="de-DE" sz="1200" dirty="0">
                <a:solidFill>
                  <a:schemeClr val="bg1"/>
                </a:solidFill>
                <a:ea typeface="Calibri"/>
                <a:cs typeface="Calibri"/>
              </a:rPr>
              <a:t> </a:t>
            </a:r>
            <a:r>
              <a:rPr lang="de-DE" sz="1200" dirty="0" err="1">
                <a:solidFill>
                  <a:schemeClr val="bg1"/>
                </a:solidFill>
                <a:ea typeface="Calibri"/>
                <a:cs typeface="Calibri"/>
              </a:rPr>
              <a:t>systems</a:t>
            </a:r>
            <a:r>
              <a:rPr lang="de-DE" sz="1200" dirty="0">
                <a:solidFill>
                  <a:schemeClr val="bg1"/>
                </a:solidFill>
                <a:ea typeface="Calibri"/>
                <a:cs typeface="Calibri"/>
              </a:rPr>
              <a:t> </a:t>
            </a:r>
            <a:r>
              <a:rPr lang="de-DE" sz="1200" dirty="0" err="1">
                <a:solidFill>
                  <a:schemeClr val="bg1"/>
                </a:solidFill>
                <a:ea typeface="Calibri"/>
                <a:cs typeface="Calibri"/>
              </a:rPr>
              <a:t>ag</a:t>
            </a:r>
            <a:r>
              <a:rPr lang="de-DE" sz="1200" dirty="0">
                <a:solidFill>
                  <a:schemeClr val="bg1"/>
                </a:solidFill>
                <a:ea typeface="Calibri"/>
                <a:cs typeface="Calibri"/>
              </a:rPr>
              <a:t> und </a:t>
            </a:r>
            <a:r>
              <a:rPr lang="de-DE" sz="1200" dirty="0" err="1">
                <a:solidFill>
                  <a:schemeClr val="bg1"/>
                </a:solidFill>
                <a:ea typeface="Calibri"/>
                <a:cs typeface="Calibri"/>
              </a:rPr>
              <a:t>msg</a:t>
            </a:r>
            <a:r>
              <a:rPr lang="de-DE" sz="1200" dirty="0">
                <a:solidFill>
                  <a:schemeClr val="bg1"/>
                </a:solidFill>
                <a:ea typeface="Calibri"/>
                <a:cs typeface="Calibri"/>
              </a:rPr>
              <a:t> </a:t>
            </a:r>
            <a:r>
              <a:rPr lang="de-DE" sz="1200" dirty="0" err="1">
                <a:solidFill>
                  <a:schemeClr val="bg1"/>
                </a:solidFill>
                <a:ea typeface="Calibri"/>
                <a:cs typeface="Calibri"/>
              </a:rPr>
              <a:t>for</a:t>
            </a:r>
            <a:r>
              <a:rPr lang="de-DE" sz="1200" dirty="0">
                <a:solidFill>
                  <a:schemeClr val="bg1"/>
                </a:solidFill>
                <a:ea typeface="Calibri"/>
                <a:cs typeface="Calibri"/>
              </a:rPr>
              <a:t> </a:t>
            </a:r>
            <a:r>
              <a:rPr lang="de-DE" sz="1200" dirty="0" err="1">
                <a:solidFill>
                  <a:schemeClr val="bg1"/>
                </a:solidFill>
                <a:ea typeface="Calibri"/>
                <a:cs typeface="Calibri"/>
              </a:rPr>
              <a:t>banking</a:t>
            </a:r>
            <a:r>
              <a:rPr lang="de-DE" sz="1200" dirty="0">
                <a:solidFill>
                  <a:schemeClr val="bg1"/>
                </a:solidFill>
                <a:ea typeface="Calibri"/>
                <a:cs typeface="Calibri"/>
              </a:rPr>
              <a:t> </a:t>
            </a:r>
            <a:r>
              <a:rPr lang="de-DE" sz="1200" dirty="0" err="1">
                <a:solidFill>
                  <a:schemeClr val="bg1"/>
                </a:solidFill>
                <a:ea typeface="Calibri"/>
                <a:cs typeface="Calibri"/>
              </a:rPr>
              <a:t>ag</a:t>
            </a:r>
            <a:r>
              <a:rPr lang="de-DE" sz="1200" dirty="0">
                <a:solidFill>
                  <a:schemeClr val="bg1"/>
                </a:solidFill>
                <a:ea typeface="Calibri"/>
                <a:cs typeface="Calibri"/>
              </a:rPr>
              <a:t> Teilnehmer des UN Global Compact und zur Veröffentlichung von Fortschrittsberichten verpflichtet. </a:t>
            </a:r>
          </a:p>
        </p:txBody>
      </p:sp>
      <p:sp>
        <p:nvSpPr>
          <p:cNvPr id="40" name="Textfeld 39">
            <a:extLst>
              <a:ext uri="{FF2B5EF4-FFF2-40B4-BE49-F238E27FC236}">
                <a16:creationId xmlns:a16="http://schemas.microsoft.com/office/drawing/2014/main" id="{AF738C9B-98EA-2C7B-FB7A-AFFDF76F984D}"/>
              </a:ext>
            </a:extLst>
          </p:cNvPr>
          <p:cNvSpPr txBox="1"/>
          <p:nvPr/>
        </p:nvSpPr>
        <p:spPr>
          <a:xfrm>
            <a:off x="1019366" y="2905549"/>
            <a:ext cx="6219634" cy="369332"/>
          </a:xfrm>
          <a:prstGeom prst="rect">
            <a:avLst/>
          </a:prstGeom>
        </p:spPr>
        <p:txBody>
          <a:bodyPr vert="horz" wrap="square" lIns="0" tIns="0" rIns="0" bIns="0" rtlCol="0" anchor="t">
            <a:spAutoFit/>
          </a:bodyPr>
          <a:lstStyle/>
          <a:p>
            <a:r>
              <a:rPr lang="de-DE" sz="1200" dirty="0">
                <a:solidFill>
                  <a:schemeClr val="bg1"/>
                </a:solidFill>
                <a:cs typeface="Calibri"/>
              </a:rPr>
              <a:t>Seit 2019 wird die Nachhaltigkeitsleistung der </a:t>
            </a:r>
            <a:r>
              <a:rPr lang="de-DE" sz="1200" dirty="0" err="1">
                <a:solidFill>
                  <a:schemeClr val="bg1"/>
                </a:solidFill>
                <a:cs typeface="Calibri"/>
              </a:rPr>
              <a:t>msg</a:t>
            </a:r>
            <a:r>
              <a:rPr lang="de-DE" sz="1200" dirty="0">
                <a:solidFill>
                  <a:schemeClr val="bg1"/>
                </a:solidFill>
                <a:cs typeface="Calibri"/>
              </a:rPr>
              <a:t> </a:t>
            </a:r>
            <a:r>
              <a:rPr lang="de-DE" sz="1200" dirty="0" err="1">
                <a:solidFill>
                  <a:schemeClr val="bg1"/>
                </a:solidFill>
                <a:cs typeface="Calibri"/>
              </a:rPr>
              <a:t>systems</a:t>
            </a:r>
            <a:r>
              <a:rPr lang="de-DE" sz="1200" dirty="0">
                <a:solidFill>
                  <a:schemeClr val="bg1"/>
                </a:solidFill>
                <a:cs typeface="Calibri"/>
              </a:rPr>
              <a:t> </a:t>
            </a:r>
            <a:r>
              <a:rPr lang="de-DE" sz="1200" dirty="0" err="1">
                <a:solidFill>
                  <a:schemeClr val="bg1"/>
                </a:solidFill>
                <a:cs typeface="Calibri"/>
              </a:rPr>
              <a:t>ag</a:t>
            </a:r>
            <a:r>
              <a:rPr lang="de-DE" sz="1200" dirty="0">
                <a:solidFill>
                  <a:schemeClr val="bg1"/>
                </a:solidFill>
                <a:cs typeface="Calibri"/>
              </a:rPr>
              <a:t> von </a:t>
            </a:r>
            <a:r>
              <a:rPr lang="de-DE" sz="1200" dirty="0" err="1">
                <a:solidFill>
                  <a:schemeClr val="bg1"/>
                </a:solidFill>
                <a:cs typeface="Calibri"/>
              </a:rPr>
              <a:t>EcoVadis</a:t>
            </a:r>
            <a:endParaRPr lang="de-DE" sz="1200" dirty="0">
              <a:solidFill>
                <a:schemeClr val="bg1"/>
              </a:solidFill>
              <a:cs typeface="Calibri"/>
            </a:endParaRPr>
          </a:p>
          <a:p>
            <a:r>
              <a:rPr lang="de-DE" sz="1200" dirty="0">
                <a:solidFill>
                  <a:schemeClr val="bg1"/>
                </a:solidFill>
                <a:cs typeface="Calibri"/>
              </a:rPr>
              <a:t>(externes ESG-Rating) geprüft und bewertet.</a:t>
            </a:r>
          </a:p>
        </p:txBody>
      </p:sp>
      <p:sp>
        <p:nvSpPr>
          <p:cNvPr id="42" name="Textfeld 41">
            <a:extLst>
              <a:ext uri="{FF2B5EF4-FFF2-40B4-BE49-F238E27FC236}">
                <a16:creationId xmlns:a16="http://schemas.microsoft.com/office/drawing/2014/main" id="{319EFD03-C4A0-8732-4E95-708D2E96556B}"/>
              </a:ext>
            </a:extLst>
          </p:cNvPr>
          <p:cNvSpPr txBox="1"/>
          <p:nvPr/>
        </p:nvSpPr>
        <p:spPr>
          <a:xfrm>
            <a:off x="1019366" y="4674636"/>
            <a:ext cx="6219634" cy="553998"/>
          </a:xfrm>
          <a:prstGeom prst="rect">
            <a:avLst/>
          </a:prstGeom>
        </p:spPr>
        <p:txBody>
          <a:bodyPr vert="horz" wrap="square" lIns="0" tIns="0" rIns="0" bIns="0" rtlCol="0" anchor="t">
            <a:spAutoFit/>
          </a:bodyPr>
          <a:lstStyle/>
          <a:p>
            <a:r>
              <a:rPr lang="de-DE" sz="1200" dirty="0">
                <a:solidFill>
                  <a:schemeClr val="bg1"/>
                </a:solidFill>
                <a:cs typeface="Calibri"/>
              </a:rPr>
              <a:t>Aspekte der Arbeitssicherheit und des Umweltschutzes werden bei </a:t>
            </a:r>
            <a:r>
              <a:rPr lang="de-DE" sz="1200" dirty="0" err="1">
                <a:solidFill>
                  <a:schemeClr val="bg1"/>
                </a:solidFill>
                <a:cs typeface="Calibri"/>
              </a:rPr>
              <a:t>msg</a:t>
            </a:r>
            <a:r>
              <a:rPr lang="de-DE" sz="1200" dirty="0">
                <a:solidFill>
                  <a:schemeClr val="bg1"/>
                </a:solidFill>
                <a:cs typeface="Calibri"/>
              </a:rPr>
              <a:t> </a:t>
            </a:r>
            <a:r>
              <a:rPr lang="de-DE" sz="1200" dirty="0" err="1">
                <a:solidFill>
                  <a:schemeClr val="bg1"/>
                </a:solidFill>
                <a:cs typeface="Calibri"/>
              </a:rPr>
              <a:t>systems</a:t>
            </a:r>
            <a:r>
              <a:rPr lang="de-DE" sz="1200" dirty="0">
                <a:solidFill>
                  <a:schemeClr val="bg1"/>
                </a:solidFill>
                <a:cs typeface="Calibri"/>
              </a:rPr>
              <a:t> </a:t>
            </a:r>
            <a:r>
              <a:rPr lang="de-DE" sz="1200" dirty="0" err="1">
                <a:solidFill>
                  <a:schemeClr val="bg1"/>
                </a:solidFill>
                <a:cs typeface="Calibri"/>
              </a:rPr>
              <a:t>ag</a:t>
            </a:r>
            <a:endParaRPr lang="de-DE" sz="1200" dirty="0">
              <a:solidFill>
                <a:schemeClr val="bg1"/>
              </a:solidFill>
              <a:cs typeface="Calibri"/>
            </a:endParaRPr>
          </a:p>
          <a:p>
            <a:r>
              <a:rPr lang="de-DE" sz="1200" dirty="0">
                <a:solidFill>
                  <a:schemeClr val="bg1"/>
                </a:solidFill>
                <a:cs typeface="Calibri"/>
              </a:rPr>
              <a:t>(Standort Ismaning) durch das integrierte Managementsystem (Health, </a:t>
            </a:r>
            <a:r>
              <a:rPr lang="de-DE" sz="1200" dirty="0" err="1">
                <a:solidFill>
                  <a:schemeClr val="bg1"/>
                </a:solidFill>
                <a:cs typeface="Calibri"/>
              </a:rPr>
              <a:t>Safety</a:t>
            </a:r>
            <a:r>
              <a:rPr lang="de-DE" sz="1200" dirty="0">
                <a:solidFill>
                  <a:schemeClr val="bg1"/>
                </a:solidFill>
                <a:cs typeface="Calibri"/>
              </a:rPr>
              <a:t> &amp; Environment) überwacht und verbessert.</a:t>
            </a:r>
            <a:endParaRPr lang="de-DE" sz="1200" dirty="0">
              <a:solidFill>
                <a:schemeClr val="bg1"/>
              </a:solidFill>
            </a:endParaRPr>
          </a:p>
        </p:txBody>
      </p:sp>
      <p:grpSp>
        <p:nvGrpSpPr>
          <p:cNvPr id="43" name="Gruppieren 42">
            <a:extLst>
              <a:ext uri="{FF2B5EF4-FFF2-40B4-BE49-F238E27FC236}">
                <a16:creationId xmlns:a16="http://schemas.microsoft.com/office/drawing/2014/main" id="{F62894DC-4305-441D-F927-C12B58C66F8E}"/>
              </a:ext>
            </a:extLst>
          </p:cNvPr>
          <p:cNvGrpSpPr/>
          <p:nvPr/>
        </p:nvGrpSpPr>
        <p:grpSpPr>
          <a:xfrm>
            <a:off x="652109" y="1947330"/>
            <a:ext cx="192273" cy="234022"/>
            <a:chOff x="652109" y="2561515"/>
            <a:chExt cx="192273" cy="234022"/>
          </a:xfrm>
        </p:grpSpPr>
        <p:pic>
          <p:nvPicPr>
            <p:cNvPr id="44" name="Grafik 43">
              <a:extLst>
                <a:ext uri="{FF2B5EF4-FFF2-40B4-BE49-F238E27FC236}">
                  <a16:creationId xmlns:a16="http://schemas.microsoft.com/office/drawing/2014/main" id="{EB508A78-E377-5F79-368F-F66E0E8E7AE5}"/>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45" name="Grafik 44">
              <a:extLst>
                <a:ext uri="{FF2B5EF4-FFF2-40B4-BE49-F238E27FC236}">
                  <a16:creationId xmlns:a16="http://schemas.microsoft.com/office/drawing/2014/main" id="{36B38AD7-95C9-A64B-2AD2-84A021CDC8B6}"/>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46" name="Gruppieren 45">
            <a:extLst>
              <a:ext uri="{FF2B5EF4-FFF2-40B4-BE49-F238E27FC236}">
                <a16:creationId xmlns:a16="http://schemas.microsoft.com/office/drawing/2014/main" id="{657C1974-0ED9-699C-754A-7AA5C66B36CE}"/>
              </a:ext>
            </a:extLst>
          </p:cNvPr>
          <p:cNvGrpSpPr/>
          <p:nvPr/>
        </p:nvGrpSpPr>
        <p:grpSpPr>
          <a:xfrm>
            <a:off x="652109" y="2466134"/>
            <a:ext cx="192273" cy="234022"/>
            <a:chOff x="652109" y="2561515"/>
            <a:chExt cx="192273" cy="234022"/>
          </a:xfrm>
        </p:grpSpPr>
        <p:pic>
          <p:nvPicPr>
            <p:cNvPr id="47" name="Grafik 46">
              <a:extLst>
                <a:ext uri="{FF2B5EF4-FFF2-40B4-BE49-F238E27FC236}">
                  <a16:creationId xmlns:a16="http://schemas.microsoft.com/office/drawing/2014/main" id="{109CAE71-6AA3-2095-EE1F-B0C593892AC2}"/>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48" name="Grafik 47">
              <a:extLst>
                <a:ext uri="{FF2B5EF4-FFF2-40B4-BE49-F238E27FC236}">
                  <a16:creationId xmlns:a16="http://schemas.microsoft.com/office/drawing/2014/main" id="{FAD76C92-1D9E-BBC1-AA56-E7E0D34FC119}"/>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49" name="Gruppieren 48">
            <a:extLst>
              <a:ext uri="{FF2B5EF4-FFF2-40B4-BE49-F238E27FC236}">
                <a16:creationId xmlns:a16="http://schemas.microsoft.com/office/drawing/2014/main" id="{7BBC6328-46DE-9B0F-208F-095E8501D334}"/>
              </a:ext>
            </a:extLst>
          </p:cNvPr>
          <p:cNvGrpSpPr/>
          <p:nvPr/>
        </p:nvGrpSpPr>
        <p:grpSpPr>
          <a:xfrm>
            <a:off x="652109" y="2981986"/>
            <a:ext cx="192273" cy="234022"/>
            <a:chOff x="652109" y="2561515"/>
            <a:chExt cx="192273" cy="234022"/>
          </a:xfrm>
        </p:grpSpPr>
        <p:pic>
          <p:nvPicPr>
            <p:cNvPr id="50" name="Grafik 49">
              <a:extLst>
                <a:ext uri="{FF2B5EF4-FFF2-40B4-BE49-F238E27FC236}">
                  <a16:creationId xmlns:a16="http://schemas.microsoft.com/office/drawing/2014/main" id="{F062D7E7-D95A-BCAE-0963-F959FC38E67D}"/>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51" name="Grafik 50">
              <a:extLst>
                <a:ext uri="{FF2B5EF4-FFF2-40B4-BE49-F238E27FC236}">
                  <a16:creationId xmlns:a16="http://schemas.microsoft.com/office/drawing/2014/main" id="{6C0E4DEA-0F2B-A57D-03D7-1AA5A0C9E478}"/>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52" name="Gruppieren 51">
            <a:extLst>
              <a:ext uri="{FF2B5EF4-FFF2-40B4-BE49-F238E27FC236}">
                <a16:creationId xmlns:a16="http://schemas.microsoft.com/office/drawing/2014/main" id="{19A2F40A-9DFB-2019-55F3-CE1D8F87C839}"/>
              </a:ext>
            </a:extLst>
          </p:cNvPr>
          <p:cNvGrpSpPr/>
          <p:nvPr/>
        </p:nvGrpSpPr>
        <p:grpSpPr>
          <a:xfrm>
            <a:off x="652109" y="3856630"/>
            <a:ext cx="192273" cy="234022"/>
            <a:chOff x="652109" y="2561515"/>
            <a:chExt cx="192273" cy="234022"/>
          </a:xfrm>
        </p:grpSpPr>
        <p:pic>
          <p:nvPicPr>
            <p:cNvPr id="53" name="Grafik 52">
              <a:extLst>
                <a:ext uri="{FF2B5EF4-FFF2-40B4-BE49-F238E27FC236}">
                  <a16:creationId xmlns:a16="http://schemas.microsoft.com/office/drawing/2014/main" id="{F64F0FAA-400C-0A9E-6D85-7919CDB999F6}"/>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54" name="Grafik 53">
              <a:extLst>
                <a:ext uri="{FF2B5EF4-FFF2-40B4-BE49-F238E27FC236}">
                  <a16:creationId xmlns:a16="http://schemas.microsoft.com/office/drawing/2014/main" id="{30EA8EC8-0B0B-9AF0-E3A4-B440725AA177}"/>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55" name="Gruppieren 54">
            <a:extLst>
              <a:ext uri="{FF2B5EF4-FFF2-40B4-BE49-F238E27FC236}">
                <a16:creationId xmlns:a16="http://schemas.microsoft.com/office/drawing/2014/main" id="{675DBEF4-D148-8274-7000-413394D15834}"/>
              </a:ext>
            </a:extLst>
          </p:cNvPr>
          <p:cNvGrpSpPr/>
          <p:nvPr/>
        </p:nvGrpSpPr>
        <p:grpSpPr>
          <a:xfrm>
            <a:off x="652109" y="4831126"/>
            <a:ext cx="192273" cy="234022"/>
            <a:chOff x="652109" y="2561515"/>
            <a:chExt cx="192273" cy="234022"/>
          </a:xfrm>
        </p:grpSpPr>
        <p:pic>
          <p:nvPicPr>
            <p:cNvPr id="56" name="Grafik 55">
              <a:extLst>
                <a:ext uri="{FF2B5EF4-FFF2-40B4-BE49-F238E27FC236}">
                  <a16:creationId xmlns:a16="http://schemas.microsoft.com/office/drawing/2014/main" id="{CF0F8AAA-1F42-1E4A-BD7E-EE6B8E2A0FA7}"/>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57" name="Grafik 56">
              <a:extLst>
                <a:ext uri="{FF2B5EF4-FFF2-40B4-BE49-F238E27FC236}">
                  <a16:creationId xmlns:a16="http://schemas.microsoft.com/office/drawing/2014/main" id="{D5F1C463-C6FE-C991-8586-1FD494943CB8}"/>
                </a:ext>
              </a:extLst>
            </p:cNvPr>
            <p:cNvPicPr>
              <a:picLocks noChangeAspect="1"/>
            </p:cNvPicPr>
            <p:nvPr/>
          </p:nvPicPr>
          <p:blipFill>
            <a:blip r:embed="rId8"/>
            <a:stretch>
              <a:fillRect/>
            </a:stretch>
          </p:blipFill>
          <p:spPr>
            <a:xfrm>
              <a:off x="724028" y="2561515"/>
              <a:ext cx="120354" cy="234022"/>
            </a:xfrm>
            <a:prstGeom prst="rect">
              <a:avLst/>
            </a:prstGeom>
          </p:spPr>
        </p:pic>
      </p:grpSp>
      <p:sp>
        <p:nvSpPr>
          <p:cNvPr id="34" name="Textfeld 33">
            <a:extLst>
              <a:ext uri="{FF2B5EF4-FFF2-40B4-BE49-F238E27FC236}">
                <a16:creationId xmlns:a16="http://schemas.microsoft.com/office/drawing/2014/main" id="{38BBFF7E-309E-A275-3738-779020C2902D}"/>
              </a:ext>
            </a:extLst>
          </p:cNvPr>
          <p:cNvSpPr txBox="1"/>
          <p:nvPr/>
        </p:nvSpPr>
        <p:spPr>
          <a:xfrm>
            <a:off x="1019366" y="3431364"/>
            <a:ext cx="6219634" cy="1107996"/>
          </a:xfrm>
          <a:prstGeom prst="rect">
            <a:avLst/>
          </a:prstGeom>
        </p:spPr>
        <p:txBody>
          <a:bodyPr vert="horz" wrap="square" lIns="0" tIns="0" rIns="0" bIns="0" rtlCol="0" anchor="t">
            <a:spAutoFit/>
          </a:bodyPr>
          <a:lstStyle/>
          <a:p>
            <a:r>
              <a:rPr lang="de-DE" sz="1200" dirty="0">
                <a:solidFill>
                  <a:schemeClr val="bg1"/>
                </a:solidFill>
                <a:cs typeface="Calibri"/>
              </a:rPr>
              <a:t>Die ESG-Unit arbeitet derzeit an einer neuen Klimastrategie. Zielbild ist eine wissenschaftsbasierte Klimazielsetzung (Paris Agreement), welche durch die Science </a:t>
            </a:r>
            <a:r>
              <a:rPr lang="de-DE" sz="1200" dirty="0" err="1">
                <a:solidFill>
                  <a:schemeClr val="bg1"/>
                </a:solidFill>
                <a:cs typeface="Calibri"/>
              </a:rPr>
              <a:t>Based</a:t>
            </a:r>
            <a:r>
              <a:rPr lang="de-DE" sz="1200" dirty="0">
                <a:solidFill>
                  <a:schemeClr val="bg1"/>
                </a:solidFill>
                <a:cs typeface="Calibri"/>
              </a:rPr>
              <a:t> Targets Initiative (</a:t>
            </a:r>
            <a:r>
              <a:rPr lang="de-DE" sz="1200" dirty="0" err="1">
                <a:solidFill>
                  <a:schemeClr val="bg1"/>
                </a:solidFill>
                <a:cs typeface="Calibri"/>
              </a:rPr>
              <a:t>SBTi</a:t>
            </a:r>
            <a:r>
              <a:rPr lang="de-DE" sz="1200" dirty="0">
                <a:solidFill>
                  <a:schemeClr val="bg1"/>
                </a:solidFill>
                <a:cs typeface="Calibri"/>
              </a:rPr>
              <a:t>) validiert werden soll. </a:t>
            </a:r>
            <a:br>
              <a:rPr lang="de-DE" sz="1200" dirty="0">
                <a:solidFill>
                  <a:schemeClr val="bg1"/>
                </a:solidFill>
                <a:cs typeface="Calibri"/>
              </a:rPr>
            </a:br>
            <a:r>
              <a:rPr lang="de-DE" sz="1200" b="1" dirty="0">
                <a:solidFill>
                  <a:schemeClr val="bg1"/>
                </a:solidFill>
                <a:cs typeface="Calibri"/>
              </a:rPr>
              <a:t>Phase 1: </a:t>
            </a:r>
            <a:r>
              <a:rPr lang="de-DE" sz="1200" dirty="0" err="1">
                <a:solidFill>
                  <a:schemeClr val="bg1"/>
                </a:solidFill>
                <a:cs typeface="Calibri"/>
              </a:rPr>
              <a:t>msg</a:t>
            </a:r>
            <a:r>
              <a:rPr lang="de-DE" sz="1200" dirty="0">
                <a:solidFill>
                  <a:schemeClr val="bg1"/>
                </a:solidFill>
                <a:cs typeface="Calibri"/>
              </a:rPr>
              <a:t> </a:t>
            </a:r>
            <a:r>
              <a:rPr lang="de-DE" sz="1200" dirty="0" err="1">
                <a:solidFill>
                  <a:schemeClr val="bg1"/>
                </a:solidFill>
                <a:cs typeface="Calibri"/>
              </a:rPr>
              <a:t>systems</a:t>
            </a:r>
            <a:r>
              <a:rPr lang="de-DE" sz="1200" dirty="0">
                <a:solidFill>
                  <a:schemeClr val="bg1"/>
                </a:solidFill>
                <a:cs typeface="Calibri"/>
              </a:rPr>
              <a:t> </a:t>
            </a:r>
            <a:r>
              <a:rPr lang="de-DE" sz="1200" dirty="0" err="1">
                <a:solidFill>
                  <a:schemeClr val="bg1"/>
                </a:solidFill>
                <a:cs typeface="Calibri"/>
              </a:rPr>
              <a:t>ag</a:t>
            </a:r>
            <a:r>
              <a:rPr lang="de-DE" sz="1200" dirty="0">
                <a:solidFill>
                  <a:schemeClr val="bg1"/>
                </a:solidFill>
                <a:cs typeface="Calibri"/>
              </a:rPr>
              <a:t> (Ziel: Q4/2026, </a:t>
            </a:r>
            <a:r>
              <a:rPr lang="de-DE" sz="1200" dirty="0" err="1">
                <a:solidFill>
                  <a:schemeClr val="bg1"/>
                </a:solidFill>
                <a:cs typeface="Calibri"/>
              </a:rPr>
              <a:t>SBTi</a:t>
            </a:r>
            <a:r>
              <a:rPr lang="de-DE" sz="1200" dirty="0">
                <a:solidFill>
                  <a:schemeClr val="bg1"/>
                </a:solidFill>
                <a:cs typeface="Calibri"/>
              </a:rPr>
              <a:t>-Validierung) </a:t>
            </a:r>
            <a:br>
              <a:rPr lang="de-DE" sz="1200" dirty="0">
                <a:solidFill>
                  <a:schemeClr val="bg1"/>
                </a:solidFill>
                <a:cs typeface="Calibri"/>
              </a:rPr>
            </a:br>
            <a:r>
              <a:rPr lang="de-DE" sz="1200" b="1" dirty="0">
                <a:solidFill>
                  <a:schemeClr val="bg1"/>
                </a:solidFill>
                <a:cs typeface="Calibri"/>
              </a:rPr>
              <a:t>Phase 2: </a:t>
            </a:r>
            <a:r>
              <a:rPr lang="de-DE" sz="1200" dirty="0">
                <a:solidFill>
                  <a:schemeClr val="bg1"/>
                </a:solidFill>
                <a:cs typeface="Calibri"/>
              </a:rPr>
              <a:t>Erstmalige Erstellung der Treibhausgasbilanz der </a:t>
            </a:r>
            <a:r>
              <a:rPr lang="de-DE" sz="1200" dirty="0" err="1">
                <a:solidFill>
                  <a:schemeClr val="bg1"/>
                </a:solidFill>
                <a:cs typeface="Calibri"/>
              </a:rPr>
              <a:t>msg</a:t>
            </a:r>
            <a:r>
              <a:rPr lang="de-DE" sz="1200" dirty="0">
                <a:solidFill>
                  <a:schemeClr val="bg1"/>
                </a:solidFill>
                <a:cs typeface="Calibri"/>
              </a:rPr>
              <a:t> </a:t>
            </a:r>
            <a:r>
              <a:rPr lang="de-DE" sz="1200" dirty="0" err="1">
                <a:solidFill>
                  <a:schemeClr val="bg1"/>
                </a:solidFill>
                <a:cs typeface="Calibri"/>
              </a:rPr>
              <a:t>group</a:t>
            </a:r>
            <a:r>
              <a:rPr lang="de-DE" sz="1200" dirty="0">
                <a:solidFill>
                  <a:schemeClr val="bg1"/>
                </a:solidFill>
                <a:cs typeface="Calibri"/>
              </a:rPr>
              <a:t> GmbH für die Berichterstattung gemäß CSRD ESRS E-1 </a:t>
            </a:r>
            <a:r>
              <a:rPr lang="de-DE" sz="1200" dirty="0" err="1">
                <a:solidFill>
                  <a:schemeClr val="bg1"/>
                </a:solidFill>
                <a:cs typeface="Calibri"/>
              </a:rPr>
              <a:t>climate</a:t>
            </a:r>
            <a:r>
              <a:rPr lang="de-DE" sz="1200" dirty="0">
                <a:solidFill>
                  <a:schemeClr val="bg1"/>
                </a:solidFill>
                <a:cs typeface="Calibri"/>
              </a:rPr>
              <a:t> </a:t>
            </a:r>
            <a:r>
              <a:rPr lang="de-DE" sz="1200" dirty="0" err="1">
                <a:solidFill>
                  <a:schemeClr val="bg1"/>
                </a:solidFill>
                <a:cs typeface="Calibri"/>
              </a:rPr>
              <a:t>change</a:t>
            </a:r>
            <a:r>
              <a:rPr lang="de-DE" sz="1200" dirty="0">
                <a:solidFill>
                  <a:schemeClr val="bg1"/>
                </a:solidFill>
                <a:cs typeface="Calibri"/>
              </a:rPr>
              <a:t> (Ziel: Q4/2027).</a:t>
            </a:r>
          </a:p>
        </p:txBody>
      </p:sp>
      <p:sp>
        <p:nvSpPr>
          <p:cNvPr id="63" name="Textfeld 62">
            <a:extLst>
              <a:ext uri="{FF2B5EF4-FFF2-40B4-BE49-F238E27FC236}">
                <a16:creationId xmlns:a16="http://schemas.microsoft.com/office/drawing/2014/main" id="{D7315EDA-C6CC-CD3E-ED92-72E55E5AE6B7}"/>
              </a:ext>
            </a:extLst>
          </p:cNvPr>
          <p:cNvSpPr txBox="1"/>
          <p:nvPr/>
        </p:nvSpPr>
        <p:spPr>
          <a:xfrm>
            <a:off x="1019366" y="5370700"/>
            <a:ext cx="6219634" cy="369332"/>
          </a:xfrm>
          <a:prstGeom prst="rect">
            <a:avLst/>
          </a:prstGeom>
        </p:spPr>
        <p:txBody>
          <a:bodyPr vert="horz" wrap="square" lIns="0" tIns="0" rIns="0" bIns="0" rtlCol="0" anchor="t">
            <a:spAutoFit/>
          </a:bodyPr>
          <a:lstStyle/>
          <a:p>
            <a:r>
              <a:rPr lang="de-DE" sz="1200" dirty="0">
                <a:solidFill>
                  <a:schemeClr val="bg1"/>
                </a:solidFill>
                <a:cs typeface="Calibri"/>
              </a:rPr>
              <a:t>Unsere freiwillige Nachhaltigkeitsberichterstattung erfolgt seit 2022 über den Nachhaltigkeitsreport (abrufbar über GURU, öffentlich über </a:t>
            </a:r>
            <a:r>
              <a:rPr lang="de-DE" sz="1200" dirty="0" err="1">
                <a:solidFill>
                  <a:schemeClr val="bg1"/>
                </a:solidFill>
                <a:cs typeface="Calibri"/>
              </a:rPr>
              <a:t>msg</a:t>
            </a:r>
            <a:r>
              <a:rPr lang="de-DE" sz="1200" dirty="0">
                <a:solidFill>
                  <a:schemeClr val="bg1"/>
                </a:solidFill>
                <a:cs typeface="Calibri"/>
              </a:rPr>
              <a:t>-Webseite).</a:t>
            </a:r>
            <a:endParaRPr lang="de-DE" sz="1200" dirty="0">
              <a:solidFill>
                <a:schemeClr val="bg1"/>
              </a:solidFill>
            </a:endParaRPr>
          </a:p>
        </p:txBody>
      </p:sp>
      <p:grpSp>
        <p:nvGrpSpPr>
          <p:cNvPr id="192" name="Gruppieren 191">
            <a:extLst>
              <a:ext uri="{FF2B5EF4-FFF2-40B4-BE49-F238E27FC236}">
                <a16:creationId xmlns:a16="http://schemas.microsoft.com/office/drawing/2014/main" id="{7DF1FE42-EB14-5FAE-E948-1D6C4D5A425A}"/>
              </a:ext>
            </a:extLst>
          </p:cNvPr>
          <p:cNvGrpSpPr/>
          <p:nvPr/>
        </p:nvGrpSpPr>
        <p:grpSpPr>
          <a:xfrm>
            <a:off x="652109" y="5459169"/>
            <a:ext cx="192273" cy="234022"/>
            <a:chOff x="652109" y="2561515"/>
            <a:chExt cx="192273" cy="234022"/>
          </a:xfrm>
        </p:grpSpPr>
        <p:pic>
          <p:nvPicPr>
            <p:cNvPr id="193" name="Grafik 192">
              <a:extLst>
                <a:ext uri="{FF2B5EF4-FFF2-40B4-BE49-F238E27FC236}">
                  <a16:creationId xmlns:a16="http://schemas.microsoft.com/office/drawing/2014/main" id="{7E49C5B9-49EF-CD65-F950-C0C3328970CA}"/>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194" name="Grafik 193">
              <a:extLst>
                <a:ext uri="{FF2B5EF4-FFF2-40B4-BE49-F238E27FC236}">
                  <a16:creationId xmlns:a16="http://schemas.microsoft.com/office/drawing/2014/main" id="{AAA67EA6-1E36-C9B9-FB31-BB2C5AFA7D85}"/>
                </a:ext>
              </a:extLst>
            </p:cNvPr>
            <p:cNvPicPr>
              <a:picLocks noChangeAspect="1"/>
            </p:cNvPicPr>
            <p:nvPr/>
          </p:nvPicPr>
          <p:blipFill>
            <a:blip r:embed="rId8"/>
            <a:stretch>
              <a:fillRect/>
            </a:stretch>
          </p:blipFill>
          <p:spPr>
            <a:xfrm>
              <a:off x="724028" y="2561515"/>
              <a:ext cx="120354" cy="234022"/>
            </a:xfrm>
            <a:prstGeom prst="rect">
              <a:avLst/>
            </a:prstGeom>
          </p:spPr>
        </p:pic>
      </p:grpSp>
    </p:spTree>
    <p:extLst>
      <p:ext uri="{BB962C8B-B14F-4D97-AF65-F5344CB8AC3E}">
        <p14:creationId xmlns:p14="http://schemas.microsoft.com/office/powerpoint/2010/main" val="657368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6C948EB7-F760-CC52-9EDA-CB19DE877A0A}"/>
              </a:ext>
            </a:extLst>
          </p:cNvPr>
          <p:cNvPicPr>
            <a:picLocks noChangeAspect="1"/>
          </p:cNvPicPr>
          <p:nvPr/>
        </p:nvPicPr>
        <p:blipFill>
          <a:blip r:embed="rId2"/>
          <a:srcRect/>
          <a:stretch/>
        </p:blipFill>
        <p:spPr>
          <a:xfrm>
            <a:off x="0" y="0"/>
            <a:ext cx="12192000" cy="6858000"/>
          </a:xfrm>
          <a:prstGeom prst="rect">
            <a:avLst/>
          </a:prstGeom>
        </p:spPr>
      </p:pic>
      <p:sp>
        <p:nvSpPr>
          <p:cNvPr id="4" name="Fußzeilenplatzhalter 1">
            <a:extLst>
              <a:ext uri="{FF2B5EF4-FFF2-40B4-BE49-F238E27FC236}">
                <a16:creationId xmlns:a16="http://schemas.microsoft.com/office/drawing/2014/main" id="{5C502410-F364-CB38-FC69-D0A8AF0ED09C}"/>
              </a:ext>
            </a:extLst>
          </p:cNvPr>
          <p:cNvSpPr>
            <a:spLocks noGrp="1"/>
          </p:cNvSpPr>
          <p:nvPr>
            <p:ph type="ftr" sz="quarter" idx="10"/>
          </p:nvPr>
        </p:nvSpPr>
        <p:spPr/>
        <p:txBody>
          <a:bodyPr/>
          <a:lstStyle/>
          <a:p>
            <a:r>
              <a:rPr lang="de-DE">
                <a:solidFill>
                  <a:schemeClr val="bg1"/>
                </a:solidFill>
              </a:rPr>
              <a:t>© msg systems ag | 2026 | msg-Unternehmenspräsentation</a:t>
            </a:r>
          </a:p>
        </p:txBody>
      </p:sp>
      <p:sp>
        <p:nvSpPr>
          <p:cNvPr id="5" name="Foliennummernplatzhalter 4">
            <a:extLst>
              <a:ext uri="{FF2B5EF4-FFF2-40B4-BE49-F238E27FC236}">
                <a16:creationId xmlns:a16="http://schemas.microsoft.com/office/drawing/2014/main" id="{49DC2FDC-C16E-10EA-130F-E1A9C6C978AE}"/>
              </a:ext>
            </a:extLst>
          </p:cNvPr>
          <p:cNvSpPr>
            <a:spLocks noGrp="1"/>
          </p:cNvSpPr>
          <p:nvPr>
            <p:ph type="sldNum" sz="quarter" idx="11"/>
          </p:nvPr>
        </p:nvSpPr>
        <p:spPr/>
        <p:txBody>
          <a:bodyPr/>
          <a:lstStyle/>
          <a:p>
            <a:fld id="{B27B0579-4238-4E44-9A9E-134B676F827C}" type="slidenum">
              <a:rPr lang="de-DE" smtClean="0">
                <a:solidFill>
                  <a:schemeClr val="bg1"/>
                </a:solidFill>
              </a:rPr>
              <a:pPr/>
              <a:t>49</a:t>
            </a:fld>
            <a:endParaRPr lang="de-DE">
              <a:solidFill>
                <a:schemeClr val="bg1"/>
              </a:solidFill>
            </a:endParaRPr>
          </a:p>
        </p:txBody>
      </p:sp>
      <p:sp>
        <p:nvSpPr>
          <p:cNvPr id="6" name="Textfeld 5">
            <a:extLst>
              <a:ext uri="{FF2B5EF4-FFF2-40B4-BE49-F238E27FC236}">
                <a16:creationId xmlns:a16="http://schemas.microsoft.com/office/drawing/2014/main" id="{B8E928A5-A4C4-5DF4-27A7-D5C38778120F}"/>
              </a:ext>
            </a:extLst>
          </p:cNvPr>
          <p:cNvSpPr txBox="1"/>
          <p:nvPr/>
        </p:nvSpPr>
        <p:spPr>
          <a:xfrm>
            <a:off x="647449" y="2819183"/>
            <a:ext cx="8188503" cy="2505429"/>
          </a:xfrm>
          <a:prstGeom prst="rect">
            <a:avLst/>
          </a:prstGeom>
        </p:spPr>
        <p:txBody>
          <a:bodyPr vert="horz" wrap="square" lIns="0" tIns="0" rIns="0" bIns="0" rtlCol="0">
            <a:spAutoFit/>
          </a:bodyPr>
          <a:lstStyle/>
          <a:p>
            <a:pPr algn="l">
              <a:lnSpc>
                <a:spcPts val="6500"/>
              </a:lnSpc>
            </a:pPr>
            <a:r>
              <a:rPr lang="de-DE" sz="6000" dirty="0" err="1">
                <a:solidFill>
                  <a:schemeClr val="bg1"/>
                </a:solidFill>
                <a:latin typeface="Aptos Bold" panose="020B0004020202020204" pitchFamily="34" charset="0"/>
              </a:rPr>
              <a:t>Let’s</a:t>
            </a:r>
            <a:r>
              <a:rPr lang="de-DE" sz="6000" dirty="0">
                <a:solidFill>
                  <a:schemeClr val="bg1"/>
                </a:solidFill>
                <a:latin typeface="Aptos Bold" panose="020B0004020202020204" pitchFamily="34" charset="0"/>
              </a:rPr>
              <a:t> </a:t>
            </a:r>
            <a:r>
              <a:rPr lang="de-DE" sz="6000" dirty="0" err="1">
                <a:solidFill>
                  <a:schemeClr val="bg1"/>
                </a:solidFill>
                <a:latin typeface="Aptos Bold" panose="020B0004020202020204" pitchFamily="34" charset="0"/>
              </a:rPr>
              <a:t>shape</a:t>
            </a:r>
            <a:endParaRPr lang="de-DE" sz="6000" dirty="0">
              <a:solidFill>
                <a:schemeClr val="bg1"/>
              </a:solidFill>
              <a:latin typeface="Aptos Bold" panose="020B0004020202020204" pitchFamily="34" charset="0"/>
            </a:endParaRPr>
          </a:p>
          <a:p>
            <a:pPr algn="l">
              <a:lnSpc>
                <a:spcPts val="6500"/>
              </a:lnSpc>
            </a:pPr>
            <a:r>
              <a:rPr lang="de-DE" sz="6000" dirty="0" err="1">
                <a:solidFill>
                  <a:schemeClr val="bg1"/>
                </a:solidFill>
                <a:latin typeface="Aptos Bold" panose="020B0004020202020204" pitchFamily="34" charset="0"/>
              </a:rPr>
              <a:t>the</a:t>
            </a:r>
            <a:r>
              <a:rPr lang="de-DE" sz="6000" dirty="0">
                <a:solidFill>
                  <a:schemeClr val="bg1"/>
                </a:solidFill>
                <a:latin typeface="Aptos Bold" panose="020B0004020202020204" pitchFamily="34" charset="0"/>
              </a:rPr>
              <a:t> digital </a:t>
            </a:r>
            <a:r>
              <a:rPr lang="de-DE" sz="6000" dirty="0" err="1">
                <a:solidFill>
                  <a:schemeClr val="bg1"/>
                </a:solidFill>
                <a:latin typeface="Aptos Bold" panose="020B0004020202020204" pitchFamily="34" charset="0"/>
              </a:rPr>
              <a:t>future</a:t>
            </a:r>
            <a:endParaRPr lang="de-DE" sz="6000" dirty="0">
              <a:solidFill>
                <a:schemeClr val="bg1"/>
              </a:solidFill>
              <a:latin typeface="Aptos Bold" panose="020B0004020202020204" pitchFamily="34" charset="0"/>
            </a:endParaRPr>
          </a:p>
          <a:p>
            <a:pPr algn="l">
              <a:lnSpc>
                <a:spcPts val="6500"/>
              </a:lnSpc>
            </a:pPr>
            <a:r>
              <a:rPr lang="de-DE" sz="6000" dirty="0" err="1">
                <a:solidFill>
                  <a:schemeClr val="bg1"/>
                </a:solidFill>
                <a:latin typeface="Aptos Bold" panose="020B0004020202020204" pitchFamily="34" charset="0"/>
              </a:rPr>
              <a:t>together</a:t>
            </a:r>
            <a:endParaRPr lang="de-DE" sz="6000" dirty="0">
              <a:solidFill>
                <a:schemeClr val="bg1"/>
              </a:solidFill>
              <a:latin typeface="Aptos Bold" panose="020B0004020202020204" pitchFamily="34" charset="0"/>
            </a:endParaRPr>
          </a:p>
        </p:txBody>
      </p:sp>
      <p:pic>
        <p:nvPicPr>
          <p:cNvPr id="13" name="Grafik 12">
            <a:extLst>
              <a:ext uri="{FF2B5EF4-FFF2-40B4-BE49-F238E27FC236}">
                <a16:creationId xmlns:a16="http://schemas.microsoft.com/office/drawing/2014/main" id="{C1C5C9A0-3B47-288E-6D95-F80F9C8E7F31}"/>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bwMode="gray">
          <a:xfrm>
            <a:off x="10704521" y="296864"/>
            <a:ext cx="1152942" cy="360000"/>
          </a:xfrm>
          <a:prstGeom prst="rect">
            <a:avLst/>
          </a:prstGeom>
        </p:spPr>
      </p:pic>
      <p:pic>
        <p:nvPicPr>
          <p:cNvPr id="15" name="Grafik 14">
            <a:extLst>
              <a:ext uri="{FF2B5EF4-FFF2-40B4-BE49-F238E27FC236}">
                <a16:creationId xmlns:a16="http://schemas.microsoft.com/office/drawing/2014/main" id="{EE65EF31-045D-DDE4-1CF1-C8A48253D966}"/>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396142" y="387922"/>
            <a:ext cx="2382162" cy="2382162"/>
          </a:xfrm>
          <a:prstGeom prst="rect">
            <a:avLst/>
          </a:prstGeom>
        </p:spPr>
      </p:pic>
    </p:spTree>
    <p:extLst>
      <p:ext uri="{BB962C8B-B14F-4D97-AF65-F5344CB8AC3E}">
        <p14:creationId xmlns:p14="http://schemas.microsoft.com/office/powerpoint/2010/main" val="3204791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Grafik 93">
            <a:extLst>
              <a:ext uri="{FF2B5EF4-FFF2-40B4-BE49-F238E27FC236}">
                <a16:creationId xmlns:a16="http://schemas.microsoft.com/office/drawing/2014/main" id="{8F0B25F1-F7E3-58B9-6B8B-7EBEC7E86A4B}"/>
              </a:ext>
            </a:extLst>
          </p:cNvPr>
          <p:cNvPicPr>
            <a:picLocks noChangeAspect="1"/>
          </p:cNvPicPr>
          <p:nvPr/>
        </p:nvPicPr>
        <p:blipFill>
          <a:blip r:embed="rId4"/>
          <a:srcRect/>
          <a:stretch/>
        </p:blipFill>
        <p:spPr>
          <a:xfrm>
            <a:off x="0" y="2854"/>
            <a:ext cx="12192000" cy="6858000"/>
          </a:xfrm>
          <a:prstGeom prst="rect">
            <a:avLst/>
          </a:prstGeom>
        </p:spPr>
      </p:pic>
      <p:sp>
        <p:nvSpPr>
          <p:cNvPr id="5" name="Rechteck 4">
            <a:extLst>
              <a:ext uri="{FF2B5EF4-FFF2-40B4-BE49-F238E27FC236}">
                <a16:creationId xmlns:a16="http://schemas.microsoft.com/office/drawing/2014/main" id="{9CE764AA-6144-0B40-4AFD-60B544706017}"/>
              </a:ext>
            </a:extLst>
          </p:cNvPr>
          <p:cNvSpPr/>
          <p:nvPr/>
        </p:nvSpPr>
        <p:spPr>
          <a:xfrm rot="10800000">
            <a:off x="0" y="-1"/>
            <a:ext cx="12192000" cy="2480441"/>
          </a:xfrm>
          <a:prstGeom prst="rect">
            <a:avLst/>
          </a:prstGeom>
          <a:gradFill flip="none" rotWithShape="1">
            <a:gsLst>
              <a:gs pos="0">
                <a:schemeClr val="tx1">
                  <a:alpha val="10000"/>
                </a:schemeClr>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2" name="Diagonal liegende Ecken des Rechtecks abrunden 11">
            <a:extLst>
              <a:ext uri="{FF2B5EF4-FFF2-40B4-BE49-F238E27FC236}">
                <a16:creationId xmlns:a16="http://schemas.microsoft.com/office/drawing/2014/main" id="{026C0110-1D3D-3121-9AB0-54FE818F1FCE}"/>
              </a:ext>
            </a:extLst>
          </p:cNvPr>
          <p:cNvSpPr/>
          <p:nvPr/>
        </p:nvSpPr>
        <p:spPr>
          <a:xfrm flipV="1">
            <a:off x="623888" y="4190997"/>
            <a:ext cx="7850266"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95DFC2A6-F53F-D33D-D216-341E3510F42E}"/>
              </a:ext>
            </a:extLst>
          </p:cNvPr>
          <p:cNvSpPr txBox="1">
            <a:spLocks/>
          </p:cNvSpPr>
          <p:nvPr/>
        </p:nvSpPr>
        <p:spPr>
          <a:xfrm>
            <a:off x="1239311" y="4926002"/>
            <a:ext cx="7234843"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200" dirty="0">
                <a:solidFill>
                  <a:schemeClr val="tx1"/>
                </a:solidFill>
                <a:latin typeface="+mn-lt"/>
              </a:rPr>
              <a:t>Die </a:t>
            </a:r>
            <a:r>
              <a:rPr lang="de-DE" sz="4200" dirty="0" err="1">
                <a:solidFill>
                  <a:schemeClr val="tx1"/>
                </a:solidFill>
                <a:latin typeface="+mn-lt"/>
              </a:rPr>
              <a:t>msg</a:t>
            </a:r>
            <a:r>
              <a:rPr lang="de-DE" sz="4200" dirty="0">
                <a:solidFill>
                  <a:schemeClr val="tx1"/>
                </a:solidFill>
                <a:latin typeface="+mn-lt"/>
              </a:rPr>
              <a:t>-Gruppe im Überblick</a:t>
            </a:r>
          </a:p>
        </p:txBody>
      </p:sp>
      <p:sp>
        <p:nvSpPr>
          <p:cNvPr id="9" name="Untertitel 2">
            <a:extLst>
              <a:ext uri="{FF2B5EF4-FFF2-40B4-BE49-F238E27FC236}">
                <a16:creationId xmlns:a16="http://schemas.microsoft.com/office/drawing/2014/main" id="{B9D0BCFA-AC84-9E09-2A85-00CED588E40C}"/>
              </a:ext>
            </a:extLst>
          </p:cNvPr>
          <p:cNvSpPr txBox="1">
            <a:spLocks/>
          </p:cNvSpPr>
          <p:nvPr/>
        </p:nvSpPr>
        <p:spPr>
          <a:xfrm>
            <a:off x="1266179" y="4527022"/>
            <a:ext cx="7207975"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a:ln>
                  <a:noFill/>
                </a:ln>
                <a:effectLst/>
                <a:uLnTx/>
                <a:uFillTx/>
                <a:cs typeface="Calibri Light"/>
              </a:rPr>
              <a:t>Branchen-Know-how und IT-Expertise aus einer Hand</a:t>
            </a:r>
          </a:p>
        </p:txBody>
      </p:sp>
      <p:sp>
        <p:nvSpPr>
          <p:cNvPr id="13" name="Ellipse 13">
            <a:extLst>
              <a:ext uri="{FF2B5EF4-FFF2-40B4-BE49-F238E27FC236}">
                <a16:creationId xmlns:a16="http://schemas.microsoft.com/office/drawing/2014/main" id="{A25F31B6-9A14-A7CF-F908-E636D680E9FB}"/>
              </a:ext>
            </a:extLst>
          </p:cNvPr>
          <p:cNvSpPr/>
          <p:nvPr/>
        </p:nvSpPr>
        <p:spPr>
          <a:xfrm>
            <a:off x="790713" y="450544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1</a:t>
            </a:r>
          </a:p>
        </p:txBody>
      </p:sp>
      <p:pic>
        <p:nvPicPr>
          <p:cNvPr id="6" name="Grafik 5">
            <a:extLst>
              <a:ext uri="{FF2B5EF4-FFF2-40B4-BE49-F238E27FC236}">
                <a16:creationId xmlns:a16="http://schemas.microsoft.com/office/drawing/2014/main" id="{913E97D5-BCFB-E76F-9769-9D0F99AD29DF}"/>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
        <p:nvSpPr>
          <p:cNvPr id="4" name="Fußzeilenplatzhalter 1">
            <a:extLst>
              <a:ext uri="{FF2B5EF4-FFF2-40B4-BE49-F238E27FC236}">
                <a16:creationId xmlns:a16="http://schemas.microsoft.com/office/drawing/2014/main" id="{A1CFA644-BBC2-0EF2-BDAC-9752EEF35485}"/>
              </a:ext>
            </a:extLst>
          </p:cNvPr>
          <p:cNvSpPr>
            <a:spLocks noGrp="1"/>
          </p:cNvSpPr>
          <p:nvPr>
            <p:ph type="ftr" sz="quarter" idx="10"/>
          </p:nvPr>
        </p:nvSpPr>
        <p:spPr/>
        <p:txBody>
          <a:bodyPr/>
          <a:lstStyle/>
          <a:p>
            <a:r>
              <a:rPr lang="de-DE">
                <a:solidFill>
                  <a:schemeClr val="bg1"/>
                </a:solidFill>
              </a:rPr>
              <a:t>© msg systems ag | 2026 | msg-Unternehmenspräsentation</a:t>
            </a:r>
          </a:p>
        </p:txBody>
      </p:sp>
      <p:sp>
        <p:nvSpPr>
          <p:cNvPr id="15" name="Foliennummernplatzhalter 14">
            <a:extLst>
              <a:ext uri="{FF2B5EF4-FFF2-40B4-BE49-F238E27FC236}">
                <a16:creationId xmlns:a16="http://schemas.microsoft.com/office/drawing/2014/main" id="{09F842B7-DFBA-AB94-A14E-536EE2A97BB4}"/>
              </a:ext>
            </a:extLst>
          </p:cNvPr>
          <p:cNvSpPr>
            <a:spLocks noGrp="1"/>
          </p:cNvSpPr>
          <p:nvPr>
            <p:ph type="sldNum" sz="quarter" idx="11"/>
          </p:nvPr>
        </p:nvSpPr>
        <p:spPr/>
        <p:txBody>
          <a:bodyPr/>
          <a:lstStyle/>
          <a:p>
            <a:fld id="{1FBD72F1-A42A-46B0-A7F8-CE6A9835826C}" type="slidenum">
              <a:rPr lang="de-DE" smtClean="0">
                <a:solidFill>
                  <a:schemeClr val="bg1"/>
                </a:solidFill>
              </a:rPr>
              <a:pPr/>
              <a:t>5</a:t>
            </a:fld>
            <a:endParaRPr lang="de-DE">
              <a:solidFill>
                <a:schemeClr val="bg1"/>
              </a:solidFill>
            </a:endParaRPr>
          </a:p>
        </p:txBody>
      </p:sp>
    </p:spTree>
    <p:extLst>
      <p:ext uri="{BB962C8B-B14F-4D97-AF65-F5344CB8AC3E}">
        <p14:creationId xmlns:p14="http://schemas.microsoft.com/office/powerpoint/2010/main" val="1837474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Grün, Farbigkeit, gelb, Wasser enthält.&#10;&#10;Automatisch generierte Beschreibung">
            <a:extLst>
              <a:ext uri="{FF2B5EF4-FFF2-40B4-BE49-F238E27FC236}">
                <a16:creationId xmlns:a16="http://schemas.microsoft.com/office/drawing/2014/main" id="{BC152F2A-384B-035E-9476-78D063F877E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V="1">
            <a:off x="2689409" y="-2689411"/>
            <a:ext cx="6858002" cy="12236817"/>
          </a:xfrm>
          <a:prstGeom prst="rect">
            <a:avLst/>
          </a:prstGeom>
        </p:spPr>
      </p:pic>
      <p:sp>
        <p:nvSpPr>
          <p:cNvPr id="12" name="Rechteck 11">
            <a:extLst>
              <a:ext uri="{FF2B5EF4-FFF2-40B4-BE49-F238E27FC236}">
                <a16:creationId xmlns:a16="http://schemas.microsoft.com/office/drawing/2014/main" id="{4994CB1E-DB23-E61B-8230-95312B8573D7}"/>
              </a:ext>
            </a:extLst>
          </p:cNvPr>
          <p:cNvSpPr/>
          <p:nvPr/>
        </p:nvSpPr>
        <p:spPr>
          <a:xfrm>
            <a:off x="0" y="2532185"/>
            <a:ext cx="12242800" cy="4325815"/>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pic>
        <p:nvPicPr>
          <p:cNvPr id="28" name="Grafik 27">
            <a:extLst>
              <a:ext uri="{FF2B5EF4-FFF2-40B4-BE49-F238E27FC236}">
                <a16:creationId xmlns:a16="http://schemas.microsoft.com/office/drawing/2014/main" id="{1CB3EED8-0D9F-E1DC-06B7-0E78C3842AD2}"/>
              </a:ext>
            </a:extLst>
          </p:cNvPr>
          <p:cNvPicPr>
            <a:picLocks noChangeAspect="1"/>
          </p:cNvPicPr>
          <p:nvPr/>
        </p:nvPicPr>
        <p:blipFill>
          <a:blip r:embed="rId5"/>
          <a:srcRect l="18140" t="72" r="17039" b="35107"/>
          <a:stretch>
            <a:fillRect/>
          </a:stretch>
        </p:blipFill>
        <p:spPr>
          <a:xfrm>
            <a:off x="662992" y="3821724"/>
            <a:ext cx="1170000" cy="1170000"/>
          </a:xfrm>
          <a:prstGeom prst="ellipse">
            <a:avLst/>
          </a:prstGeom>
        </p:spPr>
      </p:pic>
      <p:graphicFrame>
        <p:nvGraphicFramePr>
          <p:cNvPr id="2" name="think-cell data - do not delete" hidden="1">
            <a:extLst>
              <a:ext uri="{FF2B5EF4-FFF2-40B4-BE49-F238E27FC236}">
                <a16:creationId xmlns:a16="http://schemas.microsoft.com/office/drawing/2014/main" id="{7D402871-D09E-673B-5CD2-EF2030EE88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06" imgH="306" progId="TCLayout.ActiveDocument.1">
                  <p:embed/>
                </p:oleObj>
              </mc:Choice>
              <mc:Fallback>
                <p:oleObj name="think-cell Folie" r:id="rId6" imgW="306" imgH="306" progId="TCLayout.ActiveDocument.1">
                  <p:embed/>
                  <p:pic>
                    <p:nvPicPr>
                      <p:cNvPr id="2" name="think-cell data - do not delete" hidden="1">
                        <a:extLst>
                          <a:ext uri="{FF2B5EF4-FFF2-40B4-BE49-F238E27FC236}">
                            <a16:creationId xmlns:a16="http://schemas.microsoft.com/office/drawing/2014/main" id="{7D402871-D09E-673B-5CD2-EF2030EE88F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3" name="Titel 1">
            <a:extLst>
              <a:ext uri="{FF2B5EF4-FFF2-40B4-BE49-F238E27FC236}">
                <a16:creationId xmlns:a16="http://schemas.microsoft.com/office/drawing/2014/main" id="{2A2B3586-8499-A25B-3E64-3CBCE1E71826}"/>
              </a:ext>
            </a:extLst>
          </p:cNvPr>
          <p:cNvSpPr txBox="1">
            <a:spLocks/>
          </p:cNvSpPr>
          <p:nvPr/>
        </p:nvSpPr>
        <p:spPr>
          <a:xfrm>
            <a:off x="658813" y="2868838"/>
            <a:ext cx="5351696" cy="640405"/>
          </a:xfrm>
          <a:prstGeom prst="rect">
            <a:avLst/>
          </a:prstGeom>
        </p:spPr>
        <p:txBody>
          <a:bodyPr lIns="0" tIns="0" rIns="0" bIns="0" anchor="t"/>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dirty="0">
                <a:solidFill>
                  <a:schemeClr val="bg1"/>
                </a:solidFill>
                <a:latin typeface="+mn-lt"/>
              </a:rPr>
              <a:t>Ansprechpartner</a:t>
            </a:r>
          </a:p>
        </p:txBody>
      </p:sp>
      <p:sp>
        <p:nvSpPr>
          <p:cNvPr id="24" name="Untertitel 2">
            <a:extLst>
              <a:ext uri="{FF2B5EF4-FFF2-40B4-BE49-F238E27FC236}">
                <a16:creationId xmlns:a16="http://schemas.microsoft.com/office/drawing/2014/main" id="{6A7BBADF-3459-12C3-88BB-C9E22B750595}"/>
              </a:ext>
            </a:extLst>
          </p:cNvPr>
          <p:cNvSpPr txBox="1">
            <a:spLocks/>
          </p:cNvSpPr>
          <p:nvPr/>
        </p:nvSpPr>
        <p:spPr>
          <a:xfrm>
            <a:off x="2218209" y="5514841"/>
            <a:ext cx="2239988" cy="646331"/>
          </a:xfrm>
          <a:prstGeom prst="rect">
            <a:avLst/>
          </a:prstGeom>
        </p:spPr>
        <p:txBody>
          <a:bodyPr lIns="0" tIns="0" rIns="0" bIns="0">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err="1">
                <a:solidFill>
                  <a:schemeClr val="bg1"/>
                </a:solidFill>
              </a:rPr>
              <a:t>msg</a:t>
            </a:r>
            <a:r>
              <a:rPr lang="de-DE">
                <a:solidFill>
                  <a:schemeClr val="bg1"/>
                </a:solidFill>
              </a:rPr>
              <a:t> </a:t>
            </a:r>
            <a:r>
              <a:rPr lang="de-DE" err="1">
                <a:solidFill>
                  <a:schemeClr val="bg1"/>
                </a:solidFill>
              </a:rPr>
              <a:t>systems</a:t>
            </a:r>
            <a:r>
              <a:rPr lang="de-DE">
                <a:solidFill>
                  <a:schemeClr val="bg1"/>
                </a:solidFill>
              </a:rPr>
              <a:t> </a:t>
            </a:r>
            <a:r>
              <a:rPr lang="de-DE" err="1">
                <a:solidFill>
                  <a:schemeClr val="bg1"/>
                </a:solidFill>
              </a:rPr>
              <a:t>ag</a:t>
            </a:r>
            <a:endParaRPr lang="de-DE">
              <a:solidFill>
                <a:schemeClr val="bg1"/>
              </a:solidFill>
            </a:endParaRPr>
          </a:p>
          <a:p>
            <a:pPr>
              <a:spcAft>
                <a:spcPts val="0"/>
              </a:spcAft>
            </a:pPr>
            <a:r>
              <a:rPr lang="de-DE">
                <a:solidFill>
                  <a:schemeClr val="bg1"/>
                </a:solidFill>
              </a:rPr>
              <a:t>Robert-​Bürkle-Straße 1</a:t>
            </a:r>
          </a:p>
          <a:p>
            <a:pPr>
              <a:spcAft>
                <a:spcPts val="0"/>
              </a:spcAft>
            </a:pPr>
            <a:r>
              <a:rPr lang="de-DE">
                <a:solidFill>
                  <a:schemeClr val="bg1"/>
                </a:solidFill>
              </a:rPr>
              <a:t>85737 Ismaning</a:t>
            </a:r>
          </a:p>
        </p:txBody>
      </p:sp>
      <p:sp>
        <p:nvSpPr>
          <p:cNvPr id="6" name="Untertitel 2">
            <a:extLst>
              <a:ext uri="{FF2B5EF4-FFF2-40B4-BE49-F238E27FC236}">
                <a16:creationId xmlns:a16="http://schemas.microsoft.com/office/drawing/2014/main" id="{428DD793-9677-5915-F077-41AFD7671B32}"/>
              </a:ext>
            </a:extLst>
          </p:cNvPr>
          <p:cNvSpPr txBox="1">
            <a:spLocks/>
          </p:cNvSpPr>
          <p:nvPr/>
        </p:nvSpPr>
        <p:spPr>
          <a:xfrm>
            <a:off x="4352208" y="5514841"/>
            <a:ext cx="1816364" cy="646331"/>
          </a:xfrm>
          <a:prstGeom prst="rect">
            <a:avLst/>
          </a:prstGeom>
        </p:spPr>
        <p:txBody>
          <a:bodyPr lIns="0" tIns="0" rIns="0" bIns="0" anchor="t">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a:solidFill>
                  <a:schemeClr val="bg1"/>
                </a:solidFill>
              </a:rPr>
              <a:t>+49 89 96101-0</a:t>
            </a:r>
          </a:p>
          <a:p>
            <a:pPr>
              <a:spcAft>
                <a:spcPts val="0"/>
              </a:spcAft>
            </a:pPr>
            <a:r>
              <a:rPr lang="de-DE">
                <a:solidFill>
                  <a:schemeClr val="bg1"/>
                </a:solidFill>
              </a:rPr>
              <a:t>+49 89 96101-​1113</a:t>
            </a:r>
            <a:endParaRPr lang="de-DE">
              <a:solidFill>
                <a:schemeClr val="bg1"/>
              </a:solidFill>
              <a:cs typeface="Calibri"/>
            </a:endParaRPr>
          </a:p>
          <a:p>
            <a:pPr>
              <a:spcAft>
                <a:spcPts val="0"/>
              </a:spcAft>
            </a:pPr>
            <a:r>
              <a:rPr lang="de-DE" err="1">
                <a:solidFill>
                  <a:schemeClr val="bg1"/>
                </a:solidFill>
              </a:rPr>
              <a:t>info@msg.group</a:t>
            </a:r>
            <a:endParaRPr lang="de-DE">
              <a:solidFill>
                <a:schemeClr val="bg1"/>
              </a:solidFill>
              <a:cs typeface="Calibri"/>
            </a:endParaRPr>
          </a:p>
        </p:txBody>
      </p:sp>
      <p:cxnSp>
        <p:nvCxnSpPr>
          <p:cNvPr id="9" name="Gerader Verbinder 8">
            <a:extLst>
              <a:ext uri="{FF2B5EF4-FFF2-40B4-BE49-F238E27FC236}">
                <a16:creationId xmlns:a16="http://schemas.microsoft.com/office/drawing/2014/main" id="{B6CC6271-A501-2E4B-EF59-BAE859EA8AD7}"/>
              </a:ext>
            </a:extLst>
          </p:cNvPr>
          <p:cNvCxnSpPr>
            <a:cxnSpLocks/>
          </p:cNvCxnSpPr>
          <p:nvPr/>
        </p:nvCxnSpPr>
        <p:spPr>
          <a:xfrm>
            <a:off x="2218209" y="5367929"/>
            <a:ext cx="602740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8" name="Grafik 17">
            <a:extLst>
              <a:ext uri="{FF2B5EF4-FFF2-40B4-BE49-F238E27FC236}">
                <a16:creationId xmlns:a16="http://schemas.microsoft.com/office/drawing/2014/main" id="{002802AB-5C80-68A9-883B-A72547D36DAB}"/>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8"/>
              </a:ext>
            </a:extLst>
          </a:blip>
          <a:srcRect l="2802" t="48461" r="88424"/>
          <a:stretch/>
        </p:blipFill>
        <p:spPr>
          <a:xfrm>
            <a:off x="6259775" y="5422643"/>
            <a:ext cx="167439" cy="338400"/>
          </a:xfrm>
          <a:prstGeom prst="rect">
            <a:avLst/>
          </a:prstGeom>
        </p:spPr>
      </p:pic>
      <p:pic>
        <p:nvPicPr>
          <p:cNvPr id="15" name="Grafik 14">
            <a:extLst>
              <a:ext uri="{FF2B5EF4-FFF2-40B4-BE49-F238E27FC236}">
                <a16:creationId xmlns:a16="http://schemas.microsoft.com/office/drawing/2014/main" id="{B82C33AE-51DF-0E86-2361-AF32F1B6676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9"/>
              </a:ext>
            </a:extLst>
          </a:blip>
          <a:srcRect l="29206" t="22799" r="20297" b="20983"/>
          <a:stretch/>
        </p:blipFill>
        <p:spPr>
          <a:xfrm>
            <a:off x="8042524" y="5533208"/>
            <a:ext cx="211440" cy="235392"/>
          </a:xfrm>
          <a:prstGeom prst="rect">
            <a:avLst/>
          </a:prstGeom>
        </p:spPr>
      </p:pic>
      <p:sp>
        <p:nvSpPr>
          <p:cNvPr id="4" name="Fußzeilenplatzhalter 1">
            <a:extLst>
              <a:ext uri="{FF2B5EF4-FFF2-40B4-BE49-F238E27FC236}">
                <a16:creationId xmlns:a16="http://schemas.microsoft.com/office/drawing/2014/main" id="{AC922B4D-E6CD-6108-0B60-48E1DD9B34D8}"/>
              </a:ext>
            </a:extLst>
          </p:cNvPr>
          <p:cNvSpPr>
            <a:spLocks noGrp="1"/>
          </p:cNvSpPr>
          <p:nvPr>
            <p:ph type="ftr" sz="quarter" idx="10"/>
          </p:nvPr>
        </p:nvSpPr>
        <p:spPr/>
        <p:txBody>
          <a:bodyPr/>
          <a:lstStyle/>
          <a:p>
            <a:r>
              <a:rPr lang="de-DE">
                <a:solidFill>
                  <a:schemeClr val="bg1"/>
                </a:solidFill>
              </a:rPr>
              <a:t>© msg systems ag | 2026 | msg-Unternehmenspräsentation</a:t>
            </a:r>
            <a:endParaRPr lang="de-DE" dirty="0">
              <a:solidFill>
                <a:schemeClr val="bg1"/>
              </a:solidFill>
            </a:endParaRPr>
          </a:p>
        </p:txBody>
      </p:sp>
      <p:sp>
        <p:nvSpPr>
          <p:cNvPr id="10" name="Foliennummernplatzhalter 9">
            <a:extLst>
              <a:ext uri="{FF2B5EF4-FFF2-40B4-BE49-F238E27FC236}">
                <a16:creationId xmlns:a16="http://schemas.microsoft.com/office/drawing/2014/main" id="{FC2688C5-5887-0487-BEF1-1B2BFB4A6749}"/>
              </a:ext>
            </a:extLst>
          </p:cNvPr>
          <p:cNvSpPr>
            <a:spLocks noGrp="1"/>
          </p:cNvSpPr>
          <p:nvPr>
            <p:ph type="sldNum" sz="quarter" idx="11"/>
          </p:nvPr>
        </p:nvSpPr>
        <p:spPr/>
        <p:txBody>
          <a:bodyPr/>
          <a:lstStyle/>
          <a:p>
            <a:fld id="{B27B0579-4238-4E44-9A9E-134B676F827C}" type="slidenum">
              <a:rPr lang="de-DE" smtClean="0">
                <a:solidFill>
                  <a:schemeClr val="bg1"/>
                </a:solidFill>
              </a:rPr>
              <a:pPr/>
              <a:t>50</a:t>
            </a:fld>
            <a:endParaRPr lang="de-DE">
              <a:solidFill>
                <a:schemeClr val="bg1"/>
              </a:solidFill>
            </a:endParaRPr>
          </a:p>
        </p:txBody>
      </p:sp>
      <p:pic>
        <p:nvPicPr>
          <p:cNvPr id="3" name="Grafik 2">
            <a:extLst>
              <a:ext uri="{FF2B5EF4-FFF2-40B4-BE49-F238E27FC236}">
                <a16:creationId xmlns:a16="http://schemas.microsoft.com/office/drawing/2014/main" id="{CB678C1F-F409-E2D7-FA3F-E1D07A7CF5E2}"/>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8"/>
              </a:ext>
            </a:extLst>
          </a:blip>
          <a:srcRect l="22554" t="48462" r="65280" b="-1"/>
          <a:stretch/>
        </p:blipFill>
        <p:spPr>
          <a:xfrm>
            <a:off x="6638140" y="5430190"/>
            <a:ext cx="252261" cy="367669"/>
          </a:xfrm>
          <a:prstGeom prst="rect">
            <a:avLst/>
          </a:prstGeom>
        </p:spPr>
      </p:pic>
      <p:pic>
        <p:nvPicPr>
          <p:cNvPr id="16" name="Grafik 15">
            <a:extLst>
              <a:ext uri="{FF2B5EF4-FFF2-40B4-BE49-F238E27FC236}">
                <a16:creationId xmlns:a16="http://schemas.microsoft.com/office/drawing/2014/main" id="{66048ADE-DA89-A097-0820-6A36334E5198}"/>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8"/>
              </a:ext>
            </a:extLst>
          </a:blip>
          <a:srcRect l="63979" t="48461" r="20925"/>
          <a:stretch/>
        </p:blipFill>
        <p:spPr>
          <a:xfrm>
            <a:off x="7547797" y="5428312"/>
            <a:ext cx="283800" cy="333366"/>
          </a:xfrm>
          <a:prstGeom prst="rect">
            <a:avLst/>
          </a:prstGeom>
        </p:spPr>
      </p:pic>
      <p:pic>
        <p:nvPicPr>
          <p:cNvPr id="20" name="Grafik 19">
            <a:extLst>
              <a:ext uri="{FF2B5EF4-FFF2-40B4-BE49-F238E27FC236}">
                <a16:creationId xmlns:a16="http://schemas.microsoft.com/office/drawing/2014/main" id="{1FDFA39A-E88B-FCEB-FC5D-80D49B698E7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bwMode="gray">
          <a:xfrm>
            <a:off x="10704521" y="296864"/>
            <a:ext cx="1152942" cy="360000"/>
          </a:xfrm>
          <a:prstGeom prst="rect">
            <a:avLst/>
          </a:prstGeom>
        </p:spPr>
      </p:pic>
      <p:sp>
        <p:nvSpPr>
          <p:cNvPr id="21" name="Textplatzhalter 5">
            <a:extLst>
              <a:ext uri="{FF2B5EF4-FFF2-40B4-BE49-F238E27FC236}">
                <a16:creationId xmlns:a16="http://schemas.microsoft.com/office/drawing/2014/main" id="{E0886BF1-CC8B-1919-81BE-0FEACEFA0FF0}"/>
              </a:ext>
            </a:extLst>
          </p:cNvPr>
          <p:cNvSpPr txBox="1">
            <a:spLocks/>
          </p:cNvSpPr>
          <p:nvPr/>
        </p:nvSpPr>
        <p:spPr>
          <a:xfrm>
            <a:off x="2225145" y="3826595"/>
            <a:ext cx="4050628" cy="640405"/>
          </a:xfrm>
          <a:prstGeom prst="rect">
            <a:avLst/>
          </a:prstGeom>
        </p:spPr>
        <p:txBody>
          <a:bodyPr lIns="0" tIns="0" rIns="0" bIns="0"/>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sz="2200" dirty="0">
                <a:solidFill>
                  <a:schemeClr val="bg1"/>
                </a:solidFill>
              </a:rPr>
              <a:t>Maximilian Niermann</a:t>
            </a:r>
          </a:p>
          <a:p>
            <a:pPr>
              <a:spcAft>
                <a:spcPts val="0"/>
              </a:spcAft>
            </a:pPr>
            <a:r>
              <a:rPr lang="de-DE" sz="1400" dirty="0">
                <a:solidFill>
                  <a:schemeClr val="bg1"/>
                </a:solidFill>
              </a:rPr>
              <a:t>Head </a:t>
            </a:r>
            <a:r>
              <a:rPr lang="de-DE" sz="1400" dirty="0" err="1">
                <a:solidFill>
                  <a:schemeClr val="bg1"/>
                </a:solidFill>
              </a:rPr>
              <a:t>of</a:t>
            </a:r>
            <a:r>
              <a:rPr lang="de-DE" sz="1400" dirty="0">
                <a:solidFill>
                  <a:schemeClr val="bg1"/>
                </a:solidFill>
              </a:rPr>
              <a:t> Marketing Communications</a:t>
            </a:r>
          </a:p>
          <a:p>
            <a:pPr>
              <a:spcAft>
                <a:spcPts val="0"/>
              </a:spcAft>
            </a:pPr>
            <a:endParaRPr lang="de-DE" sz="1400" dirty="0">
              <a:solidFill>
                <a:schemeClr val="bg1"/>
              </a:solidFill>
            </a:endParaRPr>
          </a:p>
          <a:p>
            <a:pPr>
              <a:spcAft>
                <a:spcPts val="0"/>
              </a:spcAft>
            </a:pPr>
            <a:r>
              <a:rPr lang="de-DE" sz="1400" dirty="0" err="1">
                <a:solidFill>
                  <a:schemeClr val="bg1"/>
                </a:solidFill>
              </a:rPr>
              <a:t>maximilian.niermann@msg.group</a:t>
            </a:r>
            <a:endParaRPr lang="de-DE" sz="1400" dirty="0">
              <a:solidFill>
                <a:schemeClr val="bg1"/>
              </a:solidFill>
            </a:endParaRPr>
          </a:p>
        </p:txBody>
      </p:sp>
      <p:pic>
        <p:nvPicPr>
          <p:cNvPr id="7" name="Grafik 6" descr="Ein Bild, das Schwarz, Dunkelheit enthält.&#10;&#10;Automatisch generierte Beschreibung">
            <a:extLst>
              <a:ext uri="{FF2B5EF4-FFF2-40B4-BE49-F238E27FC236}">
                <a16:creationId xmlns:a16="http://schemas.microsoft.com/office/drawing/2014/main" id="{FE1FAC72-E422-EAAB-6A26-D61C3892426F}"/>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Lst>
          </a:blip>
          <a:stretch>
            <a:fillRect/>
          </a:stretch>
        </p:blipFill>
        <p:spPr>
          <a:xfrm>
            <a:off x="7101327" y="5547815"/>
            <a:ext cx="235544" cy="212904"/>
          </a:xfrm>
          <a:prstGeom prst="rect">
            <a:avLst/>
          </a:prstGeom>
        </p:spPr>
      </p:pic>
    </p:spTree>
    <p:extLst>
      <p:ext uri="{BB962C8B-B14F-4D97-AF65-F5344CB8AC3E}">
        <p14:creationId xmlns:p14="http://schemas.microsoft.com/office/powerpoint/2010/main" val="1061136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Grün, Farbigkeit, gelb, Wasser enthält.&#10;&#10;Automatisch generierte Beschreibung">
            <a:extLst>
              <a:ext uri="{FF2B5EF4-FFF2-40B4-BE49-F238E27FC236}">
                <a16:creationId xmlns:a16="http://schemas.microsoft.com/office/drawing/2014/main" id="{BC152F2A-384B-035E-9476-78D063F877E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V="1">
            <a:off x="2689409" y="-2689411"/>
            <a:ext cx="6858002" cy="12236817"/>
          </a:xfrm>
          <a:prstGeom prst="rect">
            <a:avLst/>
          </a:prstGeom>
        </p:spPr>
      </p:pic>
      <p:sp>
        <p:nvSpPr>
          <p:cNvPr id="8" name="Rechteck 7">
            <a:extLst>
              <a:ext uri="{FF2B5EF4-FFF2-40B4-BE49-F238E27FC236}">
                <a16:creationId xmlns:a16="http://schemas.microsoft.com/office/drawing/2014/main" id="{A22798E5-EABE-3430-0671-55F820DF7BE5}"/>
              </a:ext>
            </a:extLst>
          </p:cNvPr>
          <p:cNvSpPr/>
          <p:nvPr/>
        </p:nvSpPr>
        <p:spPr>
          <a:xfrm>
            <a:off x="0" y="2532185"/>
            <a:ext cx="12242800" cy="4325815"/>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7D402871-D09E-673B-5CD2-EF2030EE88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7D402871-D09E-673B-5CD2-EF2030EE88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Titel 1">
            <a:extLst>
              <a:ext uri="{FF2B5EF4-FFF2-40B4-BE49-F238E27FC236}">
                <a16:creationId xmlns:a16="http://schemas.microsoft.com/office/drawing/2014/main" id="{2A2B3586-8499-A25B-3E64-3CBCE1E71826}"/>
              </a:ext>
            </a:extLst>
          </p:cNvPr>
          <p:cNvSpPr txBox="1">
            <a:spLocks/>
          </p:cNvSpPr>
          <p:nvPr/>
        </p:nvSpPr>
        <p:spPr>
          <a:xfrm>
            <a:off x="665749" y="2868838"/>
            <a:ext cx="5351696" cy="640405"/>
          </a:xfrm>
          <a:prstGeom prst="rect">
            <a:avLst/>
          </a:prstGeom>
        </p:spPr>
        <p:txBody>
          <a:bodyPr lIns="0" tIns="0" rIns="0" bIns="0" anchor="t"/>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a:solidFill>
                  <a:schemeClr val="bg1"/>
                </a:solidFill>
                <a:latin typeface="+mn-lt"/>
              </a:rPr>
              <a:t>Ansprechpartner/in</a:t>
            </a:r>
          </a:p>
        </p:txBody>
      </p:sp>
      <p:sp>
        <p:nvSpPr>
          <p:cNvPr id="24" name="Untertitel 2">
            <a:extLst>
              <a:ext uri="{FF2B5EF4-FFF2-40B4-BE49-F238E27FC236}">
                <a16:creationId xmlns:a16="http://schemas.microsoft.com/office/drawing/2014/main" id="{6A7BBADF-3459-12C3-88BB-C9E22B750595}"/>
              </a:ext>
            </a:extLst>
          </p:cNvPr>
          <p:cNvSpPr txBox="1">
            <a:spLocks/>
          </p:cNvSpPr>
          <p:nvPr/>
        </p:nvSpPr>
        <p:spPr>
          <a:xfrm>
            <a:off x="2225145" y="5514841"/>
            <a:ext cx="2239988" cy="646331"/>
          </a:xfrm>
          <a:prstGeom prst="rect">
            <a:avLst/>
          </a:prstGeom>
        </p:spPr>
        <p:txBody>
          <a:bodyPr lIns="0" tIns="0" rIns="0" bIns="0">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err="1">
                <a:solidFill>
                  <a:schemeClr val="bg1"/>
                </a:solidFill>
              </a:rPr>
              <a:t>msg</a:t>
            </a:r>
            <a:r>
              <a:rPr lang="de-DE">
                <a:solidFill>
                  <a:schemeClr val="bg1"/>
                </a:solidFill>
              </a:rPr>
              <a:t> </a:t>
            </a:r>
            <a:r>
              <a:rPr lang="de-DE" err="1">
                <a:solidFill>
                  <a:schemeClr val="bg1"/>
                </a:solidFill>
              </a:rPr>
              <a:t>systems</a:t>
            </a:r>
            <a:r>
              <a:rPr lang="de-DE">
                <a:solidFill>
                  <a:schemeClr val="bg1"/>
                </a:solidFill>
              </a:rPr>
              <a:t> </a:t>
            </a:r>
            <a:r>
              <a:rPr lang="de-DE" err="1">
                <a:solidFill>
                  <a:schemeClr val="bg1"/>
                </a:solidFill>
              </a:rPr>
              <a:t>ag</a:t>
            </a:r>
            <a:endParaRPr lang="de-DE">
              <a:solidFill>
                <a:schemeClr val="bg1"/>
              </a:solidFill>
            </a:endParaRPr>
          </a:p>
          <a:p>
            <a:pPr>
              <a:spcAft>
                <a:spcPts val="0"/>
              </a:spcAft>
            </a:pPr>
            <a:r>
              <a:rPr lang="de-DE">
                <a:solidFill>
                  <a:schemeClr val="bg1"/>
                </a:solidFill>
              </a:rPr>
              <a:t>Robert-​Bürkle-Straße 1</a:t>
            </a:r>
          </a:p>
          <a:p>
            <a:pPr>
              <a:spcAft>
                <a:spcPts val="0"/>
              </a:spcAft>
            </a:pPr>
            <a:r>
              <a:rPr lang="de-DE">
                <a:solidFill>
                  <a:schemeClr val="bg1"/>
                </a:solidFill>
              </a:rPr>
              <a:t>85737 Ismaning</a:t>
            </a:r>
          </a:p>
        </p:txBody>
      </p:sp>
      <p:sp>
        <p:nvSpPr>
          <p:cNvPr id="6" name="Untertitel 2">
            <a:extLst>
              <a:ext uri="{FF2B5EF4-FFF2-40B4-BE49-F238E27FC236}">
                <a16:creationId xmlns:a16="http://schemas.microsoft.com/office/drawing/2014/main" id="{428DD793-9677-5915-F077-41AFD7671B32}"/>
              </a:ext>
            </a:extLst>
          </p:cNvPr>
          <p:cNvSpPr txBox="1">
            <a:spLocks/>
          </p:cNvSpPr>
          <p:nvPr/>
        </p:nvSpPr>
        <p:spPr>
          <a:xfrm>
            <a:off x="4359144" y="5514841"/>
            <a:ext cx="1816364" cy="646331"/>
          </a:xfrm>
          <a:prstGeom prst="rect">
            <a:avLst/>
          </a:prstGeom>
        </p:spPr>
        <p:txBody>
          <a:bodyPr lIns="0" tIns="0" rIns="0" bIns="0" anchor="t">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a:solidFill>
                  <a:schemeClr val="bg1"/>
                </a:solidFill>
              </a:rPr>
              <a:t>+49 89 96101-0</a:t>
            </a:r>
          </a:p>
          <a:p>
            <a:pPr>
              <a:spcAft>
                <a:spcPts val="0"/>
              </a:spcAft>
            </a:pPr>
            <a:r>
              <a:rPr lang="de-DE">
                <a:solidFill>
                  <a:schemeClr val="bg1"/>
                </a:solidFill>
              </a:rPr>
              <a:t>+49 89 96101-​1113</a:t>
            </a:r>
            <a:endParaRPr lang="de-DE">
              <a:solidFill>
                <a:schemeClr val="bg1"/>
              </a:solidFill>
              <a:cs typeface="Calibri"/>
            </a:endParaRPr>
          </a:p>
          <a:p>
            <a:pPr>
              <a:spcAft>
                <a:spcPts val="0"/>
              </a:spcAft>
            </a:pPr>
            <a:r>
              <a:rPr lang="de-DE" err="1">
                <a:solidFill>
                  <a:schemeClr val="bg1"/>
                </a:solidFill>
              </a:rPr>
              <a:t>info@msg.group</a:t>
            </a:r>
            <a:endParaRPr lang="de-DE">
              <a:solidFill>
                <a:schemeClr val="bg1"/>
              </a:solidFill>
              <a:cs typeface="Calibri"/>
            </a:endParaRPr>
          </a:p>
        </p:txBody>
      </p:sp>
      <p:cxnSp>
        <p:nvCxnSpPr>
          <p:cNvPr id="9" name="Gerader Verbinder 8">
            <a:extLst>
              <a:ext uri="{FF2B5EF4-FFF2-40B4-BE49-F238E27FC236}">
                <a16:creationId xmlns:a16="http://schemas.microsoft.com/office/drawing/2014/main" id="{B6CC6271-A501-2E4B-EF59-BAE859EA8AD7}"/>
              </a:ext>
            </a:extLst>
          </p:cNvPr>
          <p:cNvCxnSpPr>
            <a:cxnSpLocks/>
          </p:cNvCxnSpPr>
          <p:nvPr/>
        </p:nvCxnSpPr>
        <p:spPr>
          <a:xfrm>
            <a:off x="2225145" y="5367929"/>
            <a:ext cx="602740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platzhalter 5">
            <a:extLst>
              <a:ext uri="{FF2B5EF4-FFF2-40B4-BE49-F238E27FC236}">
                <a16:creationId xmlns:a16="http://schemas.microsoft.com/office/drawing/2014/main" id="{23456FD2-23B5-1C2D-F058-E0D5FFED274B}"/>
              </a:ext>
            </a:extLst>
          </p:cNvPr>
          <p:cNvSpPr txBox="1">
            <a:spLocks/>
          </p:cNvSpPr>
          <p:nvPr/>
        </p:nvSpPr>
        <p:spPr>
          <a:xfrm>
            <a:off x="2225145" y="3826595"/>
            <a:ext cx="3106228" cy="640405"/>
          </a:xfrm>
          <a:prstGeom prst="rect">
            <a:avLst/>
          </a:prstGeom>
        </p:spPr>
        <p:txBody>
          <a:bodyPr lIns="0" tIns="0" rIns="0" bIns="0"/>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sz="2200">
                <a:solidFill>
                  <a:schemeClr val="bg1"/>
                </a:solidFill>
              </a:rPr>
              <a:t>xxx</a:t>
            </a:r>
          </a:p>
          <a:p>
            <a:pPr>
              <a:spcAft>
                <a:spcPts val="0"/>
              </a:spcAft>
            </a:pPr>
            <a:r>
              <a:rPr lang="de-DE" sz="1400">
                <a:solidFill>
                  <a:schemeClr val="bg1"/>
                </a:solidFill>
              </a:rPr>
              <a:t>Unit xxx</a:t>
            </a:r>
          </a:p>
          <a:p>
            <a:pPr>
              <a:spcAft>
                <a:spcPts val="0"/>
              </a:spcAft>
            </a:pPr>
            <a:endParaRPr lang="de-DE" sz="1400">
              <a:solidFill>
                <a:schemeClr val="bg1"/>
              </a:solidFill>
            </a:endParaRPr>
          </a:p>
          <a:p>
            <a:pPr>
              <a:spcAft>
                <a:spcPts val="0"/>
              </a:spcAft>
            </a:pPr>
            <a:r>
              <a:rPr lang="de-DE" sz="1400" err="1">
                <a:solidFill>
                  <a:schemeClr val="bg1"/>
                </a:solidFill>
              </a:rPr>
              <a:t>Herbert.mustermann@msg.group</a:t>
            </a:r>
            <a:endParaRPr lang="de-DE" sz="1400">
              <a:solidFill>
                <a:schemeClr val="bg1"/>
              </a:solidFill>
            </a:endParaRPr>
          </a:p>
          <a:p>
            <a:pPr>
              <a:spcAft>
                <a:spcPts val="0"/>
              </a:spcAft>
            </a:pPr>
            <a:r>
              <a:rPr lang="de-DE" sz="1400">
                <a:solidFill>
                  <a:schemeClr val="bg1"/>
                </a:solidFill>
              </a:rPr>
              <a:t>+49 152 04803791</a:t>
            </a:r>
          </a:p>
        </p:txBody>
      </p:sp>
      <p:sp>
        <p:nvSpPr>
          <p:cNvPr id="3" name="Fußzeilenplatzhalter 1">
            <a:extLst>
              <a:ext uri="{FF2B5EF4-FFF2-40B4-BE49-F238E27FC236}">
                <a16:creationId xmlns:a16="http://schemas.microsoft.com/office/drawing/2014/main" id="{F345A2C8-3549-1216-E25C-9C92649AA7AB}"/>
              </a:ext>
            </a:extLst>
          </p:cNvPr>
          <p:cNvSpPr>
            <a:spLocks noGrp="1"/>
          </p:cNvSpPr>
          <p:nvPr>
            <p:ph type="ftr" sz="quarter" idx="10"/>
          </p:nvPr>
        </p:nvSpPr>
        <p:spPr>
          <a:xfrm>
            <a:off x="655780" y="6443762"/>
            <a:ext cx="4968501" cy="153888"/>
          </a:xfrm>
        </p:spPr>
        <p:txBody>
          <a:bodyPr/>
          <a:lstStyle/>
          <a:p>
            <a:r>
              <a:rPr lang="de-DE">
                <a:solidFill>
                  <a:schemeClr val="bg1"/>
                </a:solidFill>
              </a:rPr>
              <a:t>© msg systems ag | 2026 | msg-Unternehmenspräsentation</a:t>
            </a:r>
          </a:p>
        </p:txBody>
      </p:sp>
      <p:sp>
        <p:nvSpPr>
          <p:cNvPr id="10" name="Foliennummernplatzhalter 9">
            <a:extLst>
              <a:ext uri="{FF2B5EF4-FFF2-40B4-BE49-F238E27FC236}">
                <a16:creationId xmlns:a16="http://schemas.microsoft.com/office/drawing/2014/main" id="{FC2688C5-5887-0487-BEF1-1B2BFB4A6749}"/>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solidFill>
                  <a:schemeClr val="bg1"/>
                </a:solidFill>
              </a:rPr>
              <a:pPr/>
              <a:t>51</a:t>
            </a:fld>
            <a:endParaRPr lang="de-DE">
              <a:solidFill>
                <a:schemeClr val="bg1"/>
              </a:solidFill>
            </a:endParaRPr>
          </a:p>
        </p:txBody>
      </p:sp>
      <p:sp>
        <p:nvSpPr>
          <p:cNvPr id="19" name="Oval 18">
            <a:extLst>
              <a:ext uri="{FF2B5EF4-FFF2-40B4-BE49-F238E27FC236}">
                <a16:creationId xmlns:a16="http://schemas.microsoft.com/office/drawing/2014/main" id="{C05142E8-1855-75F2-05FB-C6BFAA274C98}"/>
              </a:ext>
            </a:extLst>
          </p:cNvPr>
          <p:cNvSpPr/>
          <p:nvPr/>
        </p:nvSpPr>
        <p:spPr>
          <a:xfrm>
            <a:off x="658813" y="3826468"/>
            <a:ext cx="1170000" cy="11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pic>
        <p:nvPicPr>
          <p:cNvPr id="20" name="Grafik 19">
            <a:extLst>
              <a:ext uri="{FF2B5EF4-FFF2-40B4-BE49-F238E27FC236}">
                <a16:creationId xmlns:a16="http://schemas.microsoft.com/office/drawing/2014/main" id="{2FC6070A-49CE-CA3A-E7AB-73F69D94CE70}"/>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pic>
        <p:nvPicPr>
          <p:cNvPr id="11" name="Grafik 10">
            <a:extLst>
              <a:ext uri="{FF2B5EF4-FFF2-40B4-BE49-F238E27FC236}">
                <a16:creationId xmlns:a16="http://schemas.microsoft.com/office/drawing/2014/main" id="{9C463D7C-AE65-67A2-ACAA-1727926004C2}"/>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8"/>
              </a:ext>
            </a:extLst>
          </a:blip>
          <a:srcRect l="2802" t="48461" r="88424"/>
          <a:stretch/>
        </p:blipFill>
        <p:spPr>
          <a:xfrm>
            <a:off x="6259775" y="5422643"/>
            <a:ext cx="167439" cy="338400"/>
          </a:xfrm>
          <a:prstGeom prst="rect">
            <a:avLst/>
          </a:prstGeom>
        </p:spPr>
      </p:pic>
      <p:pic>
        <p:nvPicPr>
          <p:cNvPr id="12" name="Grafik 11">
            <a:extLst>
              <a:ext uri="{FF2B5EF4-FFF2-40B4-BE49-F238E27FC236}">
                <a16:creationId xmlns:a16="http://schemas.microsoft.com/office/drawing/2014/main" id="{42CABB36-B141-3EA3-7AE7-218B4C312BF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9"/>
              </a:ext>
            </a:extLst>
          </a:blip>
          <a:srcRect l="29206" t="22799" r="20297" b="20983"/>
          <a:stretch/>
        </p:blipFill>
        <p:spPr>
          <a:xfrm>
            <a:off x="8042524" y="5533208"/>
            <a:ext cx="211440" cy="235392"/>
          </a:xfrm>
          <a:prstGeom prst="rect">
            <a:avLst/>
          </a:prstGeom>
        </p:spPr>
      </p:pic>
      <p:pic>
        <p:nvPicPr>
          <p:cNvPr id="21" name="Grafik 20">
            <a:extLst>
              <a:ext uri="{FF2B5EF4-FFF2-40B4-BE49-F238E27FC236}">
                <a16:creationId xmlns:a16="http://schemas.microsoft.com/office/drawing/2014/main" id="{CBC9CE2C-684B-9044-A710-DF7D66D7AE9A}"/>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8"/>
              </a:ext>
            </a:extLst>
          </a:blip>
          <a:srcRect l="22554" t="48462" r="65280" b="-1"/>
          <a:stretch/>
        </p:blipFill>
        <p:spPr>
          <a:xfrm>
            <a:off x="6638140" y="5430190"/>
            <a:ext cx="252261" cy="367669"/>
          </a:xfrm>
          <a:prstGeom prst="rect">
            <a:avLst/>
          </a:prstGeom>
        </p:spPr>
      </p:pic>
      <p:pic>
        <p:nvPicPr>
          <p:cNvPr id="22" name="Grafik 21">
            <a:extLst>
              <a:ext uri="{FF2B5EF4-FFF2-40B4-BE49-F238E27FC236}">
                <a16:creationId xmlns:a16="http://schemas.microsoft.com/office/drawing/2014/main" id="{F10BB710-A890-6054-70C4-7028B238D6B7}"/>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8"/>
              </a:ext>
            </a:extLst>
          </a:blip>
          <a:srcRect l="63979" t="48461" r="20925"/>
          <a:stretch/>
        </p:blipFill>
        <p:spPr>
          <a:xfrm>
            <a:off x="7547797" y="5428312"/>
            <a:ext cx="283800" cy="333366"/>
          </a:xfrm>
          <a:prstGeom prst="rect">
            <a:avLst/>
          </a:prstGeom>
        </p:spPr>
      </p:pic>
      <p:pic>
        <p:nvPicPr>
          <p:cNvPr id="25" name="Grafik 24" descr="Ein Bild, das Schwarz, Dunkelheit enthält.&#10;&#10;Automatisch generierte Beschreibung">
            <a:extLst>
              <a:ext uri="{FF2B5EF4-FFF2-40B4-BE49-F238E27FC236}">
                <a16:creationId xmlns:a16="http://schemas.microsoft.com/office/drawing/2014/main" id="{B09396D8-D1D6-281D-AF46-65ABEBA00BAD}"/>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7101327" y="5547815"/>
            <a:ext cx="235544" cy="212904"/>
          </a:xfrm>
          <a:prstGeom prst="rect">
            <a:avLst/>
          </a:prstGeom>
        </p:spPr>
      </p:pic>
    </p:spTree>
    <p:extLst>
      <p:ext uri="{BB962C8B-B14F-4D97-AF65-F5344CB8AC3E}">
        <p14:creationId xmlns:p14="http://schemas.microsoft.com/office/powerpoint/2010/main" val="2253121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Bildplatzhalter 11" descr="Ein Bild, das Person, Menschliches Gesicht, Kleidung, Blazer enthält.&#10;&#10;Automatisch generierte Beschreibung">
            <a:extLst>
              <a:ext uri="{FF2B5EF4-FFF2-40B4-BE49-F238E27FC236}">
                <a16:creationId xmlns:a16="http://schemas.microsoft.com/office/drawing/2014/main" id="{55E40612-EB07-3885-1F12-0C1E5D61D964}"/>
              </a:ext>
            </a:extLst>
          </p:cNvPr>
          <p:cNvPicPr>
            <a:picLocks noGrp="1" noChangeAspect="1"/>
          </p:cNvPicPr>
          <p:nvPr>
            <p:ph type="pic" sz="quarter" idx="13"/>
          </p:nvPr>
        </p:nvPicPr>
        <p:blipFill rotWithShape="1">
          <a:blip r:embed="rId4" cstate="screen">
            <a:extLst>
              <a:ext uri="{28A0092B-C50C-407E-A947-70E740481C1C}">
                <a14:useLocalDpi xmlns:a14="http://schemas.microsoft.com/office/drawing/2010/main" val="0"/>
              </a:ext>
            </a:extLst>
          </a:blip>
          <a:srcRect l="249" r="249"/>
          <a:stretch/>
        </p:blipFill>
        <p:spPr>
          <a:effectLst/>
        </p:spPr>
      </p:pic>
      <p:sp>
        <p:nvSpPr>
          <p:cNvPr id="24" name="Titel 23">
            <a:extLst>
              <a:ext uri="{FF2B5EF4-FFF2-40B4-BE49-F238E27FC236}">
                <a16:creationId xmlns:a16="http://schemas.microsoft.com/office/drawing/2014/main" id="{3AC9B09E-9209-0EFB-B2AE-724F445CA1C9}"/>
              </a:ext>
            </a:extLst>
          </p:cNvPr>
          <p:cNvSpPr>
            <a:spLocks noGrp="1"/>
          </p:cNvSpPr>
          <p:nvPr>
            <p:ph type="title"/>
          </p:nvPr>
        </p:nvSpPr>
        <p:spPr/>
        <p:txBody>
          <a:bodyPr/>
          <a:lstStyle/>
          <a:p>
            <a:r>
              <a:rPr lang="de-DE" b="1" dirty="0"/>
              <a:t>Die Menschen in den Mittelpunkt stellen:</a:t>
            </a:r>
            <a:br>
              <a:rPr lang="de-DE" dirty="0"/>
            </a:br>
            <a:r>
              <a:rPr lang="de-DE" dirty="0"/>
              <a:t>als Kunden, als Nutzer unserer Lösungen und als Mitarbeitende. </a:t>
            </a:r>
            <a:br>
              <a:rPr lang="de-DE" dirty="0"/>
            </a:br>
            <a:endParaRPr lang="de-DE" dirty="0"/>
          </a:p>
        </p:txBody>
      </p:sp>
      <p:sp>
        <p:nvSpPr>
          <p:cNvPr id="18" name="Fußzeilenplatzhalter 17">
            <a:extLst>
              <a:ext uri="{FF2B5EF4-FFF2-40B4-BE49-F238E27FC236}">
                <a16:creationId xmlns:a16="http://schemas.microsoft.com/office/drawing/2014/main" id="{4A645CAC-767A-2A0F-C136-27022520E914}"/>
              </a:ext>
            </a:extLst>
          </p:cNvPr>
          <p:cNvSpPr>
            <a:spLocks noGrp="1"/>
          </p:cNvSpPr>
          <p:nvPr>
            <p:ph type="ftr" sz="quarter" idx="10"/>
          </p:nvPr>
        </p:nvSpPr>
        <p:spPr/>
        <p:txBody>
          <a:bodyPr/>
          <a:lstStyle/>
          <a:p>
            <a:r>
              <a:rPr lang="de-DE"/>
              <a:t>© msg systems ag | 2026 | msg-Unternehmenspräsentation</a:t>
            </a:r>
          </a:p>
        </p:txBody>
      </p:sp>
      <p:sp>
        <p:nvSpPr>
          <p:cNvPr id="21" name="Foliennummernplatzhalter 20">
            <a:extLst>
              <a:ext uri="{FF2B5EF4-FFF2-40B4-BE49-F238E27FC236}">
                <a16:creationId xmlns:a16="http://schemas.microsoft.com/office/drawing/2014/main" id="{558B7806-5371-E568-5CEA-B9BDBBDEBECC}"/>
              </a:ext>
            </a:extLst>
          </p:cNvPr>
          <p:cNvSpPr>
            <a:spLocks noGrp="1"/>
          </p:cNvSpPr>
          <p:nvPr>
            <p:ph type="sldNum" sz="quarter" idx="11"/>
          </p:nvPr>
        </p:nvSpPr>
        <p:spPr/>
        <p:txBody>
          <a:bodyPr/>
          <a:lstStyle/>
          <a:p>
            <a:fld id="{B27B0579-4238-4E44-9A9E-134B676F827C}" type="slidenum">
              <a:rPr lang="de-DE" smtClean="0"/>
              <a:pPr/>
              <a:t>6</a:t>
            </a:fld>
            <a:endParaRPr lang="de-DE"/>
          </a:p>
        </p:txBody>
      </p:sp>
      <p:graphicFrame>
        <p:nvGraphicFramePr>
          <p:cNvPr id="3" name="think-cell data - do not delete" hidden="1">
            <a:extLst>
              <a:ext uri="{FF2B5EF4-FFF2-40B4-BE49-F238E27FC236}">
                <a16:creationId xmlns:a16="http://schemas.microsoft.com/office/drawing/2014/main" id="{04CAAFB6-4EEB-4797-E12D-0D74930F39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3" name="think-cell data - do not delete" hidden="1">
                        <a:extLst>
                          <a:ext uri="{FF2B5EF4-FFF2-40B4-BE49-F238E27FC236}">
                            <a16:creationId xmlns:a16="http://schemas.microsoft.com/office/drawing/2014/main" id="{04CAAFB6-4EEB-4797-E12D-0D74930F39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45009201-F760-F079-1682-C0962123C117}"/>
              </a:ext>
            </a:extLst>
          </p:cNvPr>
          <p:cNvSpPr txBox="1"/>
          <p:nvPr/>
        </p:nvSpPr>
        <p:spPr>
          <a:xfrm>
            <a:off x="4641850" y="2822293"/>
            <a:ext cx="7305242" cy="2246769"/>
          </a:xfrm>
          <a:prstGeom prst="rect">
            <a:avLst/>
          </a:prstGeom>
          <a:noFill/>
        </p:spPr>
        <p:txBody>
          <a:bodyPr wrap="square" lIns="0" tIns="0" rIns="0" bIns="0" anchor="t">
            <a:spAutoFit/>
          </a:bodyPr>
          <a:lstStyle/>
          <a:p>
            <a:pPr>
              <a:spcAft>
                <a:spcPts val="1200"/>
              </a:spcAft>
            </a:pPr>
            <a:r>
              <a:rPr lang="de-DE">
                <a:effectLst/>
                <a:ea typeface="Calibri" panose="020F0502020204030204" pitchFamily="34" charset="0"/>
                <a:cs typeface="Calibri Light"/>
              </a:rPr>
              <a:t>Wir bauen auf 40 Jahre Branchenexpertise und den kreativen und lösungsorientierten Unternehmergeist, der unsere Arbeit schon immer geprägt hat. </a:t>
            </a:r>
            <a:r>
              <a:rPr lang="de-DE">
                <a:ea typeface="Calibri" panose="020F0502020204030204" pitchFamily="34" charset="0"/>
                <a:cs typeface="Calibri Light"/>
              </a:rPr>
              <a:t>Als eines der wenigen inhabergeführten IT-Beratungs-unternehmen in Deutschland</a:t>
            </a:r>
            <a:r>
              <a:rPr lang="de-DE">
                <a:effectLst/>
                <a:ea typeface="Calibri" panose="020F0502020204030204" pitchFamily="34" charset="0"/>
                <a:cs typeface="Calibri Light"/>
              </a:rPr>
              <a:t> schöpfen wir aus der Vielfalt unserer Unternehmensgruppe: von der Ideenfindung bis zur Anwendung.</a:t>
            </a:r>
          </a:p>
          <a:p>
            <a:pPr>
              <a:spcAft>
                <a:spcPts val="1200"/>
              </a:spcAft>
            </a:pPr>
            <a:r>
              <a:rPr lang="de-DE">
                <a:ea typeface="Calibri" panose="020F0502020204030204" pitchFamily="34" charset="0"/>
                <a:cs typeface="Calibri Light"/>
              </a:rPr>
              <a:t>Dem tragen wir mit </a:t>
            </a:r>
            <a:r>
              <a:rPr lang="de-DE">
                <a:effectLst/>
                <a:ea typeface="Calibri" panose="020F0502020204030204" pitchFamily="34" charset="0"/>
                <a:cs typeface="Calibri Light"/>
              </a:rPr>
              <a:t>unserem Claim</a:t>
            </a:r>
            <a:r>
              <a:rPr lang="de-DE">
                <a:ea typeface="Calibri" panose="020F0502020204030204" pitchFamily="34" charset="0"/>
                <a:cs typeface="Calibri Light"/>
              </a:rPr>
              <a:t> </a:t>
            </a:r>
            <a:r>
              <a:rPr lang="de-DE">
                <a:solidFill>
                  <a:srgbClr val="A01441"/>
                </a:solidFill>
                <a:effectLst/>
                <a:ea typeface="Calibri" panose="020F0502020204030204" pitchFamily="34" charset="0"/>
                <a:cs typeface="Calibri Light"/>
              </a:rPr>
              <a:t>„</a:t>
            </a:r>
            <a:r>
              <a:rPr lang="de-DE" err="1">
                <a:solidFill>
                  <a:srgbClr val="A01441"/>
                </a:solidFill>
                <a:effectLst/>
                <a:ea typeface="Calibri" panose="020F0502020204030204" pitchFamily="34" charset="0"/>
                <a:cs typeface="Calibri Light"/>
              </a:rPr>
              <a:t>value</a:t>
            </a:r>
            <a:r>
              <a:rPr lang="de-DE">
                <a:solidFill>
                  <a:srgbClr val="A01441"/>
                </a:solidFill>
                <a:effectLst/>
                <a:ea typeface="Calibri" panose="020F0502020204030204" pitchFamily="34" charset="0"/>
                <a:cs typeface="Calibri Light"/>
              </a:rPr>
              <a:t> – </a:t>
            </a:r>
            <a:r>
              <a:rPr lang="de-DE" err="1">
                <a:solidFill>
                  <a:srgbClr val="A01441"/>
                </a:solidFill>
                <a:effectLst/>
                <a:ea typeface="Calibri" panose="020F0502020204030204" pitchFamily="34" charset="0"/>
                <a:cs typeface="Calibri Light"/>
              </a:rPr>
              <a:t>inspired</a:t>
            </a:r>
            <a:r>
              <a:rPr lang="de-DE">
                <a:solidFill>
                  <a:srgbClr val="A01441"/>
                </a:solidFill>
                <a:effectLst/>
                <a:ea typeface="Calibri" panose="020F0502020204030204" pitchFamily="34" charset="0"/>
                <a:cs typeface="Calibri Light"/>
              </a:rPr>
              <a:t> by </a:t>
            </a:r>
            <a:r>
              <a:rPr lang="de-DE" err="1">
                <a:solidFill>
                  <a:srgbClr val="A01441"/>
                </a:solidFill>
                <a:effectLst/>
                <a:ea typeface="Calibri" panose="020F0502020204030204" pitchFamily="34" charset="0"/>
                <a:cs typeface="Calibri Light"/>
              </a:rPr>
              <a:t>people</a:t>
            </a:r>
            <a:r>
              <a:rPr lang="de-DE">
                <a:solidFill>
                  <a:srgbClr val="A01441"/>
                </a:solidFill>
                <a:effectLst/>
                <a:ea typeface="Calibri" panose="020F0502020204030204" pitchFamily="34" charset="0"/>
                <a:cs typeface="Calibri Light"/>
              </a:rPr>
              <a:t>“ </a:t>
            </a:r>
            <a:r>
              <a:rPr lang="de-DE">
                <a:ea typeface="Calibri" panose="020F0502020204030204" pitchFamily="34" charset="0"/>
                <a:cs typeface="Calibri Light"/>
              </a:rPr>
              <a:t>Rechnung</a:t>
            </a:r>
            <a:r>
              <a:rPr lang="de-DE">
                <a:effectLst/>
                <a:ea typeface="Calibri" panose="020F0502020204030204" pitchFamily="34" charset="0"/>
                <a:cs typeface="Calibri Light"/>
              </a:rPr>
              <a:t>.</a:t>
            </a:r>
          </a:p>
          <a:p>
            <a:pPr>
              <a:spcAft>
                <a:spcPts val="1200"/>
              </a:spcAft>
            </a:pPr>
            <a:endParaRPr lang="de-DE">
              <a:effectLst/>
              <a:ea typeface="Calibri" panose="020F0502020204030204" pitchFamily="34" charset="0"/>
              <a:cs typeface="Calibri Light" panose="020F0302020204030204" pitchFamily="34" charset="0"/>
            </a:endParaRPr>
          </a:p>
        </p:txBody>
      </p:sp>
      <p:sp>
        <p:nvSpPr>
          <p:cNvPr id="4" name="Textfeld 3">
            <a:extLst>
              <a:ext uri="{FF2B5EF4-FFF2-40B4-BE49-F238E27FC236}">
                <a16:creationId xmlns:a16="http://schemas.microsoft.com/office/drawing/2014/main" id="{3399F31C-F9D0-F189-7D9F-EC7510E8A604}"/>
              </a:ext>
            </a:extLst>
          </p:cNvPr>
          <p:cNvSpPr txBox="1"/>
          <p:nvPr/>
        </p:nvSpPr>
        <p:spPr>
          <a:xfrm>
            <a:off x="6254750" y="5266191"/>
            <a:ext cx="5587428" cy="553998"/>
          </a:xfrm>
          <a:prstGeom prst="rect">
            <a:avLst/>
          </a:prstGeom>
          <a:noFill/>
        </p:spPr>
        <p:txBody>
          <a:bodyPr wrap="square" lIns="0" tIns="0" rIns="0" bIns="0" anchor="t">
            <a:spAutoFit/>
          </a:bodyPr>
          <a:lstStyle/>
          <a:p>
            <a:pPr algn="r"/>
            <a:r>
              <a:rPr lang="de-DE"/>
              <a:t>Dr. Jürgen Zehetmaier</a:t>
            </a:r>
            <a:br>
              <a:rPr lang="de-DE"/>
            </a:br>
            <a:r>
              <a:rPr lang="de-DE"/>
              <a:t>msg-Vorstandsvorsitzender</a:t>
            </a:r>
          </a:p>
        </p:txBody>
      </p:sp>
      <p:sp>
        <p:nvSpPr>
          <p:cNvPr id="27" name="Eine Ecke des Rechtecks abrunden 6">
            <a:extLst>
              <a:ext uri="{FF2B5EF4-FFF2-40B4-BE49-F238E27FC236}">
                <a16:creationId xmlns:a16="http://schemas.microsoft.com/office/drawing/2014/main" id="{5716A70D-C218-AB70-6C68-0B36A7A8D045}"/>
              </a:ext>
            </a:extLst>
          </p:cNvPr>
          <p:cNvSpPr/>
          <p:nvPr/>
        </p:nvSpPr>
        <p:spPr>
          <a:xfrm rot="10800000">
            <a:off x="3166056" y="-129541"/>
            <a:ext cx="1573583" cy="2180415"/>
          </a:xfrm>
          <a:prstGeom prst="round1Rect">
            <a:avLst>
              <a:gd name="adj" fmla="val 21001"/>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grpSp>
        <p:nvGrpSpPr>
          <p:cNvPr id="28" name="Gruppieren 27">
            <a:extLst>
              <a:ext uri="{FF2B5EF4-FFF2-40B4-BE49-F238E27FC236}">
                <a16:creationId xmlns:a16="http://schemas.microsoft.com/office/drawing/2014/main" id="{427643DB-FEDC-C8AA-7BF7-196D4410955E}"/>
              </a:ext>
            </a:extLst>
          </p:cNvPr>
          <p:cNvGrpSpPr/>
          <p:nvPr/>
        </p:nvGrpSpPr>
        <p:grpSpPr>
          <a:xfrm>
            <a:off x="3334377" y="-1409700"/>
            <a:ext cx="2670500" cy="4449610"/>
            <a:chOff x="195166" y="-2115744"/>
            <a:chExt cx="4306119" cy="7174888"/>
          </a:xfrm>
        </p:grpSpPr>
        <p:pic>
          <p:nvPicPr>
            <p:cNvPr id="29" name="Grafik 28">
              <a:extLst>
                <a:ext uri="{FF2B5EF4-FFF2-40B4-BE49-F238E27FC236}">
                  <a16:creationId xmlns:a16="http://schemas.microsoft.com/office/drawing/2014/main" id="{67C2E20C-26A1-45E0-FAC1-BFE8C5DFFCCF}"/>
                </a:ext>
              </a:extLst>
            </p:cNvPr>
            <p:cNvPicPr>
              <a:picLocks noChangeAspect="1"/>
            </p:cNvPicPr>
            <p:nvPr/>
          </p:nvPicPr>
          <p:blipFill>
            <a:blip r:embed="rId7"/>
            <a:stretch>
              <a:fillRect/>
            </a:stretch>
          </p:blipFill>
          <p:spPr>
            <a:xfrm>
              <a:off x="195166" y="-1038322"/>
              <a:ext cx="4306119" cy="6097466"/>
            </a:xfrm>
            <a:prstGeom prst="rect">
              <a:avLst/>
            </a:prstGeom>
          </p:spPr>
        </p:pic>
        <p:pic>
          <p:nvPicPr>
            <p:cNvPr id="30" name="Grafik 29">
              <a:extLst>
                <a:ext uri="{FF2B5EF4-FFF2-40B4-BE49-F238E27FC236}">
                  <a16:creationId xmlns:a16="http://schemas.microsoft.com/office/drawing/2014/main" id="{BE3F1A85-500E-0FB5-5798-2EA6EF1A3B34}"/>
                </a:ext>
              </a:extLst>
            </p:cNvPr>
            <p:cNvPicPr>
              <a:picLocks noChangeAspect="1"/>
            </p:cNvPicPr>
            <p:nvPr/>
          </p:nvPicPr>
          <p:blipFill>
            <a:blip r:embed="rId8"/>
            <a:stretch>
              <a:fillRect/>
            </a:stretch>
          </p:blipFill>
          <p:spPr>
            <a:xfrm>
              <a:off x="479425" y="-2115744"/>
              <a:ext cx="3651589" cy="5167343"/>
            </a:xfrm>
            <a:prstGeom prst="rect">
              <a:avLst/>
            </a:prstGeom>
          </p:spPr>
        </p:pic>
      </p:grpSp>
    </p:spTree>
    <p:extLst>
      <p:ext uri="{BB962C8B-B14F-4D97-AF65-F5344CB8AC3E}">
        <p14:creationId xmlns:p14="http://schemas.microsoft.com/office/powerpoint/2010/main" val="3894270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3F434AE0-9A58-69E0-497F-DE8947A50ACE}"/>
              </a:ext>
            </a:extLst>
          </p:cNvPr>
          <p:cNvSpPr>
            <a:spLocks noGrp="1"/>
          </p:cNvSpPr>
          <p:nvPr>
            <p:ph type="body" sz="quarter" idx="12"/>
          </p:nvPr>
        </p:nvSpPr>
        <p:spPr/>
        <p:txBody>
          <a:bodyPr/>
          <a:lstStyle/>
          <a:p>
            <a:r>
              <a:rPr lang="de-DE"/>
              <a:t>Die msg-Gruppe im Überblick</a:t>
            </a:r>
            <a:endParaRPr lang="en-US"/>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p:txBody>
          <a:bodyPr vert="horz"/>
          <a:lstStyle/>
          <a:p>
            <a:r>
              <a:rPr lang="de-DE" dirty="0"/>
              <a:t>Warum </a:t>
            </a:r>
            <a:r>
              <a:rPr lang="de-DE" dirty="0" err="1"/>
              <a:t>msg</a:t>
            </a:r>
            <a:r>
              <a:rPr lang="de-DE" dirty="0"/>
              <a:t> der </a:t>
            </a:r>
            <a:r>
              <a:rPr lang="de-DE" b="1" dirty="0"/>
              <a:t>richtige Partner</a:t>
            </a:r>
            <a:r>
              <a:rPr lang="de-DE" dirty="0"/>
              <a:t> ist</a:t>
            </a:r>
          </a:p>
        </p:txBody>
      </p:sp>
      <p:sp>
        <p:nvSpPr>
          <p:cNvPr id="4" name="Fußzeilenplatzhalter 1">
            <a:extLst>
              <a:ext uri="{FF2B5EF4-FFF2-40B4-BE49-F238E27FC236}">
                <a16:creationId xmlns:a16="http://schemas.microsoft.com/office/drawing/2014/main" id="{B057810B-64F3-F60E-9ED3-A1414D658078}"/>
              </a:ext>
            </a:extLst>
          </p:cNvPr>
          <p:cNvSpPr>
            <a:spLocks noGrp="1"/>
          </p:cNvSpPr>
          <p:nvPr>
            <p:ph type="ftr" sz="quarter" idx="10"/>
          </p:nvPr>
        </p:nvSpPr>
        <p:spPr/>
        <p:txBody>
          <a:bodyPr/>
          <a:lstStyle/>
          <a:p>
            <a:r>
              <a:rPr lang="de-DE"/>
              <a:t>© msg systems ag | 2026 | msg-Unternehmenspräsentation</a:t>
            </a:r>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p:txBody>
          <a:bodyPr/>
          <a:lstStyle/>
          <a:p>
            <a:fld id="{B27B0579-4238-4E44-9A9E-134B676F827C}" type="slidenum">
              <a:rPr lang="de-DE" smtClean="0"/>
              <a:pPr/>
              <a:t>7</a:t>
            </a:fld>
            <a:endParaRPr lang="de-DE"/>
          </a:p>
        </p:txBody>
      </p:sp>
      <p:sp>
        <p:nvSpPr>
          <p:cNvPr id="16" name="Textfeld 15">
            <a:extLst>
              <a:ext uri="{FF2B5EF4-FFF2-40B4-BE49-F238E27FC236}">
                <a16:creationId xmlns:a16="http://schemas.microsoft.com/office/drawing/2014/main" id="{23AA6DBB-BA5F-924C-F16A-B4FECEB48CED}"/>
              </a:ext>
            </a:extLst>
          </p:cNvPr>
          <p:cNvSpPr txBox="1"/>
          <p:nvPr/>
        </p:nvSpPr>
        <p:spPr>
          <a:xfrm>
            <a:off x="2674937" y="3429000"/>
            <a:ext cx="8840474" cy="273639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00000"/>
              </a:lnSpc>
            </a:pPr>
            <a:r>
              <a:rPr lang="de-DE" sz="2200">
                <a:solidFill>
                  <a:schemeClr val="tx2">
                    <a:lumMod val="60000"/>
                    <a:lumOff val="40000"/>
                  </a:schemeClr>
                </a:solidFill>
                <a:latin typeface="+mj-lt"/>
                <a:ea typeface="Calibri"/>
                <a:cs typeface="Calibri"/>
              </a:rPr>
              <a:t>Als inhabergeführtes Unternehmen ist unser Handeln am Menschen ausgerichtet: Geschäftspartner und Mitarbeitende stehen im Mittelpunkt.</a:t>
            </a:r>
          </a:p>
          <a:p>
            <a:pPr>
              <a:lnSpc>
                <a:spcPct val="100000"/>
              </a:lnSpc>
            </a:pPr>
            <a:endParaRPr lang="de-DE" sz="2200">
              <a:solidFill>
                <a:schemeClr val="tx2">
                  <a:lumMod val="60000"/>
                  <a:lumOff val="40000"/>
                </a:schemeClr>
              </a:solidFill>
              <a:latin typeface="+mj-lt"/>
              <a:ea typeface="Calibri"/>
              <a:cs typeface="Calibri"/>
            </a:endParaRPr>
          </a:p>
          <a:p>
            <a:pPr>
              <a:lnSpc>
                <a:spcPct val="100000"/>
              </a:lnSpc>
            </a:pPr>
            <a:r>
              <a:rPr lang="de-DE" sz="2200">
                <a:solidFill>
                  <a:schemeClr val="tx2">
                    <a:lumMod val="60000"/>
                    <a:lumOff val="40000"/>
                  </a:schemeClr>
                </a:solidFill>
                <a:latin typeface="+mj-lt"/>
                <a:ea typeface="Calibri"/>
                <a:cs typeface="Calibri"/>
              </a:rPr>
              <a:t>Denn wir sind überzeugt: </a:t>
            </a:r>
          </a:p>
          <a:p>
            <a:pPr>
              <a:lnSpc>
                <a:spcPct val="100000"/>
              </a:lnSpc>
            </a:pPr>
            <a:r>
              <a:rPr lang="de-DE" sz="2200">
                <a:solidFill>
                  <a:schemeClr val="tx2">
                    <a:lumMod val="60000"/>
                    <a:lumOff val="40000"/>
                  </a:schemeClr>
                </a:solidFill>
                <a:latin typeface="+mj-lt"/>
                <a:ea typeface="Calibri"/>
                <a:cs typeface="Calibri"/>
              </a:rPr>
              <a:t>Nur so finden wir die besten Lösungen.</a:t>
            </a:r>
            <a:endParaRPr lang="en-US" sz="2200">
              <a:solidFill>
                <a:schemeClr val="tx2">
                  <a:lumMod val="60000"/>
                  <a:lumOff val="40000"/>
                </a:schemeClr>
              </a:solidFill>
              <a:latin typeface="+mj-lt"/>
              <a:ea typeface="Calibri"/>
              <a:cs typeface="Calibri"/>
            </a:endParaRPr>
          </a:p>
        </p:txBody>
      </p:sp>
      <p:pic>
        <p:nvPicPr>
          <p:cNvPr id="17" name="Grafik 16">
            <a:extLst>
              <a:ext uri="{FF2B5EF4-FFF2-40B4-BE49-F238E27FC236}">
                <a16:creationId xmlns:a16="http://schemas.microsoft.com/office/drawing/2014/main" id="{940D2EFB-53BD-8455-A8C6-BF267373D8D0}"/>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623888" y="2036480"/>
            <a:ext cx="6040799" cy="1210488"/>
          </a:xfrm>
          <a:prstGeom prst="rect">
            <a:avLst/>
          </a:prstGeom>
        </p:spPr>
      </p:pic>
    </p:spTree>
    <p:extLst>
      <p:ext uri="{BB962C8B-B14F-4D97-AF65-F5344CB8AC3E}">
        <p14:creationId xmlns:p14="http://schemas.microsoft.com/office/powerpoint/2010/main" val="236024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250" fill="hold"/>
                                        <p:tgtEl>
                                          <p:spTgt spid="16"/>
                                        </p:tgtEl>
                                        <p:attrNameLst>
                                          <p:attrName>ppt_x</p:attrName>
                                        </p:attrNameLst>
                                      </p:cBhvr>
                                      <p:tavLst>
                                        <p:tav tm="0">
                                          <p:val>
                                            <p:strVal val="0-#ppt_w/2"/>
                                          </p:val>
                                        </p:tav>
                                        <p:tav tm="100000">
                                          <p:val>
                                            <p:strVal val="#ppt_x"/>
                                          </p:val>
                                        </p:tav>
                                      </p:tavLst>
                                    </p:anim>
                                    <p:anim calcmode="lin" valueType="num">
                                      <p:cBhvr additive="base">
                                        <p:cTn id="8" dur="25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E3E6F726-4BF1-4475-059E-0792DFD1231C}"/>
              </a:ext>
            </a:extLst>
          </p:cNvPr>
          <p:cNvSpPr>
            <a:spLocks noGrp="1"/>
          </p:cNvSpPr>
          <p:nvPr>
            <p:ph type="body" sz="quarter" idx="12"/>
          </p:nvPr>
        </p:nvSpPr>
        <p:spPr/>
        <p:txBody>
          <a:bodyPr/>
          <a:lstStyle/>
          <a:p>
            <a:r>
              <a:rPr lang="de-DE"/>
              <a:t>Die msg-Gruppe im Überblick</a:t>
            </a:r>
            <a:endParaRPr lang="en-US"/>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p:txBody>
          <a:bodyPr vert="horz"/>
          <a:lstStyle/>
          <a:p>
            <a:r>
              <a:rPr lang="de-DE" dirty="0"/>
              <a:t>Warum </a:t>
            </a:r>
            <a:r>
              <a:rPr lang="de-DE" dirty="0" err="1"/>
              <a:t>msg</a:t>
            </a:r>
            <a:r>
              <a:rPr lang="de-DE" dirty="0"/>
              <a:t> der </a:t>
            </a:r>
            <a:r>
              <a:rPr lang="de-DE" b="1" dirty="0"/>
              <a:t>richtige Partner</a:t>
            </a:r>
            <a:r>
              <a:rPr lang="de-DE" dirty="0"/>
              <a:t> ist</a:t>
            </a:r>
          </a:p>
        </p:txBody>
      </p:sp>
      <p:sp>
        <p:nvSpPr>
          <p:cNvPr id="4" name="Fußzeilenplatzhalter 1">
            <a:extLst>
              <a:ext uri="{FF2B5EF4-FFF2-40B4-BE49-F238E27FC236}">
                <a16:creationId xmlns:a16="http://schemas.microsoft.com/office/drawing/2014/main" id="{D5ABD7E0-DBFD-6235-AA69-03D8FEDF9324}"/>
              </a:ext>
            </a:extLst>
          </p:cNvPr>
          <p:cNvSpPr>
            <a:spLocks noGrp="1"/>
          </p:cNvSpPr>
          <p:nvPr>
            <p:ph type="ftr" sz="quarter" idx="10"/>
          </p:nvPr>
        </p:nvSpPr>
        <p:spPr/>
        <p:txBody>
          <a:bodyPr/>
          <a:lstStyle/>
          <a:p>
            <a:r>
              <a:rPr lang="de-DE"/>
              <a:t>© msg systems ag | 2026 | msg-Unternehmenspräsentation</a:t>
            </a:r>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p:txBody>
          <a:bodyPr/>
          <a:lstStyle/>
          <a:p>
            <a:fld id="{B27B0579-4238-4E44-9A9E-134B676F827C}" type="slidenum">
              <a:rPr lang="de-DE" smtClean="0"/>
              <a:pPr/>
              <a:t>8</a:t>
            </a:fld>
            <a:endParaRPr lang="de-DE"/>
          </a:p>
        </p:txBody>
      </p:sp>
      <p:sp>
        <p:nvSpPr>
          <p:cNvPr id="16" name="Textfeld 15">
            <a:extLst>
              <a:ext uri="{FF2B5EF4-FFF2-40B4-BE49-F238E27FC236}">
                <a16:creationId xmlns:a16="http://schemas.microsoft.com/office/drawing/2014/main" id="{23AA6DBB-BA5F-924C-F16A-B4FECEB48CED}"/>
              </a:ext>
            </a:extLst>
          </p:cNvPr>
          <p:cNvSpPr txBox="1"/>
          <p:nvPr/>
        </p:nvSpPr>
        <p:spPr>
          <a:xfrm>
            <a:off x="2674938" y="3429000"/>
            <a:ext cx="6288192" cy="273639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00000"/>
              </a:lnSpc>
            </a:pPr>
            <a:r>
              <a:rPr lang="de-DE" sz="2200">
                <a:solidFill>
                  <a:schemeClr val="tx2">
                    <a:lumMod val="60000"/>
                    <a:lumOff val="40000"/>
                  </a:schemeClr>
                </a:solidFill>
                <a:latin typeface="+mj-lt"/>
                <a:ea typeface="Calibri"/>
                <a:cs typeface="Calibri"/>
              </a:rPr>
              <a:t>msg beweist Unternehmergeist und Mut.</a:t>
            </a:r>
          </a:p>
          <a:p>
            <a:pPr>
              <a:lnSpc>
                <a:spcPct val="100000"/>
              </a:lnSpc>
            </a:pPr>
            <a:endParaRPr lang="de-DE" sz="2200">
              <a:solidFill>
                <a:schemeClr val="tx2">
                  <a:lumMod val="60000"/>
                  <a:lumOff val="40000"/>
                </a:schemeClr>
              </a:solidFill>
              <a:latin typeface="+mj-lt"/>
              <a:ea typeface="Calibri"/>
              <a:cs typeface="Calibri"/>
            </a:endParaRPr>
          </a:p>
          <a:p>
            <a:pPr>
              <a:lnSpc>
                <a:spcPct val="100000"/>
              </a:lnSpc>
            </a:pPr>
            <a:r>
              <a:rPr lang="de-DE" sz="2200">
                <a:solidFill>
                  <a:schemeClr val="tx2">
                    <a:lumMod val="60000"/>
                    <a:lumOff val="40000"/>
                  </a:schemeClr>
                </a:solidFill>
                <a:latin typeface="+mj-lt"/>
                <a:ea typeface="Calibri"/>
                <a:cs typeface="Calibri"/>
              </a:rPr>
              <a:t>Gemeinsam mit unseren Geschäftspartnern gehen wir stets zukunftsorientiert neue Wege.</a:t>
            </a:r>
            <a:endParaRPr lang="en-US" sz="2200">
              <a:solidFill>
                <a:schemeClr val="tx2">
                  <a:lumMod val="60000"/>
                  <a:lumOff val="40000"/>
                </a:schemeClr>
              </a:solidFill>
              <a:latin typeface="+mj-lt"/>
              <a:ea typeface="Calibri"/>
              <a:cs typeface="Calibri"/>
            </a:endParaRPr>
          </a:p>
        </p:txBody>
      </p:sp>
      <p:pic>
        <p:nvPicPr>
          <p:cNvPr id="17" name="Grafik 16">
            <a:extLst>
              <a:ext uri="{FF2B5EF4-FFF2-40B4-BE49-F238E27FC236}">
                <a16:creationId xmlns:a16="http://schemas.microsoft.com/office/drawing/2014/main" id="{940D2EFB-53BD-8455-A8C6-BF267373D8D0}"/>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r="-19115"/>
          <a:stretch/>
        </p:blipFill>
        <p:spPr>
          <a:xfrm>
            <a:off x="623888" y="2036480"/>
            <a:ext cx="6040799" cy="1210488"/>
          </a:xfrm>
          <a:prstGeom prst="rect">
            <a:avLst/>
          </a:prstGeom>
        </p:spPr>
      </p:pic>
    </p:spTree>
    <p:extLst>
      <p:ext uri="{BB962C8B-B14F-4D97-AF65-F5344CB8AC3E}">
        <p14:creationId xmlns:p14="http://schemas.microsoft.com/office/powerpoint/2010/main" val="3036106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250" fill="hold"/>
                                        <p:tgtEl>
                                          <p:spTgt spid="16"/>
                                        </p:tgtEl>
                                        <p:attrNameLst>
                                          <p:attrName>ppt_x</p:attrName>
                                        </p:attrNameLst>
                                      </p:cBhvr>
                                      <p:tavLst>
                                        <p:tav tm="0">
                                          <p:val>
                                            <p:strVal val="0-#ppt_w/2"/>
                                          </p:val>
                                        </p:tav>
                                        <p:tav tm="100000">
                                          <p:val>
                                            <p:strVal val="#ppt_x"/>
                                          </p:val>
                                        </p:tav>
                                      </p:tavLst>
                                    </p:anim>
                                    <p:anim calcmode="lin" valueType="num">
                                      <p:cBhvr additive="base">
                                        <p:cTn id="8" dur="25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5B80022-C1AB-3D1D-A85D-37E624A5587F}"/>
              </a:ext>
            </a:extLst>
          </p:cNvPr>
          <p:cNvSpPr>
            <a:spLocks noGrp="1"/>
          </p:cNvSpPr>
          <p:nvPr>
            <p:ph type="body" sz="quarter" idx="12"/>
          </p:nvPr>
        </p:nvSpPr>
        <p:spPr/>
        <p:txBody>
          <a:bodyPr/>
          <a:lstStyle/>
          <a:p>
            <a:r>
              <a:rPr lang="de-DE"/>
              <a:t>Die msg-Gruppe im Überblick</a:t>
            </a:r>
            <a:endParaRPr lang="en-US"/>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p:txBody>
          <a:bodyPr vert="horz"/>
          <a:lstStyle/>
          <a:p>
            <a:r>
              <a:rPr lang="de-DE" dirty="0"/>
              <a:t>Warum </a:t>
            </a:r>
            <a:r>
              <a:rPr lang="de-DE" dirty="0" err="1"/>
              <a:t>msg</a:t>
            </a:r>
            <a:r>
              <a:rPr lang="de-DE" dirty="0"/>
              <a:t> der </a:t>
            </a:r>
            <a:r>
              <a:rPr lang="de-DE" b="1" dirty="0"/>
              <a:t>richtige Partner</a:t>
            </a:r>
            <a:r>
              <a:rPr lang="de-DE" dirty="0"/>
              <a:t> ist</a:t>
            </a:r>
          </a:p>
        </p:txBody>
      </p:sp>
      <p:sp>
        <p:nvSpPr>
          <p:cNvPr id="4" name="Fußzeilenplatzhalter 1">
            <a:extLst>
              <a:ext uri="{FF2B5EF4-FFF2-40B4-BE49-F238E27FC236}">
                <a16:creationId xmlns:a16="http://schemas.microsoft.com/office/drawing/2014/main" id="{76843A2C-C355-0C00-DFBD-6B8382FE0F55}"/>
              </a:ext>
            </a:extLst>
          </p:cNvPr>
          <p:cNvSpPr>
            <a:spLocks noGrp="1"/>
          </p:cNvSpPr>
          <p:nvPr>
            <p:ph type="ftr" sz="quarter" idx="10"/>
          </p:nvPr>
        </p:nvSpPr>
        <p:spPr/>
        <p:txBody>
          <a:bodyPr/>
          <a:lstStyle/>
          <a:p>
            <a:r>
              <a:rPr lang="de-DE"/>
              <a:t>© msg systems ag | 2026 | msg-Unternehmenspräsentation</a:t>
            </a:r>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p:txBody>
          <a:bodyPr/>
          <a:lstStyle/>
          <a:p>
            <a:fld id="{B27B0579-4238-4E44-9A9E-134B676F827C}" type="slidenum">
              <a:rPr lang="de-DE" smtClean="0"/>
              <a:pPr/>
              <a:t>9</a:t>
            </a:fld>
            <a:endParaRPr lang="de-DE"/>
          </a:p>
        </p:txBody>
      </p:sp>
      <p:sp>
        <p:nvSpPr>
          <p:cNvPr id="5" name="Textfeld 4">
            <a:extLst>
              <a:ext uri="{FF2B5EF4-FFF2-40B4-BE49-F238E27FC236}">
                <a16:creationId xmlns:a16="http://schemas.microsoft.com/office/drawing/2014/main" id="{2B5E28CE-4733-CC3E-0FDD-256FB27EED1B}"/>
              </a:ext>
            </a:extLst>
          </p:cNvPr>
          <p:cNvSpPr txBox="1"/>
          <p:nvPr/>
        </p:nvSpPr>
        <p:spPr>
          <a:xfrm>
            <a:off x="2674938" y="3429000"/>
            <a:ext cx="8569325" cy="273639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de-DE"/>
            </a:defPPr>
            <a:lvl1pPr>
              <a:lnSpc>
                <a:spcPct val="100000"/>
              </a:lnSpc>
              <a:defRPr sz="2200">
                <a:solidFill>
                  <a:schemeClr val="bg2"/>
                </a:solidFill>
                <a:effectLst/>
                <a:latin typeface="Aptos Light" panose="020B0004020202020204" pitchFamily="34" charset="0"/>
                <a:ea typeface="Calibri"/>
                <a:cs typeface="Calibri"/>
              </a:defRPr>
            </a:lvl1pPr>
          </a:lstStyle>
          <a:p>
            <a:r>
              <a:rPr lang="de-DE">
                <a:solidFill>
                  <a:schemeClr val="tx2">
                    <a:lumMod val="60000"/>
                    <a:lumOff val="40000"/>
                  </a:schemeClr>
                </a:solidFill>
                <a:latin typeface="+mj-lt"/>
              </a:rPr>
              <a:t>Unsere Geschäftspartner können sich sicher sein, dass msg „liefert“. </a:t>
            </a:r>
          </a:p>
          <a:p>
            <a:endParaRPr lang="de-DE">
              <a:solidFill>
                <a:schemeClr val="tx2">
                  <a:lumMod val="60000"/>
                  <a:lumOff val="40000"/>
                </a:schemeClr>
              </a:solidFill>
              <a:latin typeface="+mj-lt"/>
            </a:endParaRPr>
          </a:p>
          <a:p>
            <a:r>
              <a:rPr lang="de-DE">
                <a:solidFill>
                  <a:schemeClr val="tx2">
                    <a:lumMod val="60000"/>
                    <a:lumOff val="40000"/>
                  </a:schemeClr>
                </a:solidFill>
                <a:latin typeface="+mj-lt"/>
              </a:rPr>
              <a:t>Dem Unternehmertum verpflichtet, ist die Marke msg nicht quartalsgetrieben, sondern langfristig und nachhaltig orientiert.</a:t>
            </a:r>
            <a:r>
              <a:rPr lang="en-US">
                <a:solidFill>
                  <a:schemeClr val="tx2">
                    <a:lumMod val="60000"/>
                    <a:lumOff val="40000"/>
                  </a:schemeClr>
                </a:solidFill>
                <a:latin typeface="+mj-lt"/>
              </a:rPr>
              <a:t> </a:t>
            </a:r>
          </a:p>
          <a:p>
            <a:endParaRPr lang="en-US">
              <a:solidFill>
                <a:schemeClr val="tx2">
                  <a:lumMod val="60000"/>
                  <a:lumOff val="40000"/>
                </a:schemeClr>
              </a:solidFill>
              <a:latin typeface="+mj-lt"/>
            </a:endParaRPr>
          </a:p>
        </p:txBody>
      </p:sp>
      <p:pic>
        <p:nvPicPr>
          <p:cNvPr id="7" name="Grafik 6">
            <a:extLst>
              <a:ext uri="{FF2B5EF4-FFF2-40B4-BE49-F238E27FC236}">
                <a16:creationId xmlns:a16="http://schemas.microsoft.com/office/drawing/2014/main" id="{5C2850DB-DBC0-BC4F-7D3C-BC629355D0B8}"/>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623888" y="2036480"/>
            <a:ext cx="6040799" cy="1210488"/>
          </a:xfrm>
          <a:prstGeom prst="rect">
            <a:avLst/>
          </a:prstGeom>
        </p:spPr>
      </p:pic>
    </p:spTree>
    <p:extLst>
      <p:ext uri="{BB962C8B-B14F-4D97-AF65-F5344CB8AC3E}">
        <p14:creationId xmlns:p14="http://schemas.microsoft.com/office/powerpoint/2010/main" val="820354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250" fill="hold"/>
                                        <p:tgtEl>
                                          <p:spTgt spid="5"/>
                                        </p:tgtEl>
                                        <p:attrNameLst>
                                          <p:attrName>ppt_x</p:attrName>
                                        </p:attrNameLst>
                                      </p:cBhvr>
                                      <p:tavLst>
                                        <p:tav tm="0">
                                          <p:val>
                                            <p:strVal val="0-#ppt_w/2"/>
                                          </p:val>
                                        </p:tav>
                                        <p:tav tm="100000">
                                          <p:val>
                                            <p:strVal val="#ppt_x"/>
                                          </p:val>
                                        </p:tav>
                                      </p:tavLst>
                                    </p:anim>
                                    <p:anim calcmode="lin" valueType="num">
                                      <p:cBhvr additive="base">
                                        <p:cTn id="8" dur="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2gsAAAAAAAAAAAAAIAD///////////////8AAAD///////////////8DAAAAAgD///////8DAAAAAwD///////8DAAAAAwD///////8DAAAAAwD///////////////////////////////////////////////////////////////////////////////////////////////////////////////////////////////////////////////////////////////////////////////////////////////////////////////////////////////////////////////////////////////////////////////////////////////////////////////////////////////////////////////////////////////////////////////////////////////////////////////////////////////////////////////////////////////8BACAA////////////////AAAO////////AwAAAAQA////////////////////////////////////////////////////////////////////////////////////////////////////////////////////////////////////////////////////////////////////////////////////////////////////////////////////////////////////////////////////////////////////////////////////////////////////////////////////////////////////////////////////////////////////////////////////////////////////////////////////////////////////////////////////////////////////////////////////////////////////////////////////////AgABAP///////wUAAAACABAAC1LcbW+xHPtLqikz3wb+oI4EAAAAAAADAAAAAAADAAAAAwADAAQA////////BQAAAAMAEAALjjmL55QpA0K3PZ/5W++sCQQAAAABAAMAAAACAAMAAAAEAAMAAAAAAAMAAAAEAAMAAAAAAAMAAAAEAAMAAAAAAP///////wQAAwD///////8FAAAABAAQAAt5wE/wHOxqR4/98r2XXHL/BAAAAAIAAwAAAAMAAwAAAAE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Utxtb7Ec+0uqKTPfBv6gjgNEYXRhABsAAAAETGlua2VkU2hhcGVEYXRhAAUAAAAAAAJOYW1lABkAAABMaW5rZWRTaGFwZXNEYXRhUHJvcGVydHkAEFZlcnNpb24AAQAAAAlMYXN0V3JpdGUAkAD3K5YBAAAAAQD/////xgDGAAAABV9pZAAQAAAABI45i+eUKQNCtz2f+VvvrAkDRGF0YQBTAAAACFByZXNlbnRhdGlvblNjYW5uZWRGb3JMaW5rZWRTaGFwZXMAAAJOdW1iZXJGb3JtYXRTZXBhcmF0b3JNb2RlAAoAAABBdXRvbWF0aWMAAAJOYW1lACQAAABMaW5rZWRTaGFwZVByZXNlbnRhdGlvblNldHRpbmdzRGF0YQAQVmVyc2lvbgAAAAAACUxhc3RXcml0ZQCSAPcrlgEAAAACAP////+DAIMAAAAFX2lkABAAAAAEecBP8BzsakeP/fK9l1xy/wNEYXRhABsAAAAETGlua2VkU2hhcGVEYXRhAAUAAAAAAAJOYW1lABkAAABMaW5rZWRTaGFwZXNEYXRhUHJvcGVydHkAEFZlcnNpb24AAAAAAAlMYXN0V3JpdGUAGgD3K5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xCwAAAAAAAAAAAAAgAf///////////////wAAAP///////////////wUAAAADAP///////wUAAAADAP///////wUAAAADAP///////wUAAAADAP///////////////////////////////////////////////////////////////////////////////////////////////////////////////////////////////////////////////////////////////////////////////////////////////////////////////////////////////////////////////////////////////////////////////////////////////////////////////////////////////////////////////////////////////////////////////////////////////////////////////////////////////////////////////////////////////wEAIAH///////////////8AAA7///////8FAAAAAgD///////////////////////////////////////////////////////////////////////////////////////////////////////////////////////////////////////////////////////////////////////////////////////////////////////////////////////////////////////////////////////////////////////////////////////////////////////////////////////////////////////////////////////////////////////////////////////////////////////////////////////////////////////////////////////////////////////////////////////////////////////////////////////8CAAEBAwAAAAIA////////GgAGTGlua2VkU2hhcGVzRGF0YVByb3BlcnR5XzEEAAAAAAAFAAAABAAFAAAAAQADAAQBAwAAAAMA////////JQAGTGlua2VkU2hhcGVQcmVzZW50YXRpb25TZXR0aW5nc0RhdGFfMAQAAAABAAUAAAAAAAUAAAAEAAUAAAAAAAUAAAAEAAUAAAAAAAUAAAAEAAUAAAAAAP///////wQAAwEDAAAABAD///////8aAAZMaW5rZWRTaGFwZXNEYXRhUHJvcGVydHlfMAQAAAACAAUAAAADAAUAAAACAAUAAAADAP///////wUAAAAD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800911300709955"/>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AwD///////////////////////////////////////////////////////////////////////////////////////////////////////////////////////////////////////////////////////////////////////////////////////////////////////////////////////////////////////////////////////////////////////////////////////////////////////////////////////////////////////////////////////////////////////////////////////////////////////////////////////////////////////////////////////////////////////////////////////////////8BACAA////////////////AAAO////////AwAAAAMA////////////////////////////////////////////////////////////////////////////////////////////////////////////////////////////////////////////////////////////////////////////////////////////////////////////////////////////////////////////////////////////////////////////////////////////////////////////////////////////////////////////////////////////////////////////////////////////////////////////////////////////////////////////////////////////////////////////////////////////////////////////////////////AgABAP///////wUAAAACABAAC5MuCkXvJelKsXcVgapifAIEAAAAAAADAAAAAAADAAAABAADAAIA////////BQAAAAMAEAALcFov42mDuEqjR4SwfpEwFwQAAAABAAMAAAAEAAMAAAABAAMAAAAAAP///////wQAAQD///////8FAAAABAAQAAu4WmNZiu5wQbygOVgybbYH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y4KRe8l6UqxdxWBqmJ8AgREYXRhAAUAAAAAAk5hbWUADQAAAExpbmtEYXRhTGlzdAAQVmVyc2lvbgAAAAAACUxhc3RXcml0ZQAIPfkrlgEAAAABAP////9hAGEAAAAFX2lkABAAAAAEcFov42mDuEqjR4SwfpEwFwREYXRhAAUAAAAAAk5hbWUADQAAAExpbmtEYXRhTGlzdAAQVmVyc2lvbgABAAAACUxhc3RXcml0ZQAqPfkrlgEAAAACAP////9wAHAAAAAFX2lkABAAAAAEuFpjWYrucEG8oDlYMm22BwNEYXRhABYAAAACUGVyc29uYWxJZAABAAAAAAACTmFtZQALAAAAUGVyc29uYWxJZAAQVmVyc2lvbgAAAAAACUxhc3RXcml0ZQCKQv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EAP///////////////////////////////////////////////////////////////////////////////////////////////////////////////////////////////////////////////////////////////////////////////////////////////////////////////////////////////////////////////////////////////////////////////////////////////////////////////////////////////////////////////////////////////////////////////////////////////////////////////////////////////////////////////////////////////////////////////wEAIAH///////////////8AAA7///////8FAAAABAD///////////////////////////////////////////////////////////////////////////////////////////////////////////////////////////////////////////////////////////////////////////////////////////////////////////////////////////////////////////////////////////////////////////////////////////////////////////////////////////////////////////////////////////////////////////////////////////////////////////////////////////////////////////////////////////////////////////////////////////////////////////////////////8CAAEBAwAAAAIA////////DgAGTGlua0RhdGFMaXN0XzAEAAAAAAAFAAAAAAAFAAAAAwADAAIBAwAAAAMA////////DgAGTGlua0RhdGFMaXN0XzEEAAAAAQAFAAAAAgAFAAAABAAFAAAAAAAFAAAABAAEAAMBAwAAAAQA////////DAAGUGVyc29uYWxJZF8wBAAAAAIABQAAAAM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80400770"/>
  <p:tag name="EMPOWERCHARTSPROPERTIES_B_LENGTH" val="24576"/>
  <p:tag name="DOWN_MIGRATION_INITIAL_LAYOUT_REQUIRED" val="9.2.99"/>
  <p:tag name="RUNTIME_ID" val="e80eff43-1355-48e2-9918-2fac01ff3050"/>
</p:tagLst>
</file>

<file path=ppt/tags/tag10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CgwAAAAAAAAAAAAAIAD///////////////8AAAD///////////////8DAAAAAgD///////8DAAAAAwD///////////////////////////////////////////////////////////////////////////////////////////////////////////////////////////////////////////////////////////////////////////////////////////////////////////////////////////////////////////////////////////////////////////////////////////////////////////////////////////////////////////////////////////////////////////////////////////////////////////////////////////////////////////////////////////////////////////////////////////////8BACAA////////////////AAAO////////AwAAAAQA////////////////////////////////////////////////////////////////////////////////////////////////////////////////////////////////////////////////////////////////////////////////////////////////////////////////////////////////////////////////////////////////////////////////////////////////////////////////////////////////////////////////////////////////////////////////////////////////////////////////////////////////////////////////////////////////////////////////////////////////////////////////////////AgABAP///////wUAAAACABAAC4rqwg6HuoBBsC8Ra5ElkPwEAAAAAAADAAAAAAADAAAAAwADAAIA////////BQAAAAMAEAALhB6GLxr2bk2M+K656eQWLgQAAAABAAMAAAACAAMAAAAEAAMAAAAAAP///////wQAAQD///////8FAAAABAAQAAuyXNadQGizRoRnzr+ZAVDh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urCDoe6gEGwLxFrkSWQ/AREYXRhAAUAAAAAAk5hbWUADQAAAExpbmtEYXRhTGlzdAAQVmVyc2lvbgAAAAAACUxhc3RXcml0ZQAAQ/krlgEAAAABAP////9hAGEAAAAFX2lkABAAAAAEhB6GLxr2bk2M+K656eQWLgREYXRhAAUAAAAAAk5hbWUADQAAAExpbmtEYXRhTGlzdAAQVmVyc2lvbgABAAAACUxhc3RXcml0ZQAHQ/krlgEAAAACAP////9wAHAAAAAFX2lkABAAAAAEslzWnUBos0aEZ86/mQFQ4QNEYXRhABYAAAACUGVyc29uYWxJZAABAAAAAAACTmFtZQALAAAAUGVyc29uYWxJZAAQVmVyc2lvbgAAAAAACUxhc3RXcml0ZQBNQ/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DAP///////wUAAAAEAP///////wUAAAAEAP///////////////////////////////////////////////////////////////////////////////////////////////////////////////////////////////////////////////////////////////////////////////////////////////////////////////////////////////////////////////////////////////////////////////////////////////////////////////////////////////////////////////////////////////////////////////////////////////////////////////////////////////////////////////////////////////wEAIAH///////////////8AAA7///////8FAAAABAD///////////////////////////////////////////////////////////////////////////////////////////////////////////////////////////////////////////////////////////////////////////////////////////////////////////////////////////////////////////////////////////////////////////////////////////////////////////////////////////////////////////////////////////////////////////////////////////////////////////////////////////////////////////////////////////////////////////////////////////////////////////////////////8CAAEBAwAAAAIA////////DgAGTGlua0RhdGFMaXN0XzAEAAAAAAAFAAAAAAAFAAAAAwADAAIBAwAAAAMA////////DgAGTGlua0RhdGFMaXN0XzEEAAAAAQAFAAAAAgAFAAAABAAFAAAAAAAFAAAABAAEAAQBAwAAAAQA////////DAAGUGVyc29uYWxJZF8wBAAAAAIABQAAAAMABQAAAAE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82124638"/>
  <p:tag name="EMPOWERCHARTSPROPERTIES_B_LENGTH" val="24576"/>
  <p:tag name="DOWN_MIGRATION_INITIAL_LAYOUT_REQUIRED" val="9.2.99"/>
  <p:tag name="RUNTIME_ID" val="79c62678-064e-4d04-bca6-cddc7aee71be"/>
</p:tagLst>
</file>

<file path=ppt/tags/tag10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tgsAAAAAAAAAAAAAIAD///////////////8AAAD///////////////8DAAAAAgD///////8DAAAAAgD///////8DAAAAAwD///////8DAAAABAD///////8DAAAABAD///////8DAAAABAD///////////////////////////////////////////////////////////////////////////////////////////////////////////////////////////////////////////////////////////////////////////////////////////////////////////////////////////////////////////////////////////////////////////////////////////////////////////////////////////////////////////////////////////////////////////////////////////////////////////////////////////////8BACAA////////////////AAAO////////AwAAAAQA////////////////////////////////////////////////////////////////////////////////////////////////////////////////////////////////////////////////////////////////////////////////////////////////////////////////////////////////////////////////////////////////////////////////////////////////////////////////////////////////////////////////////////////////////////////////////////////////////////////////////////////////////////////////////////////////////////////////////////////////////////////////////////AgACAP///////wUAAAACABAAC54cPj1rKyRGj+TRpbdPgqQEAAAAAAADAAAAAAADAAAAAwADAAAAAAADAAAAAwADAAMA////////BQAAAAMAEAALUc4WlsSIhEOCBWsX2Bh6VAQAAAABAAMAAAACAAMAAAAEAAMAAAACAAMAAAAEAAMAAAAAAAMAAAAEAAQABgD///////8FAAAABAAQAAuzhdKmzEhlRaBLZXdjICK0BAAAAAIAAwAAAAMAAwAAAAEAAwAAAAM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hw+PWsrJEaP5NGlt0+CpAREYXRhAAUAAAAAAk5hbWUADQAAAExpbmtEYXRhTGlzdAAQVmVyc2lvbgAAAAAACUxhc3RXcml0ZQCoQ/krlgEAAAABAP////9hAGEAAAAFX2lkABAAAAAEUc4WlsSIhEOCBWsX2Bh6VAREYXRhAAUAAAAAAk5hbWUADQAAAExpbmtEYXRhTGlzdAAQVmVyc2lvbgABAAAACUxhc3RXcml0ZQCrQ/krlgEAAAACAP////9wAHAAAAAFX2lkABAAAAAEs4XSpsxIZUWgS2V3YyAitANEYXRhABYAAAACUGVyc29uYWxJZAABAAAAAAACTmFtZQALAAAAUGVyc29uYWxJZAAQVmVyc2lvbgAAAAAACUxhc3RXcml0ZQDgQ/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DAP///////////////////////////////////////////////////////////////////////////////////////////////////////////////////////////////////////////////////////////////////////////////////////////////////////////////////////////////////////////////////////////////////////////////////////////////////////////////////////////////////////////////////////////////////////////////////////////////////////////////////////////////////////////////////////////////////////////////wEAIAH///////////////8AAA7///////8FAAAABAD///////////////////////////////////////////////////////////////////////////////////////////////////////////////////////////////////////////////////////////////////////////////////////////////////////////////////////////////////////////////////////////////////////////////////////////////////////////////////////////////////////////////////////////////////////////////////////////////////////////////////////////////////////////////////////////////////////////////////////////////////////////////////////8CAAIBAwAAAAIA////////DgAGTGlua0RhdGFMaXN0XzAEAAAAAAAFAAAAAAAFAAAAAwAFAAAAAAAFAAAAAwADAAMBAwAAAAMA////////DgAGTGlua0RhdGFMaXN0XzEEAAAAAQAFAAAAAgAFAAAABAAFAAAAAgAFAAAABAA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83610597"/>
  <p:tag name="EMPOWERCHARTSPROPERTIES_B_LENGTH" val="24576"/>
  <p:tag name="DOWN_MIGRATION_INITIAL_LAYOUT_REQUIRED" val="9.2.99"/>
  <p:tag name="RUNTIME_ID" val="44c94896-d972-4b4c-9246-5e2eb55b445b"/>
</p:tagLst>
</file>

<file path=ppt/tags/tag10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9P0u45VVSVHv5Suh9253rkEAAAAAAADAAAABAADAAAAAwADAAAAAAD///////8DAAAAAAD///////8DAAEA////////BQAAAAMAEAALo2Zgk8SNcU6MO3/rgoL9jAQAAAABAAMAAAACAAMAAAABAAQAAQD///////8FAAAABAAQAAt/gL03vFjATIdolXkzHjZW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S7jlVVJUe/lK6H3bneuQREYXRhAAUAAAAAAk5hbWUADQAAAExpbmtEYXRhTGlzdAAQVmVyc2lvbgABAAAACUxhc3RXcml0ZQBQRPkrlgEAAAABAP////9hAGEAAAAFX2lkABAAAAAEo2Zgk8SNcU6MO3/rgoL9jAREYXRhAAUAAAAAAk5hbWUADQAAAExpbmtEYXRhTGlzdAAQVmVyc2lvbgAAAAAACUxhc3RXcml0ZQBMRPkrlgEAAAACAP////9wAHAAAAAFX2lkABAAAAAEf4C9N7xYwEyHaJV5Mx42VgNEYXRhABYAAAACUGVyc29uYWxJZAABAAAAAAACTmFtZQALAAAAUGVyc29uYWxJZAAQVmVyc2lvbgAAAAAACUxhc3RXcml0ZQCiRP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EAIAH///////////////8AAA7///////8FAAAABAD///////////////////////////////////////////////////////////////////////////////////////////////////////////////////////////////////////////////////////////////////////////////////////////////////////////////////////////////////////////////////////////////////////////////////////////////////////////////////////////////////////////////////////////////////////////////////////////////////////////////////////////////////////////////////////////////////////////////////////////////////////////////////////8CAAMBAwAAAAIA////////DgAGTGlua0RhdGFMaXN0XzEEAAAAAAAFAAAAAwAFAAAABAAFAAAAAAAFAAAABAAFAAAAAAD///////8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85738782"/>
  <p:tag name="EMPOWERCHARTSPROPERTIES_B_LENGTH" val="24576"/>
  <p:tag name="DOWN_MIGRATION_INITIAL_LAYOUT_REQUIRED" val="9.2.99"/>
  <p:tag name="RUNTIME_ID" val="83ffdd01-9790-43c4-b93d-725009b949ac"/>
</p:tagLst>
</file>

<file path=ppt/tags/tag10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gD///////////////////////////////////////////////////////////////////////////////////////////////////////////////////////////////////////////////////////////////////////////////////////////////////////////////////////////////////////////////////////////////////////////////////////////////////////////////////////////////////////////////////////////////////////////////////////////////////////////////////////////////////////////////////////////////////////////////8BACAA////////////////AAAO////////AwAAAAMA////////////////////////////////////////////////////////////////////////////////////////////////////////////////////////////////////////////////////////////////////////////////////////////////////////////////////////////////////////////////////////////////////////////////////////////////////////////////////////////////////////////////////////////////////////////////////////////////////////////////////////////////////////////////////////////////////////////////////////////////////////////////////////AgADAP///////wUAAAACABAAC1OkDFam3tBKvJLmdlneKd8EAAAAAAADAAAAAAADAAAABAADAAAAAAADAAAABAADAAAAAAD///////8DAAEA////////BQAAAAMAEAAL9u1r6iP6nkmSoPtIo1Z2dAQAAAABAAMAAAAEAAMAAAABAAQAAgD///////8FAAAABAAQAAvubsdZJIFIT70ZGmw38SHiBAAAAAIAAwAAAAI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6QMVqbe0Eq8kuZ2Wd4p3wREYXRhAAUAAAAAAk5hbWUADQAAAExpbmtEYXRhTGlzdAAQVmVyc2lvbgABAAAACUxhc3RXcml0ZQA8RfkrlgEAAAABAP////9hAGEAAAAFX2lkABAAAAAE9u1r6iP6nkmSoPtIo1Z2dAREYXRhAAUAAAAAAk5hbWUADQAAAExpbmtEYXRhTGlzdAAQVmVyc2lvbgAAAAAACUxhc3RXcml0ZQA3RfkrlgEAAAACAP////9wAHAAAAAFX2lkABAAAAAE7m7HWSSBSE+9GRpsN/Eh4gNEYXRhABYAAAACUGVyc29uYWxJZAABAAAAAAACTmFtZQALAAAAUGVyc29uYWxJZAAQVmVyc2lvbgAAAAAACUxhc3RXcml0ZQCLRf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EAIAH///////////////8AAA7///////8FAAAABAD///////////////////////////////////////////////////////////////////////////////////////////////////////////////////////////////////////////////////////////////////////////////////////////////////////////////////////////////////////////////////////////////////////////////////////////////////////////////////////////////////////////////////////////////////////////////////////////////////////////////////////////////////////////////////////////////////////////////////////////////////////////////////////8CAAMBAwAAAAIA////////DgAGTGlua0RhdGFMaXN0XzEEAAAAAAAFAAAAAwAFAAAABAAFAAAAAAAFAAAABAAFAAAAAAD///////8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87955456"/>
  <p:tag name="EMPOWERCHARTSPROPERTIES_B_LENGTH" val="24576"/>
  <p:tag name="DOWN_MIGRATION_INITIAL_LAYOUT_REQUIRED" val="9.2.99"/>
  <p:tag name="RUNTIME_ID" val="9003ef8f-594d-4450-9336-adb469af149e"/>
</p:tagLst>
</file>

<file path=ppt/tags/tag10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7ynJkMHhxtFozN611zoYRMEAAAAAAADAAAAAAADAAAABAADAAAAAAADAAAABAADAAMA////////BQAAAAMAEAALkk2f1/c4+0azoiVU+uglnwQAAAABAAMAAAAEAAMAAAABAAMAAAAEAP///////wMAAAAAAP///////wQAAgD///////8FAAAABAAQAAsD4HFIACo9Rra2+3CmllBh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KcmQweHG0WjM3rXXOhhEwREYXRhAAUAAAAAAk5hbWUADQAAAExpbmtEYXRhTGlzdAAQVmVyc2lvbgABAAAACUxhc3RXcml0ZQDzRfkrlgEAAAABAP////9hAGEAAAAFX2lkABAAAAAEkk2f1/c4+0azoiVU+uglnwREYXRhAAUAAAAAAk5hbWUADQAAAExpbmtEYXRhTGlzdAAQVmVyc2lvbgAAAAAACUxhc3RXcml0ZQDwRfkrlgEAAAACAP////9wAHAAAAAFX2lkABAAAAAEA+BxSAAqPUa2tvtwppZQYQNEYXRhABYAAAACUGVyc29uYWxJZAABAAAAAAACTmFtZQALAAAAUGVyc29uYWxJZAAQVmVyc2lvbgAAAAAACUxhc3RXcml0ZQAvRv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89478846"/>
  <p:tag name="EMPOWERCHARTSPROPERTIES_B_LENGTH" val="24576"/>
  <p:tag name="DOWN_MIGRATION_INITIAL_LAYOUT_REQUIRED" val="9.2.99"/>
  <p:tag name="RUNTIME_ID" val="15951cf3-977f-48d5-a2fe-fbb77aef8480"/>
</p:tagLst>
</file>

<file path=ppt/tags/tag10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MAAAAAAAAAAwAAAAMAAAAA/////wUAFgwAAAAAAAAAAAAAIAD///////////////8AAAD///////////////8DAAAAAgD///////////////////////////////////////////////////////////////////////////////////////////////////////////////////////////////////////////////////////////////////////////////////////////////////////////////////////////////////////////////////////////////////////////////////////////////////////////////////////////////////////////////////////////////////////////////////////////////////////////////////////////////////////////////////////////////////////////////////////////////////////////////8BACAA////////////////AAAO////////AwAAAAMA////////////////////////////////////////////////////////////////////////////////////////////////////////////////////////////////////////////////////////////////////////////////////////////////////////////////////////////////////////////////////////////////////////////////////////////////////////////////////////////////////////////////////////////////////////////////////////////////////////////////////////////////////////////////////////////////////////////////////////////////////////////////////////AgABAP///////wUAAAACABAAC924aAmFk65BmZutqIQA7ggEAAAAAAADAAAAAAADAAAABAADAAEA////////BQAAAAMAEAALe2cn1vVQ5kmTg71lwHoUAgQAAAABAAMAAAAEAAMAAAABAAQAAQD///////8FAAAABAAQAAu7a1Q/55lXT4+Knvgx/XIB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bhoCYWTrkGZm62ohADuCAREYXRhAAUAAAAAAk5hbWUADQAAAExpbmtEYXRhTGlzdAAQVmVyc2lvbgABAAAACUxhc3RXcml0ZQCVRvkrlgEAAAABAP////9hAGEAAAAFX2lkABAAAAAEe2cn1vVQ5kmTg71lwHoUAgREYXRhAAUAAAAAAk5hbWUADQAAAExpbmtEYXRhTGlzdAAQVmVyc2lvbgAAAAAACUxhc3RXcml0ZQCSRvkrlgEAAAACAP////9wAHAAAAAFX2lkABAAAAAEu2tUP+eZV0+Pip74Mf1yAQNEYXRhABYAAAACUGVyc29uYWxJZAABAAAAAAACTmFtZQALAAAAUGVyc29uYWxJZAAQVmVyc2lvbgAAAAAACUxhc3RXcml0ZQDPRv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EAP///////wUAAAAEAP///////wUAAAAEAP///////////////////////////////////////////////////////////////////////////////////////////////////////////////////////////////////////////////////////////////////////////////////////////////////////////////////////////////////////////////////////////////////////////////////////////////////////////////////////////////////////////////////////////////////////////////////////////////////////////////////////////////////////////////////////////////wEAIAH///////////////8AAA7///////8FAAAABAD///////////////////////////////////////////////////////////////////////////////////////////////////////////////////////////////////////////////////////////////////////////////////////////////////////////////////////////////////////////////////////////////////////////////////////////////////////////////////////////////////////////////////////////////////////////////////////////////////////////////////////////////////////////////////////////////////////////////////////////////////////////////////////8CAAEBAwAAAAIA////////DgAGTGlua0RhdGFMaXN0XzEEAAAAAAAFAAAAAwAFAAAABAADAAEBAwAAAAMA////////DgAGTGlua0RhdGFMaXN0XzAEAAAAAQAFAAAAAAAFAAAAAgAEAAQBAwAAAAQA////////DAAGUGVyc29uYWxJZF8wBAAAAAIABQAAAAIABQAAAAE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91064980"/>
  <p:tag name="EMPOWERCHARTSPROPERTIES_B_LENGTH" val="24576"/>
  <p:tag name="DOWN_MIGRATION_INITIAL_LAYOUT_REQUIRED" val="9.2.99"/>
  <p:tag name="RUNTIME_ID" val="1aa61d0a-70af-40b7-b590-ffcf46a6f106"/>
</p:tagLst>
</file>

<file path=ppt/tags/tag10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BAD///////////////////////////////////////////////////////////////////////////////////////////////////////////////////////////////////////////////////////////////////////////////////////////////////////////////////////////////////////////////////////////////////////////////////////////////////////////////////////////////////////////////////////////////////////////////////////////////////////////////////////////////////////////////////////////////////////////////////////////////8BACAA////////////////AAAO////////AwAAAAMA////////////////////////////////////////////////////////////////////////////////////////////////////////////////////////////////////////////////////////////////////////////////////////////////////////////////////////////////////////////////////////////////////////////////////////////////////////////////////////////////////////////////////////////////////////////////////////////////////////////////////////////////////////////////////////////////////////////////////////////////////////////////////////AgABAP///////wUAAAACABAACzS2nUEcXMZJh/nnXPt6/QAEAAAAAAADAAAABAADAAAAAwADAAEA////////BQAAAAMAEAALI5/G29mp5EK/1+1FzJJqeQQAAAABAAMAAAACAAMAAAABAAQAAgD///////8FAAAABAAQAAtQTIUpxRgTS5GiT6S2dNm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LadQRxcxkmH+edc+3r9AAREYXRhAAUAAAAAAk5hbWUADQAAAExpbmtEYXRhTGlzdAAQVmVyc2lvbgAAAAAACUxhc3RXcml0ZQCDv9aqlwEAAAABAP////9hAGEAAAAFX2lkABAAAAAEI5/G29mp5EK/1+1FzJJqeQREYXRhAAUAAAAAAk5hbWUADQAAAExpbmtEYXRhTGlzdAAQVmVyc2lvbgABAAAACUxhc3RXcml0ZQCGv9aqlwEAAAACAP////9wAHAAAAAFX2lkABAAAAAEUEyFKcUYE0uRok+ktnTZhQNEYXRhABYAAAACUGVyc29uYWxJZAABAAAAAAACTmFtZQALAAAAUGVyc29uYWxJZAAQVmVyc2lvbgAAAAAACUxhc3RXcml0ZQDTv9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DAP///////////////////////////////////////////////////////////////////////////////////////////////////////////////////////////////////////////////////////////////////////////////////////////////////////////////////////////////////////////////////////////////////////////////////////////////////////////////////////////////////////////////////////////////////////////////////////////////////////////////////////////////////////////////////////////////////////////////wEAIAH///////////////8AAA7///////8FAAAABAD///////////////////////////////////////////////////////////////////////////////////////////////////////////////////////////////////////////////////////////////////////////////////////////////////////////////////////////////////////////////////////////////////////////////////////////////////////////////////////////////////////////////////////////////////////////////////////////////////////////////////////////////////////////////////////////////////////////////////////////////////////////////////////8CAAIBAwAAAAIA////////DgAGTGlua0RhdGFMaXN0XzAEAAAAAAAFAAAAAAAFAAAAAwAFAAAAAAAFAAAAAwADAAMBAwAAAAMA////////DgAGTGlua0RhdGFMaXN0XzEEAAAAAQAFAAAAAgAFAAAABAAFAAAAAgAFAAAABAA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02066021"/>
  <p:tag name="EMPOWERCHARTSPROPERTIES_B_LENGTH" val="24576"/>
  <p:tag name="DOWN_MIGRATION_INITIAL_LAYOUT_REQUIRED" val="9.2.99"/>
  <p:tag name="RUNTIME_ID" val="c3160110-29d5-4c2e-bd7d-ff8583b4b20c"/>
</p:tagLst>
</file>

<file path=ppt/tags/tag10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AgD///////8DAAAAAgD///////////////////////////////////////////////////////////////////////////////////////////////////////////////////////////////////////////////////////////////////////////////////////////////////////////////////////////////////////////////////////////////////////////////////////////////////////////////////////////////////////////////////////////////////////////////////////////////////////////////////////////////////////////////////////////////////////////////////////////////8BACAA////////////////AAAO////////AwAAAAQA////////////////////////////////////////////////////////////////////////////////////////////////////////////////////////////////////////////////////////////////////////////////////////////////////////////////////////////////////////////////////////////////////////////////////////////////////////////////////////////////////////////////////////////////////////////////////////////////////////////////////////////////////////////////////////////////////////////////////////////////////////////////////////AgACAP///////wUAAAACABAAC6DHGAwln3FIr8Bkawq2qy0EAAAAAAADAAAAAAADAAAAAwADAAAAAAADAAAAAwADAAIA////////BQAAAAMAEAALi5iQwoW9U0647EMNlm9DBAQAAAABAAMAAAACAAMAAAAEAAMAAAACAAMAAAAEAAQAAgD///////8FAAAABAAQAAu3zF7E9HBVT6HncCxNgYS0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McYDCWfcUivwGRrCrarLQREYXRhAAUAAAAAAk5hbWUADQAAAExpbmtEYXRhTGlzdAAQVmVyc2lvbgAAAAAACUxhc3RXcml0ZQD2m+IClwEAAAABAP////9hAGEAAAAFX2lkABAAAAAEi5iQwoW9U0647EMNlm9DBAREYXRhAAUAAAAAAk5hbWUADQAAAExpbmtEYXRhTGlzdAAQVmVyc2lvbgABAAAACUxhc3RXcml0ZQAWnOIClwEAAAACAP////9wAHAAAAAFX2lkABAAAAAEt8xexPRwVU+h53AsTYGEtANEYXRhABYAAAACUGVyc29uYWxJZAABAAAAAAACTmFtZQALAAAAUGVyc29uYWxJZAAQVmVyc2lvbgAAAAAACUxhc3RXcml0ZQB1nOIC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36968951252313"/>
  <p:tag name="EMPOWERCHARTSPROPERTIES_B_LENGTH" val="24576"/>
  <p:tag name="DOWN_MIGRATION_INITIAL_LAYOUT_REQUIRED" val="9.2.99"/>
  <p:tag name="RUNTIME_ID" val="1cae8ae8-0c1b-4497-9662-6000ab7cc06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wD///////////////////////////////////////////////////////////////////////////////////////////////////////////////////////////////////////////////////////////////////////////////////////////////////////////////////////////////////////////////////////////////////////////////////////////////////////////////////////////////////////////////////////////////////////////////////////////////////////////////////////////////////////////////////////////////////////////////8BACAA////////////////AAAO////////AwAAAAQA////////////////////////////////////////////////////////////////////////////////////////////////////////////////////////////////////////////////////////////////////////////////////////////////////////////////////////////////////////////////////////////////////////////////////////////////////////////////////////////////////////////////////////////////////////////////////////////////////////////////////////////////////////////////////////////////////////////////////////////////////////////////////////AgACAP///////wUAAAACABAAC+Phij+QGelMr1Zhu5CMxDUEAAAAAAADAAAAAAADAAAAAwADAAAAAAADAAAAAwADAAMA////////BQAAAAMAEAALj0ZuSBz7F0inVX7xWRViygQAAAABAAMAAAACAAMAAAAEAAMAAAACAP///////wMAAAAAAP///////wQAAQD///////8FAAAABAAQAAujFsGTqwQNQKjV/IhzebjN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4+GKP5AZ6UyvVmG7kIzENQREYXRhAAUAAAAAAk5hbWUADQAAAExpbmtEYXRhTGlzdAAQVmVyc2lvbgABAAAACUxhc3RXcml0ZQA5tN7ulwEAAAABAP////9hAGEAAAAFX2lkABAAAAAEj0ZuSBz7F0inVX7xWRViygREYXRhAAUAAAAAAk5hbWUADQAAAExpbmtEYXRhTGlzdAAQVmVyc2lvbgAAAAAACUxhc3RXcml0ZQAftN7ulwEAAAACAP////9wAHAAAAAFX2lkABAAAAAEoxbBk6sEDUCo1fyIc3m4zQNEYXRhABYAAAACUGVyc29uYWxJZAABAAAAAAACTmFtZQALAAAAUGVyc29uYWxJZAAQVmVyc2lvbgAAAAAACUxhc3RXcml0ZQCEtN7u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76560621124529"/>
  <p:tag name="EMPOWERCHARTSPROPERTIES_B_LENGTH" val="24576"/>
  <p:tag name="DOWN_MIGRATION_INITIAL_LAYOUT_REQUIRED" val="9.2.99"/>
  <p:tag name="RUNTIME_ID" val="16013586-2cf9-43f6-a4c7-2f4129d341fd"/>
</p:tagLst>
</file>

<file path=ppt/tags/tag1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MA////////////////////////////////////////////////////////////////////////////////////////////////////////////////////////////////////////////////////////////////////////////////////////////////////////////////////////////////////////////////////////////////////////////////////////////////////////////////////////////////////////////////////////////////////////////////////////////////////////////////////////////////////////////////////////////////////////////////////////////////////////////////////////AgABAP///////wUAAAACABAAC+9lcQtJPNJImqP7pRIZlrQEAAAAAAADAAAAAAADAAAABAADAAEA////////BQAAAAMAEAALFFCHiVnapkypX6gVMNGpXAQAAAABAAMAAAAEAAMAAAABAAQAAQD///////8FAAAABAAQAAtVx7NUVy4NSL/e1eIvqXK0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72VxC0k80kiao/ulEhmWtAREYXRhAAUAAAAAAk5hbWUADQAAAExpbmtEYXRhTGlzdAAQVmVyc2lvbgABAAAACUxhc3RXcml0ZQDCtN7ulwEAAAABAP////9hAGEAAAAFX2lkABAAAAAEFFCHiVnapkypX6gVMNGpXAREYXRhAAUAAAAAAk5hbWUADQAAAExpbmtEYXRhTGlzdAAQVmVyc2lvbgAAAAAACUxhc3RXcml0ZQC6tN7ulwEAAAACAP////9wAHAAAAAFX2lkABAAAAAEVcezVFcuDUi/3tXiL6lytANEYXRhABYAAAACUGVyc29uYWxJZAABAAAAAAACTmFtZQALAAAAUGVyc29uYWxJZAAQVmVyc2lvbgAAAAAACUxhc3RXcml0ZQDTtN7u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76560621796824"/>
  <p:tag name="EMPOWERCHARTSPROPERTIES_B_LENGTH" val="24576"/>
  <p:tag name="DOWN_MIGRATION_INITIAL_LAYOUT_REQUIRED" val="9.2.99"/>
  <p:tag name="RUNTIME_ID" val="02116a51-c96f-43d8-8968-ceb8f1b96a3e"/>
</p:tagLst>
</file>

<file path=ppt/tags/tag1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QA////////////////////////////////////////////////////////////////////////////////////////////////////////////////////////////////////////////////////////////////////////////////////////////////////////////////////////////////////////////////////////////////////////////////////////////////////////////////////////////////////////////////////////////////////////////////////////////////////////////////////////////////////////////////////////////////////////////////////////////////////////////////////////AgAEAP///////wUAAAACABAAC3A2MFl9vCVAiME4GAyTQGkEAAAAAAADAAAAAAADAAAAAwADAAAAAAD///////8DAAAAAAD///////8DAAAAAAD///////8DAAEA////////BQAAAAMAEAALefFqWyTQtUGpdBTNewIYSQQAAAABAAMAAAACAAMAAAAEAAQAAQD///////8FAAAABAAQAAvW0KB5yRMoSpZOMkaI6Qi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DYwWX28JUCIwTgYDJNAaQREYXRhAAUAAAAAAk5hbWUADQAAAExpbmtEYXRhTGlzdAAQVmVyc2lvbgAAAAAACUxhc3RXcml0ZQARzf7rlgEAAAABAP////9hAGEAAAAFX2lkABAAAAAEefFqWyTQtUGpdBTNewIYSQREYXRhAAUAAAAAAk5hbWUADQAAAExpbmtEYXRhTGlzdAAQVmVyc2lvbgABAAAACUxhc3RXcml0ZQAVzf7rlgEAAAACAP////9wAHAAAAAFX2lkABAAAAAE1tCgeckTKEqWTjJGiOkIsgNEYXRhABYAAAACUGVyc29uYWxJZAABAAAAAAACTmFtZQALAAAAUGVyc29uYWxJZAAQVmVyc2lvbgAAAAAACUxhc3RXcml0ZQB4zf7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33128667152095"/>
  <p:tag name="EMPOWERCHARTSPROPERTIES_B_LENGTH" val="24576"/>
  <p:tag name="DOWN_MIGRATION_INITIAL_LAYOUT_REQUIRED" val="9.2.99"/>
  <p:tag name="RUNTIME_ID" val="cdf7ce76-e39e-48f3-b199-f258b0517266"/>
</p:tagLst>
</file>

<file path=ppt/tags/tag1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QA////////////////////////////////////////////////////////////////////////////////////////////////////////////////////////////////////////////////////////////////////////////////////////////////////////////////////////////////////////////////////////////////////////////////////////////////////////////////////////////////////////////////////////////////////////////////////////////////////////////////////////////////////////////////////////////////////////////////////////////////////////////////////////AgAEAP///////wUAAAACABAAC3A2MFl9vCVAiME4GAyTQGkEAAAAAAADAAAAAAADAAAAAwADAAAAAAD///////8DAAAAAAD///////8DAAAAAAD///////8DAAEA////////BQAAAAMAEAALefFqWyTQtUGpdBTNewIYSQQAAAABAAMAAAACAAMAAAAEAAQAAQD///////8FAAAABAAQAAvW0KB5yRMoSpZOMkaI6Qi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DYwWX28JUCIwTgYDJNAaQREYXRhAAUAAAAAAk5hbWUADQAAAExpbmtEYXRhTGlzdAAQVmVyc2lvbgAAAAAACUxhc3RXcml0ZQARzf7rlgEAAAABAP////9hAGEAAAAFX2lkABAAAAAEefFqWyTQtUGpdBTNewIYSQREYXRhAAUAAAAAAk5hbWUADQAAAExpbmtEYXRhTGlzdAAQVmVyc2lvbgABAAAACUxhc3RXcml0ZQAVzf7rlgEAAAACAP////9wAHAAAAAFX2lkABAAAAAE1tCgeckTKEqWTjJGiOkIsgNEYXRhABYAAAACUGVyc29uYWxJZAABAAAAAAACTmFtZQALAAAAUGVyc29uYWxJZAAQVmVyc2lvbgAAAAAACUxhc3RXcml0ZQB4zf7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33128667152095"/>
  <p:tag name="EMPOWERCHARTSPROPERTIES_B_LENGTH" val="24576"/>
  <p:tag name="DOWN_MIGRATION_INITIAL_LAYOUT_REQUIRED" val="9.2.99"/>
  <p:tag name="RUNTIME_ID" val="f6e61709-196f-4b26-aea7-f9e436918fc0"/>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7aTM2g60JBDsWkqIbtwRvkEAAAAAAADAAAAAAADAAAAAwADAAIA////////BQAAAAMAEAALYf9/mvaIzU6IExRLxVqpNQQAAAABAAMAAAACAAMAAAAEAAMAAAAAAP///////wQAAQD///////8FAAAABAAQAAv6sCjQ0oL/RpcPNmTFeJMs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pMzaDrQkEOxaSohu3BG+QREYXRhAAUAAAAAAk5hbWUADQAAAExpbmtEYXRhTGlzdAAQVmVyc2lvbgABAAAACUxhc3RXcml0ZQBk1fsrlgEAAAABAP////9hAGEAAAAFX2lkABAAAAAEYf9/mvaIzU6IExRLxVqpNQREYXRhAAUAAAAAAk5hbWUADQAAAExpbmtEYXRhTGlzdAAQVmVyc2lvbgAAAAAACUxhc3RXcml0ZQBj1fsrlgEAAAACAP////9wAHAAAAAFX2lkABAAAAAE+rAo0NKC/0aXDzZkxXiTLANEYXRhABYAAAACUGVyc29uYWxJZAABAAAAAAACTmFtZQALAAAAUGVyc29uYWxJZAAQVmVyc2lvbgAAAAAACUxhc3RXcml0ZQCg1f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67477957"/>
  <p:tag name="EMPOWERCHARTSPROPERTIES_B_LENGTH" val="24576"/>
  <p:tag name="DOWN_MIGRATION_INITIAL_LAYOUT_REQUIRED" val="9.2.99"/>
  <p:tag name="RUNTIME_ID" val="de6ebf9d-5f1c-4590-8259-d458508750f4"/>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yR4PUH5625Gvlzd+jA05A8EAAAAAAADAAAABAADAAAAAwADAAAABAD///////8DAAAAAAD///////8DAAEA////////BQAAAAMAEAAL1l+oYeKWW0mZ8bE/teHrkgQAAAABAAMAAAACAAMAAAABAAQAAgD///////8FAAAABAAQAAvWmtAhx67XSKlojYF2UOAn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Hg9Qfnrbka+XN36MDTkDwREYXRhAAUAAAAAAk5hbWUADQAAAExpbmtEYXRhTGlzdAAQVmVyc2lvbgABAAAACUxhc3RXcml0ZQAE1vsrlgEAAAABAP////9hAGEAAAAFX2lkABAAAAAE1l+oYeKWW0mZ8bE/teHrkgREYXRhAAUAAAAAAk5hbWUADQAAAExpbmtEYXRhTGlzdAAQVmVyc2lvbgAAAAAACUxhc3RXcml0ZQAE1vsrlgEAAAACAP////9wAHAAAAAFX2lkABAAAAAE1prQIceu10ipaI2BdlDgJwNEYXRhABYAAAACUGVyc29uYWxJZAABAAAAAAACTmFtZQALAAAAUGVyc29uYWxJZAAQVmVyc2lvbgAAAAAACUxhc3RXcml0ZQBG1v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EAIAH///////////////8AAA7///////8FAAAABAD///////////////////////////////////////////////////////////////////////////////////////////////////////////////////////////////////////////////////////////////////////////////////////////////////////////////////////////////////////////////////////////////////////////////////////////////////////////////////////////////////////////////////////////////////////////////////////////////////////////////////////////////////////////////////////////////////////////////////////////////////////////////////////8CAAMBAwAAAAIA////////DgAGTGlua0RhdGFMaXN0XzEEAAAAAAAFAAAAAwAFAAAABAAFAAAAAAAFAAAABAAFAAAAAAD///////8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69141666"/>
  <p:tag name="EMPOWERCHARTSPROPERTIES_B_LENGTH" val="24576"/>
  <p:tag name="DOWN_MIGRATION_INITIAL_LAYOUT_REQUIRED" val="9.2.99"/>
  <p:tag name="RUNTIME_ID" val="6c34f547-ecca-499c-8c7a-1b7d04e5fc84"/>
</p:tagLst>
</file>

<file path=ppt/tags/tag1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wD///////////////////////////////////////////////////////////////////////////////////////////////////////////////////////////////////////////////////////////////////////////////////////////////////////////////////////////////////////////////////////////////////////////////////////////////////////////////////////////////////////////////////////////////////////////////////////////////////////////////////////////////////////////////////////////////////////////////////////////////8BACAA////////////////AAAO////////AwAAAAQA////////////////////////////////////////////////////////////////////////////////////////////////////////////////////////////////////////////////////////////////////////////////////////////////////////////////////////////////////////////////////////////////////////////////////////////////////////////////////////////////////////////////////////////////////////////////////////////////////////////////////////////////////////////////////////////////////////////////////////////////////////////////////////AgABAP///////wUAAAACABAAC2talY/NlXVBo/Z7Map6TYgEAAAAAAADAAAAAAADAAAAAwADAAIA////////BQAAAAMAEAALNsQQmQ7VVkKqWNHRHBo/4QQAAAABAAMAAAACAAMAAAAEAAMAAAAAAAMAAAAEAAQAAgD///////8FAAAABAAQAAvBHIjS5ul2T5/wtAFsg/Gg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1qVj82VdUGj9nsxqnpNiAREYXRhAAUAAAAAAk5hbWUADQAAAExpbmtEYXRhTGlzdAAQVmVyc2lvbgAAAAAACUxhc3RXcml0ZQCu1vsrlgEAAAABAP////9hAGEAAAAFX2lkABAAAAAENsQQmQ7VVkKqWNHRHBo/4QREYXRhAAUAAAAAAk5hbWUADQAAAExpbmtEYXRhTGlzdAAQVmVyc2lvbgABAAAACUxhc3RXcml0ZQCw1vsrlgEAAAACAP////9wAHAAAAAFX2lkABAAAAAEwRyI0ubpdk+f8LQBbIPxoANEYXRhABYAAAACUGVyc29uYWxJZAABAAAAAAACTmFtZQALAAAAUGVyc29uYWxJZAAQVmVyc2lvbgAAAAAACUxhc3RXcml0ZQDx1v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70776477"/>
  <p:tag name="EMPOWERCHARTSPROPERTIES_B_LENGTH" val="24576"/>
  <p:tag name="DOWN_MIGRATION_INITIAL_LAYOUT_REQUIRED" val="9.2.99"/>
  <p:tag name="RUNTIME_ID" val="b5af7c1f-b7cd-402d-9f76-ebb052909cfc"/>
</p:tagLst>
</file>

<file path=ppt/tags/tag1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gsAAAAAAAAAAAAAIAD///////////////8AAAD///////////////8DAAAAAgD///////8DAAAAAgD///////////////////////////////////////////////////////////////////////////////////////////////////////////////////////////////////////////////////////////////////////////////////////////////////////////////////////////////////////////////////////////////////////////////////////////////////////////////////////////////////////////////////////////////////////////////////////////////////////////////////////////////////////////////////////////////////////////////////////////////8BACAA////////////////AAAO////////AwAAAAMA////////////////////////////////////////////////////////////////////////////////////////////////////////////////////////////////////////////////////////////////////////////////////////////////////////////////////////////////////////////////////////////////////////////////////////////////////////////////////////////////////////////////////////////////////////////////////////////////////////////////////////////////////////////////////////////////////////////////////////////////////////////////////////AgACAP///////wUAAAACABAACx7/EkvA72ZNv6MYABCm0qYEAAAAAAADAAAAAAADAAAABAADAAAAAAADAAAABAADAAEA////////BQAAAAMAEAALpn0A+T39cU2q/7y2Gcq9twQAAAABAAMAAAAEAAMAAAABAAQAAgD///////8FAAAABAAQAAsf8Ct4Ib38T5ovJu2H35cdBAAAAAIAAwAAAAI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v8SS8DvZk2/oxgAEKbSpgREYXRhAAUAAAAAAk5hbWUADQAAAExpbmtEYXRhTGlzdAAQVmVyc2lvbgABAAAACUxhc3RXcml0ZQAZ2PsrlgEAAAABAP////9hAGEAAAAFX2lkABAAAAAEpn0A+T39cU2q/7y2Gcq9twREYXRhAAUAAAAAAk5hbWUADQAAAExpbmtEYXRhTGlzdAAQVmVyc2lvbgAAAAAACUxhc3RXcml0ZQAZ2PsrlgEAAAACAP////9wAHAAAAAFX2lkABAAAAAEH/AreCG9/E+aLybth9+XHQNEYXRhABYAAAACUGVyc29uYWxJZAABAAAAAAACTmFtZQALAAAAUGVyc29uYWxJZAAQVmVyc2lvbgAAAAAACUxhc3RXcml0ZQBc2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CAP///////wUAAAAEAP///////wUAAAAEAP///////////////////////////////////////////////////////////////////////////////////////////////////////////////////////////////////////////////////////////////////////////////////////////////////////////////////////////////////////////////////////////////////////////////////////////////////////////////////////////////////////////////////////////////////////////////////////////////////////////////////////////////////////////////////////////////wEAIAH///////////////8AAA7///////8FAAAABAD///////////////////////////////////////////////////////////////////////////////////////////////////////////////////////////////////////////////////////////////////////////////////////////////////////////////////////////////////////////////////////////////////////////////////////////////////////////////////////////////////////////////////////////////////////////////////////////////////////////////////////////////////////////////////////////////////////////////////////////////////////////////////////8CAAIBAwAAAAIA////////DgAGTGlua0RhdGFMaXN0XzEEAAAAAAAFAAAAAwAFAAAABAAFAAAAAAAFAAAABAADAAEBAwAAAAMA////////DgAGTGlua0RhdGFMaXN0XzAEAAAAAQAFAAAAAAAFAAAAAgAEAAQBAwAAAAQA////////DAAGUGVyc29uYWxJZF8wBAAAAAIABQAAAAIABQAAAAEABQAAAAI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74665610"/>
  <p:tag name="EMPOWERCHARTSPROPERTIES_B_LENGTH" val="24576"/>
  <p:tag name="DOWN_MIGRATION_INITIAL_LAYOUT_REQUIRED" val="9.2.99"/>
  <p:tag name="RUNTIME_ID" val="b1275518-61eb-4813-9af7-79436c5c8b84"/>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wD///////8DAAAAAwD///////////////////////////////////////////////////////////////////////////////////////////////////////////////////////////////////////////////////////////////////////////////////////////////////////////////////////////////////////////////////////////////////////////////////////////////////////////////////////////////////////////////////////////////////////////////////////////////////////////////////////////////////////////////////////////////////////////////8BACAA////////////////AAAO////////AwAAAAQA////////////////////////////////////////////////////////////////////////////////////////////////////////////////////////////////////////////////////////////////////////////////////////////////////////////////////////////////////////////////////////////////////////////////////////////////////////////////////////////////////////////////////////////////////////////////////////////////////////////////////////////////////////////////////////////////////////////////////////////////////////////////////////AgABAP///////wUAAAACABAAC+wPKRYHWB5Mvf4HiN58JDUEAAAAAAADAAAAAAADAAAAAwADAAMA////////BQAAAAMAEAAL/4g7RUBWmUOSdqvH56s+mwQAAAABAAMAAAACAAMAAAAEAAMAAAAAAP///////wMAAAAAAP///////wQAAQD///////8FAAAABAAQAAv9gaLt/UdmQbrejJS+6Mes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7A8pFgdYHky9/geI3nwkNQREYXRhAAUAAAAAAk5hbWUADQAAAExpbmtEYXRhTGlzdAAQVmVyc2lvbgAAAAAACUxhc3RXcml0ZQDY2PsrlgEAAAABAP////9hAGEAAAAFX2lkABAAAAAE/4g7RUBWmUOSdqvH56s+mwREYXRhAAUAAAAAAk5hbWUADQAAAExpbmtEYXRhTGlzdAAQVmVyc2lvbgABAAAACUxhc3RXcml0ZQDc2PsrlgEAAAACAP////9wAHAAAAAFX2lkABAAAAAE/YGi7f1HZkG63oyUvujHrANEYXRhABYAAAACUGVyc29uYWxJZAABAAAAAAACTmFtZQALAAAAUGVyc29uYWxJZAAQVmVyc2lvbgAAAAAACUxhc3RXcml0ZQAQ2f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DAP///////wUAAAADAP///////////////////////////////////////////////////////////////////////////////////////////////////////////////////////////////////////////////////////////////////////////////////////////////////////////////////////////////////////////////////////////////////////////////////////////////////////////////////////////////////////////////////////////////////////////////////////////////////////////////////////////////////////////////////////////////////////////////wEAIAH///////////////8AAA7///////8FAAAABAD///////////////////////////////////////////////////////////////////////////////////////////////////////////////////////////////////////////////////////////////////////////////////////////////////////////////////////////////////////////////////////////////////////////////////////////////////////////////////////////////////////////////////////////////////////////////////////////////////////////////////////////////////////////////////////////////////////////////////////////////////////////////////////8CAAEBAwAAAAIA////////DgAGTGlua0RhdGFMaXN0XzAEAAAAAAAFAAAAAAAFAAAAAwADAAMBAwAAAAMA////////DgAGTGlua0RhdGFMaXN0XzEEAAAAAQAFAAAAAgAFAAAABAAFAAAAAAAFAAAABAAFAAAAAAAFAAAABAA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76245023"/>
  <p:tag name="EMPOWERCHARTSPROPERTIES_B_LENGTH" val="24576"/>
  <p:tag name="DOWN_MIGRATION_INITIAL_LAYOUT_REQUIRED" val="9.2.99"/>
  <p:tag name="RUNTIME_ID" val="c01b629d-585a-4e51-8de8-aaeb2926464d"/>
</p:tagLst>
</file>

<file path=ppt/tags/tag1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gsAAAAAAAAAAAAAIAD///////////////8AAAD///////////////8DAAAAAgD///////8DAAAAAgD///////////////////////////////////////////////////////////////////////////////////////////////////////////////////////////////////////////////////////////////////////////////////////////////////////////////////////////////////////////////////////////////////////////////////////////////////////////////////////////////////////////////////////////////////////////////////////////////////////////////////////////////////////////////////////////////////////////////////////////////8BACAA////////////////AAAO////////AwAAAAMA////////////////////////////////////////////////////////////////////////////////////////////////////////////////////////////////////////////////////////////////////////////////////////////////////////////////////////////////////////////////////////////////////////////////////////////////////////////////////////////////////////////////////////////////////////////////////////////////////////////////////////////////////////////////////////////////////////////////////////////////////////////////////////AgACAP///////wUAAAACABAAC/W4lFYQJhRJm2tVUOo9MbUEAAAAAAADAAAAAAADAAAABAADAAAAAAADAAAABAADAAEA////////BQAAAAMAEAALXX0u4FyTjEuKRrsOHWRBfgQAAAABAAMAAAAEAAMAAAABAAQAAgD///////8FAAAABAAQAAvVepB9OXwmToMtVcn/lAVTBAAAAAIAAwAAAAI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biUVhAmFEmba1VQ6j0xtQREYXRhAAUAAAAAAk5hbWUADQAAAExpbmtEYXRhTGlzdAAQVmVyc2lvbgAAAAAACUxhc3RXcml0ZQCJ2fsrlgEAAAABAP////9hAGEAAAAFX2lkABAAAAAEXX0u4FyTjEuKRrsOHWRBfgREYXRhAAUAAAAAAk5hbWUADQAAAExpbmtEYXRhTGlzdAAQVmVyc2lvbgABAAAACUxhc3RXcml0ZQCP2fsrlgEAAAACAP////9wAHAAAAAFX2lkABAAAAAE1XqQfTl8Jk6DLVXJ/5QFUwNEYXRhABYAAAACUGVyc29uYWxJZAABAAAAAAACTmFtZQALAAAAUGVyc29uYWxJZAAQVmVyc2lvbgAAAAAACUxhc3RXcml0ZQAa2v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EAP///////wUAAAAEAP///////////////////////////////////////////////////////////////////////////////////////////////////////////////////////////////////////////////////////////////////////////////////////////////////////////////////////////////////////////////////////////////////////////////////////////////////////////////////////////////////////////////////////////////////////////////////////////////////////////////////////////////////////////////////////////////wEAIAH///////////////8AAA7///////8FAAAABAD///////////////////////////////////////////////////////////////////////////////////////////////////////////////////////////////////////////////////////////////////////////////////////////////////////////////////////////////////////////////////////////////////////////////////////////////////////////////////////////////////////////////////////////////////////////////////////////////////////////////////////////////////////////////////////////////////////////////////////////////////////////////////////8CAAIBAwAAAAIA////////DgAGTGlua0RhdGFMaXN0XzAEAAAAAAAFAAAAAAAFAAAAAwAFAAAAAAAFAAAABAADAAEBAwAAAAMA////////DgAGTGlua0RhdGFMaXN0XzEEAAAAAQAFAAAAAgAFAAAABAAEAAQBAwAAAAQA////////DAAGUGVyc29uYWxJZF8wBAAAAAIABQAAAAMABQAAAAEABQAAAAI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79969323"/>
  <p:tag name="EMPOWERCHARTSPROPERTIES_B_LENGTH" val="24576"/>
  <p:tag name="DOWN_MIGRATION_INITIAL_LAYOUT_REQUIRED" val="9.2.99"/>
  <p:tag name="RUNTIME_ID" val="b7a8d9a4-0b3e-49eb-b302-3915ff4756b6"/>
</p:tagLst>
</file>

<file path=ppt/tags/tag1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QA////////////////////////////////////////////////////////////////////////////////////////////////////////////////////////////////////////////////////////////////////////////////////////////////////////////////////////////////////////////////////////////////////////////////////////////////////////////////////////////////////////////////////////////////////////////////////////////////////////////////////////////////////////////////////////////////////////////////////////////////////////////////////////AgADAP///////wUAAAACABAAC8qYXSRgfFVCuKRpdr9IYGkEAAAAAAADAAAAAAADAAAAAwADAAAAAAD///////8DAAAAAAD///////8DAAEA////////BQAAAAMAEAALFijNKH31K0WQ6cSjN60EjwQAAAABAAMAAAACAAMAAAAEAAQAAQD///////8FAAAABAAQAAtmUKjZhYqERrDnZnF5V2x+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phdJGB8VUK4pGl2v0hgaQREYXRhAAUAAAAAAk5hbWUADQAAAExpbmtEYXRhTGlzdAAQVmVyc2lvbgAAAAAACUxhc3RXcml0ZQDu2vsrlgEAAAABAP////9hAGEAAAAFX2lkABAAAAAEFijNKH31K0WQ6cSjN60EjwREYXRhAAUAAAAAAk5hbWUADQAAAExpbmtEYXRhTGlzdAAQVmVyc2lvbgABAAAACUxhc3RXcml0ZQDv2vsrlgEAAAACAP////9wAHAAAAAFX2lkABAAAAAEZlCo2YWKhEaw52ZxeVdsfgNEYXRhABYAAAACUGVyc29uYWxJZAABAAAAAAACTmFtZQALAAAAUGVyc29uYWxJZAAQVmVyc2lvbgAAAAAACUxhc3RXcml0ZQAt2/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81677503"/>
  <p:tag name="EMPOWERCHARTSPROPERTIES_B_LENGTH" val="24576"/>
  <p:tag name="DOWN_MIGRATION_INITIAL_LAYOUT_REQUIRED" val="9.2.99"/>
  <p:tag name="RUNTIME_ID" val="cd77d657-b128-47d9-ae0c-c5861ba4655b"/>
</p:tagLst>
</file>

<file path=ppt/tags/tag1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BAD///////////////////////////////////////////////////////////////////////////////////////////////////////////////////////////////////////////////////////////////////////////////////////////////////////////////////////////////////////////////////////////////////////////////////////////////////////////////////////////////////////////////////////////////////////////////////////////////////////////////////////////////////////////////////////////////////////////////////////////////8BACAA////////////////AAAO////////AwAAAAMA////////////////////////////////////////////////////////////////////////////////////////////////////////////////////////////////////////////////////////////////////////////////////////////////////////////////////////////////////////////////////////////////////////////////////////////////////////////////////////////////////////////////////////////////////////////////////////////////////////////////////////////////////////////////////////////////////////////////////////////////////////////////////////AgABAP///////wUAAAACABAACxW2wSq83wFEk9HyJXw3zfoEAAAAAAADAAAABAADAAAAAwADAAEA////////BQAAAAMAEAALtX/TK8K700iZ7h/hbJ4LKAQAAAABAAMAAAACAAMAAAABAAQAAgD///////8FAAAABAAQAAuD+QYnB3ogSKOobgmE7l4V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bbBKrzfAUST0fIlfDfN+gREYXRhAAUAAAAAAk5hbWUADQAAAExpbmtEYXRhTGlzdAAQVmVyc2lvbgAAAAAACUxhc3RXcml0ZQCL2/srlgEAAAABAP////9hAGEAAAAFX2lkABAAAAAEtX/TK8K700iZ7h/hbJ4LKAREYXRhAAUAAAAAAk5hbWUADQAAAExpbmtEYXRhTGlzdAAQVmVyc2lvbgABAAAACUxhc3RXcml0ZQCL2/srlgEAAAACAP////9wAHAAAAAFX2lkABAAAAAEg/kGJwd6IEijqG4JhO5eFQNEYXRhABYAAAACUGVyc29uYWxJZAABAAAAAAACTmFtZQALAAAAUGVyc29uYWxJZAAQVmVyc2lvbgAAAAAACUxhc3RXcml0ZQDD2/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83129262"/>
  <p:tag name="EMPOWERCHARTSPROPERTIES_B_LENGTH" val="24576"/>
  <p:tag name="DOWN_MIGRATION_INITIAL_LAYOUT_REQUIRED" val="9.2.99"/>
  <p:tag name="RUNTIME_ID" val="335fb1c4-1521-4795-9aad-4e108f8c32a2"/>
</p:tagLst>
</file>

<file path=ppt/tags/tag1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2gsAAAAAAAAAAAAAIAD///////////////8AAAD///////////////8DAAAAAgD///////8DAAAAAgD///////8DAAAAAwD///////8DAAAAAwD///////8DAAAAAwD///////////////////////////////////////////////////////////////////////////////////////////////////////////////////////////////////////////////////////////////////////////////////////////////////////////////////////////////////////////////////////////////////////////////////////////////////////////////////////////////////////////////////////////////////////////////////////////////////////////////////////////////////////////////8BACAA////////////////AAAO////////AwAAAAQA////////////////////////////////////////////////////////////////////////////////////////////////////////////////////////////////////////////////////////////////////////////////////////////////////////////////////////////////////////////////////////////////////////////////////////////////////////////////////////////////////////////////////////////////////////////////////////////////////////////////////////////////////////////////////////////////////////////////////////////////////////////////////////AgACAP///////wUAAAACABAAC9SHO0dtdDxPtYi+YEmB0KcEAAAAAAADAAAAAAADAAAAAwADAAAAAAADAAAAAwADAAUA////////BQAAAAMAEAALlBTZnXo/fkui/MWxn2z70AQAAAABAAMAAAACAAMAAAAEAAMAAAACAP///////wMAAAAAAP///////wMAAAAAAP///////wMAAAAAAP///////wQAAQD///////8FAAAABAAQAAtUI6D47vL+QrFyj6/YqX//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Ic7R210PE+1iL5gSYHQpwREYXRhAAUAAAAAAk5hbWUADQAAAExpbmtEYXRhTGlzdAAQVmVyc2lvbgABAAAACUxhc3RXcml0ZQAt3PsrlgEAAAABAP////9hAGEAAAAFX2lkABAAAAAElBTZnXo/fkui/MWxn2z70AREYXRhAAUAAAAAAk5hbWUADQAAAExpbmtEYXRhTGlzdAAQVmVyc2lvbgAAAAAACUxhc3RXcml0ZQAs3PsrlgEAAAACAP////9wAHAAAAAFX2lkABAAAAAEVCOg+O7y/kKxco+v2Kl//wNEYXRhABYAAAACUGVyc29uYWxJZAABAAAAAAACTmFtZQALAAAAUGVyc29uYWxJZAAQVmVyc2lvbgAAAAAACUxhc3RXcml0ZQBf3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DAP///////wUAAAADAP///////wUAAAADAP///////wUAAAADAP///////wUAAAADAP///////////////////////////////////////////////////////////////////////////////////////////////////////////////////////////////////////////////////////////////////////////////////////////////////////////////////////////////////////////////////////////////////////////////////////////////////////////////////////////////////////////////////////////////////////////////////////////////////////////////////////////////////////////////wEAIAH///////////////8AAA7///////8FAAAABAD///////////////////////////////////////////////////////////////////////////////////////////////////////////////////////////////////////////////////////////////////////////////////////////////////////////////////////////////////////////////////////////////////////////////////////////////////////////////////////////////////////////////////////////////////////////////////////////////////////////////////////////////////////////////////////////////////////////////////////////////////////////////////////8CAAIBAwAAAAIA////////DgAGTGlua0RhdGFMaXN0XzEEAAAAAAAFAAAAAwAFAAAABAAFAAAAAwAFAAAABAADAAUBAwAAAAMA////////DgAGTGlua0RhdGFMaXN0XzAEAAAAAQAFAAAAAAAFAAAAAgAFAAAAAAAFAAAAAgAFAAAAAAAFAAAABAAFAAAAAAD///////8FAAAAAAD///////8EAAMBAwAAAAQA////////DAAGUGVyc29uYWxJZF8wBAAAAAIABQAAAAIABQAAAAE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84678003"/>
  <p:tag name="EMPOWERCHARTSPROPERTIES_B_LENGTH" val="24576"/>
  <p:tag name="DOWN_MIGRATION_INITIAL_LAYOUT_REQUIRED" val="9.2.99"/>
  <p:tag name="RUNTIME_ID" val="e47a3f54-90b2-44a7-98ec-ab7be9cfbd84"/>
</p:tagLst>
</file>

<file path=ppt/tags/tag1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QA////////////////////////////////////////////////////////////////////////////////////////////////////////////////////////////////////////////////////////////////////////////////////////////////////////////////////////////////////////////////////////////////////////////////////////////////////////////////////////////////////////////////////////////////////////////////////////////////////////////////////////////////////////////////////////////////////////////////////////////////////////////////////////AgABAP///////wUAAAACABAAC0WoraWifeVDgougV4pnyzQEAAAAAAADAAAAAAADAAAAAwADAAEA////////BQAAAAMAEAALEgyB0SjQEkmFBj4UU3wF6QQAAAABAAMAAAACAAMAAAAEAAQAAQD///////8FAAAABAAQAAsEad/RjSZSRKE5JmLRoetp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aitpaJ95UOCi6BXimfLNAREYXRhAAUAAAAAAk5hbWUADQAAAExpbmtEYXRhTGlzdAAQVmVyc2lvbgAAAAAACUxhc3RXcml0ZQC43PsrlgEAAAABAP////9hAGEAAAAFX2lkABAAAAAEEgyB0SjQEkmFBj4UU3wF6QREYXRhAAUAAAAAAk5hbWUADQAAAExpbmtEYXRhTGlzdAAQVmVyc2lvbgABAAAACUxhc3RXcml0ZQC53PsrlgEAAAACAP////9wAHAAAAAFX2lkABAAAAAEBGnf0Y0mUkShOSZi0aHraQNEYXRhABYAAAACUGVyc29uYWxJZAABAAAAAAACTmFtZQALAAAAUGVyc29uYWxJZAAQVmVyc2lvbgAAAAAACUxhc3RXcml0ZQDs3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86028600"/>
  <p:tag name="EMPOWERCHARTSPROPERTIES_B_LENGTH" val="24576"/>
  <p:tag name="DOWN_MIGRATION_INITIAL_LAYOUT_REQUIRED" val="9.2.99"/>
  <p:tag name="RUNTIME_ID" val="7bf386f6-656b-4582-a7d0-f09809968d33"/>
</p:tagLst>
</file>

<file path=ppt/tags/tag1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BAD///////8DAAAAAgD///////8DAAAAAgD///////8DAAAAAgD///////8DAAAAAgD///////////////////////////////////////////////////////////////////////////////////////////////////////////////////////////////////////////////////////////////////////////////////////////////////////////////////////////////////////////////////////////////////////////////////////////////////////////////////////////////////////////////////////////////////////////////////////////////////////////////////////////////////////////////8BACAA////////////////AAAO////////AwAAAAMA////////////////////////////////////////////////////////////////////////////////////////////////////////////////////////////////////////////////////////////////////////////////////////////////////////////////////////////////////////////////////////////////////////////////////////////////////////////////////////////////////////////////////////////////////////////////////////////////////////////////////////////////////////////////////////////////////////////////////////////////////////////////////////AgAFAP///////wUAAAACABAAC/0RNH7Y/P9GlNfF+64GwEIEAAAAAAADAAAABAADAAAAAwADAAAAAAD///////8DAAAAAAD///////8DAAAAAAD///////8DAAAAAAD///////8DAAEA////////BQAAAAMAEAALqd6Zho4wtEOtu/4RqnViDgQAAAABAAMAAAACAAMAAAABAAQAAQD///////8FAAAABAAQAAvY2JtzigzjR7n53fM5ELgc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E0ftj8/0aU18X7rgbAQgREYXRhAAUAAAAAAk5hbWUADQAAAExpbmtEYXRhTGlzdAAQVmVyc2lvbgABAAAACUxhc3RXcml0ZQBI3fsrlgEAAAABAP////9hAGEAAAAFX2lkABAAAAAEqd6Zho4wtEOtu/4RqnViDgREYXRhAAUAAAAAAk5hbWUADQAAAExpbmtEYXRhTGlzdAAQVmVyc2lvbgAAAAAACUxhc3RXcml0ZQBH3fsrlgEAAAACAP////9wAHAAAAAFX2lkABAAAAAE2Nibc4oM40e5+d3zORC4HANEYXRhABYAAAACUGVyc29uYWxJZAABAAAAAAACTmFtZQALAAAAUGVyc29uYWxJZAAQVmVyc2lvbgAAAAAACUxhc3RXcml0ZQB43f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CAP///////wUAAAACAP///////wUAAAACAP///////wUAAAACAP///////////////////////////////////////////////////////////////////////////////////////////////////////////////////////////////////////////////////////////////////////////////////////////////////////////////////////////////////////////////////////////////////////////////////////////////////////////////////////////////////////////////////////////////////////////////////////////////////////////////////////////////////////////////wEAIAH///////////////8AAA7///////8FAAAABAD///////////////////////////////////////////////////////////////////////////////////////////////////////////////////////////////////////////////////////////////////////////////////////////////////////////////////////////////////////////////////////////////////////////////////////////////////////////////////////////////////////////////////////////////////////////////////////////////////////////////////////////////////////////////////////////////////////////////////////////////////////////////////////8CAAUBAwAAAAIA////////DgAGTGlua0RhdGFMaXN0XzEEAAAAAAAFAAAAAwAFAAAABAAFAAAAAAD///////8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87449530"/>
  <p:tag name="EMPOWERCHARTSPROPERTIES_B_LENGTH" val="24576"/>
  <p:tag name="DOWN_MIGRATION_INITIAL_LAYOUT_REQUIRED" val="9.2.99"/>
  <p:tag name="RUNTIME_ID" val="cd04f202-caf2-4c2c-8bdd-ee6e5dde8357"/>
</p:tagLst>
</file>

<file path=ppt/tags/tag12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AgD///////8DAAAAAgD///////8DAAAAAgD///////8DAAAAAgD///////8DAAAAAgD///////////////////////////////////////////////////////////////////////////////////////////////////////////////////////////////////////////////////////////////////////////////////////////////////////////////////////////////////////////////////////////////////////////////////////////////////////////////////////////////////////////////////////////////////////////////////////////////////////////////////////////////////////////////8BACAA////////////////AAAO////////AwAAAAQA////////////////////////////////////////////////////////////////////////////////////////////////////////////////////////////////////////////////////////////////////////////////////////////////////////////////////////////////////////////////////////////////////////////////////////////////////////////////////////////////////////////////////////////////////////////////////////////////////////////////////////////////////////////////////////////////////////////////////////////////////////////////////////AgAFAP///////wUAAAACABAAC9cXchEjYqdAtAogEgETSTMEAAAAAAADAAAAAAADAAAAAwADAAAAAAD///////8DAAAAAAD///////8DAAAAAAD///////8DAAAAAAD///////8DAAEA////////BQAAAAMAEAALxZ2ynGTrpk6sq8HKCiFogAQAAAABAAMAAAACAAMAAAAEAAQAAQD///////8FAAAABAAQAAvTED3IYcs1RKu3qc28vmwX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xdyESNip0C0CiASARNJMwREYXRhAAUAAAAAAk5hbWUADQAAAExpbmtEYXRhTGlzdAAQVmVyc2lvbgAAAAAACUxhc3RXcml0ZQDK3fsrlgEAAAABAP////9hAGEAAAAFX2lkABAAAAAExZ2ynGTrpk6sq8HKCiFogAREYXRhAAUAAAAAAk5hbWUADQAAAExpbmtEYXRhTGlzdAAQVmVyc2lvbgABAAAACUxhc3RXcml0ZQDK3fsrlgEAAAACAP////9wAHAAAAAFX2lkABAAAAAE0xA9yGHLNUSrt6nNvL5sFwNEYXRhABYAAAACUGVyc29uYWxJZAABAAAAAAACTmFtZQALAAAAUGVyc29uYWxJZAAQVmVyc2lvbgAAAAAACUxhc3RXcml0ZQD73f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UAAAACAP///////wUAAAACAP///////////////////////////////////////////////////////////////////////////////////////////////////////////////////////////////////////////////////////////////////////////////////////////////////////////////////////////////////////////////////////////////////////////////////////////////////////////////////////////////////////////////////////////////////////////////////////////////////////////////////////////////////////////////wEAIAH///////////////8AAA7///////8FAAAABAD///////////////////////////////////////////////////////////////////////////////////////////////////////////////////////////////////////////////////////////////////////////////////////////////////////////////////////////////////////////////////////////////////////////////////////////////////////////////////////////////////////////////////////////////////////////////////////////////////////////////////////////////////////////////////////////////////////////////////////////////////////////////////////8CAAUBAwAAAAIA////////DgAGTGlua0RhdGFMaXN0XzAEAAAAAAAFAAAAAAAFAAAAAwAFAAAAAAD///////8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88748493"/>
  <p:tag name="EMPOWERCHARTSPROPERTIES_B_LENGTH" val="24576"/>
  <p:tag name="DOWN_MIGRATION_INITIAL_LAYOUT_REQUIRED" val="9.2.99"/>
  <p:tag name="RUNTIME_ID" val="2b588cb9-5e13-4afe-9c27-9fe6d01ca3bd"/>
</p:tagLst>
</file>

<file path=ppt/tags/tag12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BAD///////////////////////////////////////////////////////////////////////////////////////////////////////////////////////////////////////////////////////////////////////////////////////////////////////////////////////////////////////////////////////////////////////////////////////////////////////////////////////////////////////////////////////////////////////////////////////////////////////////////////////////////////////////////////////////////////////////////////////////////8BACAA////////////////AAAO////////AwAAAAMA////////////////////////////////////////////////////////////////////////////////////////////////////////////////////////////////////////////////////////////////////////////////////////////////////////////////////////////////////////////////////////////////////////////////////////////////////////////////////////////////////////////////////////////////////////////////////////////////////////////////////////////////////////////////////////////////////////////////////////////////////////////////////////AgABAP///////wUAAAACABAAC8kukFC1VPhLpGbH5pnAyFEEAAAAAAADAAAABAADAAAAAwADAAEA////////BQAAAAMAEAALP2h+bw2jGE2JZw5atv+s5AQAAAABAAMAAAACAAMAAAABAAQAAgD///////8FAAAABAAQAAu/1KFEx5plR4eHDq2XHXgX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S6QULVU+EukZsfmmcDIUQREYXRhAAUAAAAAAk5hbWUADQAAAExpbmtEYXRhTGlzdAAQVmVyc2lvbgAAAAAACUxhc3RXcml0ZQAW4PsrlgEAAAABAP////9hAGEAAAAFX2lkABAAAAAEP2h+bw2jGE2JZw5atv+s5AREYXRhAAUAAAAAAk5hbWUADQAAAExpbmtEYXRhTGlzdAAQVmVyc2lvbgABAAAACUxhc3RXcml0ZQAX4PsrlgEAAAACAP////9wAHAAAAAFX2lkABAAAAAEv9ShRMeaZUeHhw6tlx14FwNEYXRhABYAAAACUGVyc29uYWxJZAABAAAAAAACTmFtZQALAAAAUGVyc29uYWxJZAAQVmVyc2lvbgAAAAAACUxhc3RXcml0ZQBb4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95010711"/>
  <p:tag name="EMPOWERCHARTSPROPERTIES_B_LENGTH" val="24576"/>
  <p:tag name="DOWN_MIGRATION_INITIAL_LAYOUT_REQUIRED" val="9.2.99"/>
  <p:tag name="RUNTIME_ID" val="c8404b15-a0f9-49da-b77b-d39ec30d5ef4"/>
</p:tagLst>
</file>

<file path=ppt/tags/tag12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wD///////////////////////////////////////////////////////////////////////////////////////////////////////////////////////////////////////////////////////////////////////////////////////////////////////////////////////////////////////////////////////////////////////////////////////////////////////////////////////////////////////////////////////////////////////////////////////////////////////////////////////////////////////////////////////////////////////////////8BACAA////////////////AAAO////////AwAAAAMA////////////////////////////////////////////////////////////////////////////////////////////////////////////////////////////////////////////////////////////////////////////////////////////////////////////////////////////////////////////////////////////////////////////////////////////////////////////////////////////////////////////////////////////////////////////////////////////////////////////////////////////////////////////////////////////////////////////////////////////////////////////////////////AgABAP///////wUAAAACABAACx1C6RzmX/ZCnnWA2/NQkKoEAAAAAAADAAAABAADAAAAAwADAAMA////////BQAAAAMAEAALFcUA0SZNIka/oOmNPw7qyQQAAAABAAMAAAACAAMAAAABAAMAAAAEAP///////wMAAAAAAP///////wQAAgD///////8FAAAABAAQAAsTU8IFg5IGQY2bdJpWZFhy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ULpHOZf9kKedYDb81CQqgREYXRhAAUAAAAAAk5hbWUADQAAAExpbmtEYXRhTGlzdAAQVmVyc2lvbgABAAAACUxhc3RXcml0ZQDB4PsrlgEAAAABAP////9hAGEAAAAFX2lkABAAAAAEFcUA0SZNIka/oOmNPw7qyQREYXRhAAUAAAAAAk5hbWUADQAAAExpbmtEYXRhTGlzdAAQVmVyc2lvbgAAAAAACUxhc3RXcml0ZQDB4PsrlgEAAAACAP////9wAHAAAAAFX2lkABAAAAAEE1PCBYOSBkGNm3SaVmRYcgNEYXRhABYAAAACUGVyc29uYWxJZAABAAAAAAACTmFtZQALAAAAUGVyc29uYWxJZAAQVmVyc2lvbgAAAAAACUxhc3RXcml0ZQD44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UAAAADAP///////////////////////////////////////////////////////////////////////////////////////////////////////////////////////////////////////////////////////////////////////////////////////////////////////////////////////////////////////////////////////////////////////////////////////////////////////////////////////////////////////////////////////////////////////////////////////////////////////////////////////////////////////////////////////////////////////////////wEAIAH///////////////8AAA7///////8FAAAABAD///////////////////////////////////////////////////////////////////////////////////////////////////////////////////////////////////////////////////////////////////////////////////////////////////////////////////////////////////////////////////////////////////////////////////////////////////////////////////////////////////////////////////////////////////////////////////////////////////////////////////////////////////////////////////////////////////////////////////////////////////////////////////////8CAAEBAwAAAAIA////////DgAGTGlua0RhdGFMaXN0XzEEAAAAAAAFAAAAAwAFAAAABAADAAMBAwAAAAMA////////DgAGTGlua0RhdGFMaXN0XzAEAAAAAQ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96441551"/>
  <p:tag name="EMPOWERCHARTSPROPERTIES_B_LENGTH" val="24576"/>
  <p:tag name="DOWN_MIGRATION_INITIAL_LAYOUT_REQUIRED" val="9.2.99"/>
  <p:tag name="RUNTIME_ID" val="18bfafa6-940c-4a7e-a340-a90c8712932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QBAQEBAQEBAQEBAQEBAQMAAAAAAAAAAwAAAAMAAAAA/////wUAwgsAAAAAAAAAAAAAIAD///////////////8AAAD///////////////8DAAAABAD///////8DAAAABAD///////8DAAAABAD///////8DAAAABAD///////8DAAAABAD///////////////////////////////////////////////////////////////////////////////////////////////////////////////////////////////////////////////////////////////////////////////////////////////////////////////////////////////////////////////////////////////////////////////////////////////////////////////////////////////////////////////////////////////////////////////////////////////////////////////////////////////////////////////8BACAA////////////////AAAO////////AwAAAAMA////////////////////////////////////////////////////////////////////////////////////////////////////////////////////////////////////////////////////////////////////////////////////////////////////////////////////////////////////////////////////////////////////////////////////////////////////////////////////////////////////////////////////////////////////////////////////////////////////////////////////////////////////////////////////////////////////////////////////////////////////////////////////////AgAEAP///////wUAAAACABAACyNbjCdczGREjTI4SZp771wEAAAAAAADAAAABAADAAAAAwADAAAABAD///////8DAAAABAD///////8DAAAABAD///////8DAAEA////////BQAAAAMAEAALeh/QoWwTqkmsLF4t7qsWewQAAAABAAMAAAACAAMAAAABAAQABQD///////8FAAAABAAQAAuCdIcQghcqTow/SCNB2oDLBAAAAAIAAwAAAAAAAwAAAAIAAwAAAAAAAwAAAAIAAwAAAAAAAw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1uMJ1zMZESNMjhJmnvvXAREYXRhAAUAAAAAAk5hbWUADQAAAExpbmtEYXRhTGlzdAAQVmVyc2lvbgAAAAAACUxhc3RXcml0ZQBS4fsrlgEAAAABAP////9hAGEAAAAFX2lkABAAAAAEeh/QoWwTqkmsLF4t7qsWewREYXRhAAUAAAAAAk5hbWUADQAAAExpbmtEYXRhTGlzdAAQVmVyc2lvbgABAAAACUxhc3RXcml0ZQBS4fsrlgEAAAACAP////9wAHAAAAAFX2lkABAAAAAEgnSHEIIXKk6MP0gjQdqAywNEYXRhABYAAAACUGVyc29uYWxJZAABAAAAAAACTmFtZQALAAAAUGVyc29uYWxJZAAQVmVyc2lvbgAAAAAACUxhc3RXcml0ZQCN4f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CAP///////wUAAAACAP///////////////////////////////////////////////////////////////////////////////////////////////////////////////////////////////////////////////////////////////////////////////////////////////////////////////////////////////////////////////////////////////////////////////////////////////////////////////////////////////////////////////////////////////////////////////////////////////////////////////////////////////////////////////////////////////wEAIAH///////////////8AAA7///////8FAAAABAD///////////////////////////////////////////////////////////////////////////////////////////////////////////////////////////////////////////////////////////////////////////////////////////////////////////////////////////////////////////////////////////////////////////////////////////////////////////////////////////////////////////////////////////////////////////////////////////////////////////////////////////////////////////////////////////////////////////////////////////////////////////////////////8CAAQBAwAAAAIA////////DgAGTGlua0RhdGFMaXN0XzAEAAAAAAAFAAAAAAAFAAAAAwAFAAAAAAAFAAAABAAFAAAAAAAFAAAABAAFAAAAAAD///////8DAAEBAwAAAAMA////////DgAGTGlua0RhdGFMaXN0XzEEAAAAAQAFAAAAAgAFAAAABAAEAAMBAwAAAAQA////////DAAGUGVyc29uYWxJZF8wBAAAAAIABQAAAAM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98036041"/>
  <p:tag name="EMPOWERCHARTSPROPERTIES_B_LENGTH" val="24576"/>
  <p:tag name="DOWN_MIGRATION_INITIAL_LAYOUT_REQUIRED" val="9.2.99"/>
  <p:tag name="RUNTIME_ID" val="d871a568-645a-474b-8d5d-ede1c679265e"/>
</p:tagLst>
</file>

<file path=ppt/tags/tag13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MAAAAAAAAAAwAAAAMAAAAA/////wUAFgwAAAAAAAAAAAAAIAD///////////////8AAAD///////////////8DAAAAAgD///////////////////////////////////////////////////////////////////////////////////////////////////////////////////////////////////////////////////////////////////////////////////////////////////////////////////////////////////////////////////////////////////////////////////////////////////////////////////////////////////////////////////////////////////////////////////////////////////////////////////////////////////////////////////////////////////////////////////////////////////////////////8BACAA////////////////AAAO////////AwAAAAMA////////////////////////////////////////////////////////////////////////////////////////////////////////////////////////////////////////////////////////////////////////////////////////////////////////////////////////////////////////////////////////////////////////////////////////////////////////////////////////////////////////////////////////////////////////////////////////////////////////////////////////////////////////////////////////////////////////////////////////////////////////////////////////AgABAP///////wUAAAACABAAC25rqSCKVVJFtakv8JqSE24EAAAAAAADAAAAAAADAAAABAADAAEA////////BQAAAAMAEAAL1Nxux4My0UytR4sSt86hLAQAAAABAAMAAAAEAAMAAAABAAQAAQD///////8FAAAABAAQAAu4YTgvwRrdR7U9riGMBooY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mupIIpVUkW1qS/wmpITbgREYXRhAAUAAAAAAk5hbWUADQAAAExpbmtEYXRhTGlzdAAQVmVyc2lvbgAAAAAACUxhc3RXcml0ZQA34vsrlgEAAAABAP////9hAGEAAAAFX2lkABAAAAAE1Nxux4My0UytR4sSt86hLAREYXRhAAUAAAAAAk5hbWUADQAAAExpbmtEYXRhTGlzdAAQVmVyc2lvbgABAAAACUxhc3RXcml0ZQA44vsrlgEAAAACAP////9wAHAAAAAFX2lkABAAAAAEuGE4L8Ea3Ue1Pa4hjAaKGANEYXRhABYAAAACUGVyc29uYWxJZAABAAAAAAACTmFtZQALAAAAUGVyc29uYWxJZAAQVmVyc2lvbgAAAAAACUxhc3RXcml0ZQBn4v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EAP///////wUAAAAEAP///////wUAAAAEAP///////////////////////////////////////////////////////////////////////////////////////////////////////////////////////////////////////////////////////////////////////////////////////////////////////////////////////////////////////////////////////////////////////////////////////////////////////////////////////////////////////////////////////////////////////////////////////////////////////////////////////////////////////////////////////////////wEAIAH///////////////8AAA7///////8FAAAABAD///////////////////////////////////////////////////////////////////////////////////////////////////////////////////////////////////////////////////////////////////////////////////////////////////////////////////////////////////////////////////////////////////////////////////////////////////////////////////////////////////////////////////////////////////////////////////////////////////////////////////////////////////////////////////////////////////////////////////////////////////////////////////////8CAAEBAwAAAAIA////////DgAGTGlua0RhdGFMaXN0XzAEAAAAAAAFAAAAAAAFAAAAAwADAAEBAwAAAAMA////////DgAGTGlua0RhdGFMaXN0XzEEAAAAAQAFAAAAAgAFAAAABAAEAAQBAwAAAAQA////////DAAGUGVyc29uYWxJZF8wBAAAAAIABQAAAAMABQAAAAE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00077237"/>
  <p:tag name="EMPOWERCHARTSPROPERTIES_B_LENGTH" val="24576"/>
  <p:tag name="DOWN_MIGRATION_INITIAL_LAYOUT_REQUIRED" val="9.2.99"/>
  <p:tag name="RUNTIME_ID" val="b24c6c83-1d82-4f9d-aff0-2703442e3682"/>
</p:tagLst>
</file>

<file path=ppt/tags/tag13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gD///////////////////////////////////////////////////////////////////////////////////////////////////////////////////////////////////////////////////////////////////////////////////////////////////////////////////////////////////////////////////////////////////////////////////////////////////////////////////////////////////////////////////////////////////////////////////////////////////////////////////////////////////////////////////////////////////////////////8BACAA////////////////AAAO////////AwAAAAQA////////////////////////////////////////////////////////////////////////////////////////////////////////////////////////////////////////////////////////////////////////////////////////////////////////////////////////////////////////////////////////////////////////////////////////////////////////////////////////////////////////////////////////////////////////////////////////////////////////////////////////////////////////////////////////////////////////////////////////////////////////////////////////AgADAP///////wUAAAACABAACy3McTDDL9hLkGY94f6E4fIEAAAAAAADAAAAAAADAAAAAwADAAAAAAADAAAAAwADAAAAAAD///////8DAAIA////////BQAAAAMAEAALTVXOUy72YkKJkLVAuY9EWgQAAAABAAMAAAACAAMAAAAEAAMAAAACAAMAAAAEAAQAAgD///////8FAAAABAAQAAvrieqxRip+TZDOMlIBv8zz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cxxMMMv2EuQZj3h/oTh8gREYXRhAAUAAAAAAk5hbWUADQAAAExpbmtEYXRhTGlzdAAQVmVyc2lvbgAAAAAACUxhc3RXcml0ZQC24vsrlgEAAAABAP////9hAGEAAAAFX2lkABAAAAAETVXOUy72YkKJkLVAuY9EWgREYXRhAAUAAAAAAk5hbWUADQAAAExpbmtEYXRhTGlzdAAQVmVyc2lvbgABAAAACUxhc3RXcml0ZQC34vsrlgEAAAACAP////9wAHAAAAAFX2lkABAAAAAE64nqsUYqfk2QzjJSAb/M8wNEYXRhABYAAAACUGVyc29uYWxJZAABAAAAAAACTmFtZQALAAAAUGVyc29uYWxJZAAQVmVyc2lvbgAAAAAACUxhc3RXcml0ZQDm4v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EAIAH///////////////8AAA7///////8FAAAABAD///////////////////////////////////////////////////////////////////////////////////////////////////////////////////////////////////////////////////////////////////////////////////////////////////////////////////////////////////////////////////////////////////////////////////////////////////////////////////////////////////////////////////////////////////////////////////////////////////////////////////////////////////////////////////////////////////////////////////////////////////////////////////////8CAAMBAwAAAAIA////////DgAGTGlua0RhdGFMaXN0XzAEAAAAAAAFAAAAAAAFAAAAAwAFAAAAAAAFAAAAAwAFAAAAAAD///////8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01321146"/>
  <p:tag name="EMPOWERCHARTSPROPERTIES_B_LENGTH" val="24576"/>
  <p:tag name="DOWN_MIGRATION_INITIAL_LAYOUT_REQUIRED" val="9.2.99"/>
  <p:tag name="RUNTIME_ID" val="7d541934-4214-4918-a7dd-588bb6224fa5"/>
</p:tagLst>
</file>

<file path=ppt/tags/tag13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2IqExh8u3JBtkrc/OAPUgwEAAAAAAADAAAABAADAAAAAwADAAEA////////BQAAAAMAEAALUVdEIrGjmEePOCXXWmh78gQAAAABAAMAAAACAAMAAAABAAQAAgD///////8FAAAABAAQAAvMHagIIHThTJa++RD7eXbD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ioTGHy7ckG2Stz84A9SDAREYXRhAAUAAAAAAk5hbWUADQAAAExpbmtEYXRhTGlzdAAQVmVyc2lvbgAAAAAACUxhc3RXcml0ZQA24/srlgEAAAABAP////9hAGEAAAAFX2lkABAAAAAEUVdEIrGjmEePOCXXWmh78gREYXRhAAUAAAAAAk5hbWUADQAAAExpbmtEYXRhTGlzdAAQVmVyc2lvbgABAAAACUxhc3RXcml0ZQA44/srlgEAAAACAP////9wAHAAAAAFX2lkABAAAAAEzB2oCCB04UyWvvkQ+3l2wwNEYXRhABYAAAACUGVyc29uYWxJZAABAAAAAAACTmFtZQALAAAAUGVyc29uYWxJZAAQVmVyc2lvbgAAAAAACUxhc3RXcml0ZQB04/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02769141"/>
  <p:tag name="EMPOWERCHARTSPROPERTIES_B_LENGTH" val="24576"/>
  <p:tag name="DOWN_MIGRATION_INITIAL_LAYOUT_REQUIRED" val="9.2.99"/>
  <p:tag name="RUNTIME_ID" val="6158b16e-f466-4989-a532-23cce0c7a147"/>
</p:tagLst>
</file>

<file path=ppt/tags/tag13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cBAQEBAQEBAQEBAQEBAQMAAAAAAAAAAwAAAAMAAAAA/////wUA2gsAAAAAAAAAAAAAIAD///////////////8AAAD///////////////8DAAAAAgD///////8DAAAAAgD///////8DAAAAAwD///////8DAAAAAwD///////8DAAAAAwD///////////////////////////////////////////////////////////////////////////////////////////////////////////////////////////////////////////////////////////////////////////////////////////////////////////////////////////////////////////////////////////////////////////////////////////////////////////////////////////////////////////////////////////////////////////////////////////////////////////////////////////////////////////////8BACAA////////////////AAAO////////AwAAAAQA////////////////////////////////////////////////////////////////////////////////////////////////////////////////////////////////////////////////////////////////////////////////////////////////////////////////////////////////////////////////////////////////////////////////////////////////////////////////////////////////////////////////////////////////////////////////////////////////////////////////////////////////////////////////////////////////////////////////////////////////////////////////////////AgACAP///////wUAAAACABAACzWIHLGOHLJDnXCn3DQkJdYEAAAAAAADAAAAAAADAAAAAwADAAAAAAADAAAAAwADAAUA////////BQAAAAMAEAALn+Ye8OKbjk6iC9aNVzJKPAQAAAABAAMAAAACAAMAAAAEAAMAAAACAP///////wMAAAAAAP///////wMAAAAAAP///////wMAAAAAAP///////wQAAQD///////8FAAAABAAQAAuhtC3wNE2JTbQdu7tc1He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YgcsY4cskOdcKfcNCQl1gREYXRhAAUAAAAAAk5hbWUADQAAAExpbmtEYXRhTGlzdAAQVmVyc2lvbgABAAAACUxhc3RXcml0ZQDS4/srlgEAAAABAP////9hAGEAAAAFX2lkABAAAAAEn+Ye8OKbjk6iC9aNVzJKPAREYXRhAAUAAAAAAk5hbWUADQAAAExpbmtEYXRhTGlzdAAQVmVyc2lvbgAAAAAACUxhc3RXcml0ZQDH4/srlgEAAAACAP////9wAHAAAAAFX2lkABAAAAAEobQt8DRNiU20Hbu7XNR3hgNEYXRhABYAAAACUGVyc29uYWxJZAABAAAAAAACTmFtZQALAAAAUGVyc29uYWxJZAAQVmVyc2lvbgAAAAAACUxhc3RXcml0ZQAG5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aCwAAAAAAAAAAAAAgAf///////////////wAAAP///////////////wUAAAADAP///////wUAAAADAP///////wUAAAADAP///////wUAAAADAP///////wUAAAADAP///////wUAAAAEAP///////wUAAAAEAP///////////////////////////////////////////////////////////////////////////////////////////////////////////////////////////////////////////////////////////////////////////////////////////////////////////////////////////////////////////////////////////////////////////////////////////////////////////////////////////////////////////////////////////////////////////////////////////////////////////////wEAIAH///////////////8AAA7///////8FAAAABAD///////////////////////////////////////////////////////////////////////////////////////////////////////////////////////////////////////////////////////////////////////////////////////////////////////////////////////////////////////////////////////////////////////////////////////////////////////////////////////////////////////////////////////////////////////////////////////////////////////////////////////////////////////////////////////////////////////////////////////////////////////////////////////8CAAIBAwAAAAIA////////DgAGTGlua0RhdGFMaXN0XzEEAAAAAAAFAAAAAwAFAAAABAAFAAAAAwAFAAAABAADAAUBAwAAAAMA////////DgAGTGlua0RhdGFMaXN0XzAEAAAAAQAFAAAAAAAFAAAAAgAFAAAAAAAFAAAAAgAFAAAAAAAFAAAABAAFAAAAAAAFAAAABAAFAAAAAAAFAAAABAAEAAcBAwAAAAQA////////DAAGUGVyc29uYWxJZF8wBAAAAAIABQAAAAIABQAAAAEABQAAAAIA////////BQAAAAMA////////BQAAAAM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04236025"/>
  <p:tag name="EMPOWERCHARTSPROPERTIES_B_LENGTH" val="24576"/>
  <p:tag name="DOWN_MIGRATION_INITIAL_LAYOUT_REQUIRED" val="9.2.99"/>
  <p:tag name="RUNTIME_ID" val="a218d4e3-632a-451a-9200-9daa25624d50"/>
</p:tagLst>
</file>

<file path=ppt/tags/tag13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9afsCGvg5xOjmfhsPK+mwkEAAAAAAADAAAAAAADAAAAAwADAAEA////////BQAAAAMAEAALY+idhrRPy06FCqqVnFRLlgQAAAABAAMAAAACAAMAAAAEAAQAAQD///////8FAAAABAAQAAucd2yaR9NrSa5crVVsGXnK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p+wIa+DnE6OZ+Gw8r6bCQREYXRhAAUAAAAAAk5hbWUADQAAAExpbmtEYXRhTGlzdAAQVmVyc2lvbgABAAAACUxhc3RXcml0ZQAG5fsrlgEAAAABAP////9hAGEAAAAFX2lkABAAAAAEY+idhrRPy06FCqqVnFRLlgREYXRhAAUAAAAAAk5hbWUADQAAAExpbmtEYXRhTGlzdAAQVmVyc2lvbgAAAAAACUxhc3RXcml0ZQAD5fsrlgEAAAACAP////9wAHAAAAAFX2lkABAAAAAEnHdsmkfTa0muXK1VbBl5ygNEYXRhABYAAAACUGVyc29uYWxJZAABAAAAAAACTmFtZQALAAAAUGVyc29uYWxJZAAQVmVyc2lvbgAAAAAACUxhc3RXcml0ZQA55f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07339967"/>
  <p:tag name="EMPOWERCHARTSPROPERTIES_B_LENGTH" val="24576"/>
  <p:tag name="DOWN_MIGRATION_INITIAL_LAYOUT_REQUIRED" val="9.2.99"/>
  <p:tag name="RUNTIME_ID" val="0f0c5547-da84-47c8-b401-95f028bf0aa0"/>
</p:tagLst>
</file>

<file path=ppt/tags/tag13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2gsAAAAAAAAAAAAAIAD///////////////8AAAD///////////////8DAAAABAD///////8DAAAABAD///////8DAAAAAwD///////8DAAAAAwD///////////////////////////////////////////////////////////////////////////////////////////////////////////////////////////////////////////////////////////////////////////////////////////////////////////////////////////////////////////////////////////////////////////////////////////////////////////////////////////////////////////////////////////////////////////////////////////////////////////////////////////////////////////////////////////////8BACAA////////////////AAAO////////AwAAAAMA////////////////////////////////////////////////////////////////////////////////////////////////////////////////////////////////////////////////////////////////////////////////////////////////////////////////////////////////////////////////////////////////////////////////////////////////////////////////////////////////////////////////////////////////////////////////////////////////////////////////////////////////////////////////////////////////////////////////////////////////////////////////////////AgACAP///////wUAAAACABAAC2PIqkX0RPhNgUIFwPHQmDQEAAAAAAADAAAABAADAAAAAwADAAAABAADAAAAAwADAAQA////////BQAAAAMAEAALv5F5WGxEJkyhGA569/0utAQAAAABAAMAAAACAAMAAAABAAMAAAACAP///////wMAAAAAAP///////wMAAAAAAP///////wQAAgD///////8FAAAABAAQAAsNXLpC3akhQamn0v/sfakl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8iqRfRE+E2BQgXA8dCYNAREYXRhAAUAAAAAAk5hbWUADQAAAExpbmtEYXRhTGlzdAAQVmVyc2lvbgABAAAACUxhc3RXcml0ZQCd5fsrlgEAAAABAP////9hAGEAAAAFX2lkABAAAAAEv5F5WGxEJkyhGA569/0utAREYXRhAAUAAAAAAk5hbWUADQAAAExpbmtEYXRhTGlzdAAQVmVyc2lvbgAAAAAACUxhc3RXcml0ZQCc5fsrlgEAAAACAP////9wAHAAAAAFX2lkABAAAAAEDVy6Qt2pIUGpp9L/7H2pJQNEYXRhABYAAAACUGVyc29uYWxJZAABAAAAAAACTmFtZQALAAAAUGVyc29uYWxJZAAQVmVyc2lvbgAAAAAACUxhc3RXcml0ZQDK5f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08722430"/>
  <p:tag name="EMPOWERCHARTSPROPERTIES_B_LENGTH" val="24576"/>
  <p:tag name="DOWN_MIGRATION_INITIAL_LAYOUT_REQUIRED" val="9.2.99"/>
  <p:tag name="RUNTIME_ID" val="7b478ca5-1ac3-4b97-852b-7928c8794d65"/>
</p:tagLst>
</file>

<file path=ppt/tags/tag13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2gsAAAAAAAAAAAAAIAD///////////////8AAAD///////////////8DAAAAAgD///////8DAAAAAgD///////8DAAAABAD///////////////////////////////////////////////////////////////////////////////////////////////////////////////////////////////////////////////////////////////////////////////////////////////////////////////////////////////////////////////////////////////////////////////////////////////////////////////////////////////////////////////////////////////////////////////////////////////////////////////////////////////////////////////////////////////////////////////8BACAA////////////////AAAO////////AwAAAAMA////////////////////////////////////////////////////////////////////////////////////////////////////////////////////////////////////////////////////////////////////////////////////////////////////////////////////////////////////////////////////////////////////////////////////////////////////////////////////////////////////////////////////////////////////////////////////////////////////////////////////////////////////////////////////////////////////////////////////////////////////////////////////////AgACAP///////wUAAAACABAACxOf/jG+qqdDizR/mL2GBmQEAAAAAAADAAAAAAADAAAABAADAAAAAAADAAAABAADAAMA////////BQAAAAMAEAALmDO9cWg1dU6Aqx/NAAaPQQQAAAABAAMAAAAEAAMAAAABAAMAAAAEAP///////wMAAAAEAP///////wQAAwD///////8FAAAABAAQAAumXY1C4xkAR5ZxFzJrMb0YBAAAAAIAAwAAAAIAAwAAAAM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5/+Mb6qp0OLNH+YvYYGZAREYXRhAAUAAAAAAk5hbWUADQAAAExpbmtEYXRhTGlzdAAQVmVyc2lvbgABAAAACUxhc3RXcml0ZQAi5vsrlgEAAAABAP////9hAGEAAAAFX2lkABAAAAAEmDO9cWg1dU6Aqx/NAAaPQQREYXRhAAUAAAAAAk5hbWUADQAAAExpbmtEYXRhTGlzdAAQVmVyc2lvbgAAAAAACUxhc3RXcml0ZQAi5vsrlgEAAAACAP////9wAHAAAAAFX2lkABAAAAAEpl2NQuMZAEeWcRcyazG9GANEYXRhABYAAAACUGVyc29uYWxJZAABAAAAAAACTmFtZQALAAAAUGVyc29uYWxJZAAQVmVyc2lvbgAAAAAACUxhc3RXcml0ZQBP5v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10072759"/>
  <p:tag name="EMPOWERCHARTSPROPERTIES_B_LENGTH" val="24576"/>
  <p:tag name="DOWN_MIGRATION_INITIAL_LAYOUT_REQUIRED" val="9.2.99"/>
  <p:tag name="RUNTIME_ID" val="67ecaacf-9646-4d54-bc5b-c3cca275ff0a"/>
</p:tagLst>
</file>

<file path=ppt/tags/tag13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QA////////////////////////////////////////////////////////////////////////////////////////////////////////////////////////////////////////////////////////////////////////////////////////////////////////////////////////////////////////////////////////////////////////////////////////////////////////////////////////////////////////////////////////////////////////////////////////////////////////////////////////////////////////////////////////////////////////////////////////////////////////////////////////AgABAP///////wUAAAACABAAC3RtzCB7vJtCkDtgzZunnwEEAAAAAAADAAAAAAADAAAAAwADAAEA////////BQAAAAMAEAALN1ZhTwEKFEq5AABYy5SD0QQAAAABAAMAAAACAAMAAAAEAAQAAgD///////8FAAAABAAQAAtnWChRM26CS67x/qsCgjtz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G3MIHu8m0KQO2DNm6efAQREYXRhAAUAAAAAAk5hbWUADQAAAExpbmtEYXRhTGlzdAAQVmVyc2lvbgABAAAACUxhc3RXcml0ZQCq5vsrlgEAAAABAP////9hAGEAAAAFX2lkABAAAAAEN1ZhTwEKFEq5AABYy5SD0QREYXRhAAUAAAAAAk5hbWUADQAAAExpbmtEYXRhTGlzdAAQVmVyc2lvbgAAAAAACUxhc3RXcml0ZQCm5vsrlgEAAAACAP////9wAHAAAAAFX2lkABAAAAAEZ1goUTNugkuu8f6rAoI7cwNEYXRhABYAAAACUGVyc29uYWxJZAABAAAAAAACTmFtZQALAAAAUGVyc29uYWxJZAAQVmVyc2lvbgAAAAAACUxhc3RXcml0ZQDb5v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11452392"/>
  <p:tag name="EMPOWERCHARTSPROPERTIES_B_LENGTH" val="24576"/>
  <p:tag name="DOWN_MIGRATION_INITIAL_LAYOUT_REQUIRED" val="9.2.99"/>
  <p:tag name="RUNTIME_ID" val="e34e3ed0-5b2f-4a48-b619-b68093068591"/>
</p:tagLst>
</file>

<file path=ppt/tags/tag13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BAP///////wUAAAACABAAC7k6rLQhMUNJnDL6aEP9Wz4EAAAAAAADAAAABAADAAAAAwADAAIA////////BQAAAAMAEAAL0uocybs6TUC51YiA5leB7AQAAAABAAMAAAACAAMAAAABAAMAAAAEAP///////wQAAgD///////8FAAAABAAQAAsCw3lqzoLLQ6ryAQONaVXc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TqstCExQ0mcMvpoQ/1bPgREYXRhAAUAAAAAAk5hbWUADQAAAExpbmtEYXRhTGlzdAAQVmVyc2lvbgAAAAAACUxhc3RXcml0ZQDE5/srlgEAAAABAP////9hAGEAAAAFX2lkABAAAAAE0uocybs6TUC51YiA5leB7AREYXRhAAUAAAAAAk5hbWUADQAAAExpbmtEYXRhTGlzdAAQVmVyc2lvbgABAAAACUxhc3RXcml0ZQDH5/srlgEAAAACAP////9wAHAAAAAFX2lkABAAAAAEAsN5as6Cy0Oq8gEDjWlV3ANEYXRhABYAAAACUGVyc29uYWxJZAABAAAAAAACTmFtZQALAAAAUGVyc29uYWxJZAAQVmVyc2lvbgAAAAAACUxhc3RXcml0ZQD85/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EAIAH///////////////8AAA7///////8FAAAABAD///////////////////////////////////////////////////////////////////////////////////////////////////////////////////////////////////////////////////////////////////////////////////////////////////////////////////////////////////////////////////////////////////////////////////////////////////////////////////////////////////////////////////////////////////////////////////////////////////////////////////////////////////////////////////////////////////////////////////////////////////////////////////////8CAAEBAwAAAAIA////////DgAGTGlua0RhdGFMaXN0XzAEAAAAAAAFAAAAAAAFAAAAAwADAAIBAwAAAAMA////////DgAGTGlua0RhdGFMaXN0XzEEAAAAAQAFAAAAAgAFAAAABAAFAAAAAA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14438426"/>
  <p:tag name="EMPOWERCHARTSPROPERTIES_B_LENGTH" val="24576"/>
  <p:tag name="DOWN_MIGRATION_INITIAL_LAYOUT_REQUIRED" val="9.2.99"/>
  <p:tag name="RUNTIME_ID" val="b675dbcb-fe91-4816-b4ca-f5d39978356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QA////////////////////////////////////////////////////////////////////////////////////////////////////////////////////////////////////////////////////////////////////////////////////////////////////////////////////////////////////////////////////////////////////////////////////////////////////////////////////////////////////////////////////////////////////////////////////////////////////////////////////////////////////////////////////////////////////////////////////////////////////////////////////////AgABAP///////wUAAAACABAAC/K3lh13KCJEv1374/IJg04EAAAAAAADAAAAAAADAAAAAwADAAEA////////BQAAAAMAEAALX1RrsAlyl0yXzWLCC//XswQAAAABAAMAAAACAAMAAAAEAAQAAgD///////8FAAAABAAQAAsPRWG9wrxORK5GrJMxEj0Z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reWHXcoIkS/Xfvj8gmDTgREYXRhAAUAAAAAAk5hbWUADQAAAExpbmtEYXRhTGlzdAAQVmVyc2lvbgABAAAACUxhc3RXcml0ZQBu6PsrlgEAAAABAP////9hAGEAAAAFX2lkABAAAAAEX1RrsAlyl0yXzWLCC//XswREYXRhAAUAAAAAAk5hbWUADQAAAExpbmtEYXRhTGlzdAAQVmVyc2lvbgAAAAAACUxhc3RXcml0ZQBu6PsrlgEAAAACAP////9wAHAAAAAFX2lkABAAAAAED0VhvcK8TkSuRqyTMRI9GQNEYXRhABYAAAACUGVyc29uYWxJZAABAAAAAAACTmFtZQALAAAAUGVyc29uYWxJZAAQVmVyc2lvbgAAAAAACUxhc3RXcml0ZQCf6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15990860"/>
  <p:tag name="EMPOWERCHARTSPROPERTIES_B_LENGTH" val="24576"/>
  <p:tag name="DOWN_MIGRATION_INITIAL_LAYOUT_REQUIRED" val="9.2.99"/>
  <p:tag name="RUNTIME_ID" val="7b8b458e-e311-4ec5-82f4-3d1129650612"/>
</p:tagLst>
</file>

<file path=ppt/tags/tag14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wD///////////////////////////////////////////////////////////////////////////////////////////////////////////////////////////////////////////////////////////////////////////////////////////////////////////////////////////////////////////////////////////////////////////////////////////////////////////////////////////////////////////////////////////////////////////////////////////////////////////////////////////////////////////////////////////////////////////////////////////////8BACAA////////////////AAAO////////AwAAAAMA////////////////////////////////////////////////////////////////////////////////////////////////////////////////////////////////////////////////////////////////////////////////////////////////////////////////////////////////////////////////////////////////////////////////////////////////////////////////////////////////////////////////////////////////////////////////////////////////////////////////////////////////////////////////////////////////////////////////////////////////////////////////////////AgABAP///////wUAAAACABAAC2jrA7k0OL5HnH3z9ruNiQ8EAAAAAAADAAAABAADAAAAAwADAAIA////////BQAAAAMAEAALnE736gaAs0qXMnlLAtY31AQAAAABAAMAAAACAAMAAAABAAMAAAAAAP///////wQAAQD///////8FAAAABAAQAAvWnuVCIhwoSIXiGVXLs/JT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OsDuTQ4vkecffP2u42JDwREYXRhAAUAAAAAAk5hbWUADQAAAExpbmtEYXRhTGlzdAAQVmVyc2lvbgAAAAAACUxhc3RXcml0ZQBG1/srlgEAAAABAP////9hAGEAAAAFX2lkABAAAAAEnE736gaAs0qXMnlLAtY31AREYXRhAAUAAAAAAk5hbWUADQAAAExpbmtEYXRhTGlzdAAQVmVyc2lvbgABAAAACUxhc3RXcml0ZQBf1/srlgEAAAACAP////9wAHAAAAAFX2lkABAAAAAE1p7lQiIcKEiF4hlVy7PyUwNEYXRhABYAAAACUGVyc29uYWxJZAABAAAAAAACTmFtZQALAAAAUGVyc29uYWxJZAAQVmVyc2lvbgAAAAAACUxhc3RXcml0ZQCx1/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72702889"/>
  <p:tag name="EMPOWERCHARTSPROPERTIES_B_LENGTH" val="24576"/>
  <p:tag name="DOWN_MIGRATION_INITIAL_LAYOUT_REQUIRED" val="9.2.99"/>
  <p:tag name="RUNTIME_ID" val="2484390a-9e23-4f51-bde6-5d14879d4b73"/>
</p:tagLst>
</file>

<file path=ppt/tags/tag1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cBAQEBAQEBAQEBAQEBAQMAAAAAAAAAAwAAAAMAAAAA/////wUA2gsAAAAAAAAAAAAAIAD///////////////8AAAD///////////////8DAAAAAgD///////8DAAAAAgD///////8DAAAAAwD///////8DAAAAAwD///////8DAAAAAwD///////////////////////////////////////////////////////////////////////////////////////////////////////////////////////////////////////////////////////////////////////////////////////////////////////////////////////////////////////////////////////////////////////////////////////////////////////////////////////////////////////////////////////////////////////////////////////////////////////////////////////////////////////////////8BACAA////////////////AAAO////////AwAAAAQA////////////////////////////////////////////////////////////////////////////////////////////////////////////////////////////////////////////////////////////////////////////////////////////////////////////////////////////////////////////////////////////////////////////////////////////////////////////////////////////////////////////////////////////////////////////////////////////////////////////////////////////////////////////////////////////////////////////////////////////////////////////////////////AgACAP///////wUAAAACABAACzWIHLGOHLJDnXCn3DQkJdYEAAAAAAADAAAAAAADAAAAAwADAAAAAAADAAAAAwADAAUA////////BQAAAAMAEAALn+Ye8OKbjk6iC9aNVzJKPAQAAAABAAMAAAACAAMAAAAEAAMAAAACAP///////wMAAAAAAP///////wMAAAAAAP///////wMAAAAAAP///////wQAAQD///////8FAAAABAAQAAuhtC3wNE2JTbQdu7tc1He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YgcsY4cskOdcKfcNCQl1gREYXRhAAUAAAAAAk5hbWUADQAAAExpbmtEYXRhTGlzdAAQVmVyc2lvbgABAAAACUxhc3RXcml0ZQDS4/srlgEAAAABAP////9hAGEAAAAFX2lkABAAAAAEn+Ye8OKbjk6iC9aNVzJKPAREYXRhAAUAAAAAAk5hbWUADQAAAExpbmtEYXRhTGlzdAAQVmVyc2lvbgAAAAAACUxhc3RXcml0ZQDH4/srlgEAAAACAP////9wAHAAAAAFX2lkABAAAAAEobQt8DRNiU20Hbu7XNR3hgNEYXRhABYAAAACUGVyc29uYWxJZAABAAAAAAACTmFtZQALAAAAUGVyc29uYWxJZAAQVmVyc2lvbgAAAAAACUxhc3RXcml0ZQAG5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aCwAAAAAAAAAAAAAgAf///////////////wAAAP///////////////wUAAAADAP///////wUAAAADAP///////wUAAAADAP///////wUAAAADAP///////wUAAAADAP///////wUAAAAEAP///////wUAAAAEAP///////////////////////////////////////////////////////////////////////////////////////////////////////////////////////////////////////////////////////////////////////////////////////////////////////////////////////////////////////////////////////////////////////////////////////////////////////////////////////////////////////////////////////////////////////////////////////////////////////////////wEAIAH///////////////8AAA7///////8FAAAABAD///////////////////////////////////////////////////////////////////////////////////////////////////////////////////////////////////////////////////////////////////////////////////////////////////////////////////////////////////////////////////////////////////////////////////////////////////////////////////////////////////////////////////////////////////////////////////////////////////////////////////////////////////////////////////////////////////////////////////////////////////////////////////////8CAAIBAwAAAAIA////////DgAGTGlua0RhdGFMaXN0XzEEAAAAAAAFAAAAAwAFAAAABAAFAAAAAwAFAAAABAADAAUBAwAAAAMA////////DgAGTGlua0RhdGFMaXN0XzAEAAAAAQAFAAAAAAAFAAAAAgAFAAAAAAAFAAAAAgAFAAAAAAAFAAAABAAFAAAAAAAFAAAABAAFAAAAAAAFAAAABAAEAAcBAwAAAAQA////////DAAGUGVyc29uYWxJZF8wBAAAAAIABQAAAAIABQAAAAEABQAAAAIA////////BQAAAAMA////////BQAAAAM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04236025"/>
  <p:tag name="EMPOWERCHARTSPROPERTIES_B_LENGTH" val="24576"/>
  <p:tag name="DOWN_MIGRATION_INITIAL_LAYOUT_REQUIRED" val="9.2.99"/>
  <p:tag name="RUNTIME_ID" val="a218d4e3-632a-451a-9200-9daa25624d50"/>
</p:tagLst>
</file>

<file path=ppt/tags/tag1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2gsAAAAAAAAAAAAAIAD///////////////8AAAD///////////////8DAAAAAgD///////8DAAAABAD///////8DAAAABAD///////8DAAAABAD///////8DAAAABAD///////8DAAAABAD///////////////////////////////////////////////////////////////////////////////////////////////////////////////////////////////////////////////////////////////////////////////////////////////////////////////////////////////////////////////////////////////////////////////////////////////////////////////////////////////////////////////////////////////////////////////////////////////////////////////////////////////8BACAA////////////////AAAO////////AwAAAAQA////////////////////////////////////////////////////////////////////////////////////////////////////////////////////////////////////////////////////////////////////////////////////////////////////////////////////////////////////////////////////////////////////////////////////////////////////////////////////////////////////////////////////////////////////////////////////////////////////////////////////////////////////////////////////////////////////////////////////////////////////////////////////////AgABAP///////wUAAAACABAAC0LYPCS6QwlOkSTjdVlr0IgEAAAAAAADAAAAAAADAAAAAwADAAEA////////BQAAAAMAEAALaibpgG7U6Eq8DmHkDh4YlAQAAAABAAMAAAACAAMAAAAEAAQABgD///////8FAAAABAAQAAtfnBr9dvrNT6kvtWGju6BlBAAAAAIAAwAAAAMAAwAAAAE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tg8JLpDCU6RJON1WWvQiAREYXRhAAUAAAAAAk5hbWUADQAAAExpbmtEYXRhTGlzdAAQVmVyc2lvbgAAAAAACUxhc3RXcml0ZQBe5PsrlgEAAAABAP////9hAGEAAAAFX2lkABAAAAAEaibpgG7U6Eq8DmHkDh4YlAREYXRhAAUAAAAAAk5hbWUADQAAAExpbmtEYXRhTGlzdAAQVmVyc2lvbgABAAAACUxhc3RXcml0ZQBh5PsrlgEAAAACAP////9wAHAAAAAFX2lkABAAAAAEX5wa/Xb6zU+pL7Vho7ugZQNEYXRhABYAAAACUGVyc29uYWxJZAABAAAAAAACTmFtZQALAAAAUGVyc29uYWxJZAAQVmVyc2lvbgAAAAAACUxhc3RXcml0ZQCT5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05629004"/>
  <p:tag name="EMPOWERCHARTSPROPERTIES_B_LENGTH" val="24576"/>
  <p:tag name="DOWN_MIGRATION_INITIAL_LAYOUT_REQUIRED" val="9.2.99"/>
  <p:tag name="RUNTIME_ID" val="87c255eb-e71b-450f-beea-9b982f6a05ff"/>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yAA2R74E+5MheP6aVL5gQ8EAAAAAAADAAAAAAADAAAABAADAAMA////////BQAAAAMAEAALxE3MrFkA70+o/XxI7N4zSgQAAAABAAMAAAAEAAMAAAABAAMAAAAEAP///////wMAAAAAAP///////wQAAgD///////8FAAAABAAQAAt5AJRdq5eVS4P+pyHwyZlB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ADZHvgT7kyF4/ppUvmBDwREYXRhAAUAAAAAAk5hbWUADQAAAExpbmtEYXRhTGlzdAAQVmVyc2lvbgABAAAACUxhc3RXcml0ZQATrP8rlgEAAAABAP////9hAGEAAAAFX2lkABAAAAAExE3MrFkA70+o/XxI7N4zSgREYXRhAAUAAAAAAk5hbWUADQAAAExpbmtEYXRhTGlzdAAQVmVyc2lvbgAAAAAACUxhc3RXcml0ZQAQrP8rlgEAAAACAP////9wAHAAAAAFX2lkABAAAAAEeQCUXauXlUuD/qch8MmZQQNEYXRhABYAAAACUGVyc29uYWxJZAABAAAAAAACTmFtZQALAAAAUGVyc29uYWxJZAAQVmVyc2lvbgAAAAAACUxhc3RXcml0ZQBPrP8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EBAwAAAAIA////////DgAGTGlua0RhdGFMaXN0XzEEAAAAAAAFAAAAAwAFAAAABAADAAMBAwAAAAMA////////DgAGTGlua0RhdGFMaXN0XzAEAAAAAQAFAAAAAAAFAAAAAgAFAAAAAAAFAAAABAAFAAAAAAAFAAAABAA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6983019948"/>
  <p:tag name="EMPOWERCHARTSPROPERTIES_B_LENGTH" val="24576"/>
  <p:tag name="DOWN_MIGRATION_INITIAL_LAYOUT_REQUIRED" val="9.2.99"/>
  <p:tag name="RUNTIME_ID" val="b126566b-03c3-4471-9ae9-e9664d85972a"/>
</p:tagLst>
</file>

<file path=ppt/tags/tag14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BAP///////wUAAAACABAACyzOy1fE8f9AlX5Y9tArrT4EAAAAAAADAAAABAADAAAAAwADAAIA////////BQAAAAMAEAALN1SE1f1oH0eps8uu03b4EAQAAAABAAMAAAACAAMAAAABAAMAAAAEAP///////wQAAgD///////8FAAAABAAQAAsylvtAmielRaSTW9bTH8lk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M7LV8Tx/0CVflj20CutPgREYXRhAAUAAAAAAk5hbWUADQAAAExpbmtEYXRhTGlzdAAQVmVyc2lvbgAAAAAACUxhc3RXcml0ZQC+rP8rlgEAAAABAP////9hAGEAAAAFX2lkABAAAAAEN1SE1f1oH0eps8uu03b4EAREYXRhAAUAAAAAAk5hbWUADQAAAExpbmtEYXRhTGlzdAAQVmVyc2lvbgABAAAACUxhc3RXcml0ZQDCrP8rlgEAAAACAP////9wAHAAAAAFX2lkABAAAAAEMpb7QJonpUWkk1vW0x/JZANEYXRhABYAAAACUGVyc29uYWxJZAABAAAAAAACTmFtZQALAAAAUGVyc29uYWxJZAAQVmVyc2lvbgAAAAAACUxhc3RXcml0ZQDyrP8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6984612781"/>
  <p:tag name="EMPOWERCHARTSPROPERTIES_B_LENGTH" val="24576"/>
  <p:tag name="DOWN_MIGRATION_INITIAL_LAYOUT_REQUIRED" val="9.2.99"/>
  <p:tag name="RUNTIME_ID" val="5929df7d-50b7-43cb-bfa9-e6de2567df32"/>
</p:tagLst>
</file>

<file path=ppt/tags/tag1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8gsAAAAAAAAAAAAAIAD///////////////8AAAD///////////////8DAAAAAgD///////8DAAAAAgD///////8DAAAABAD///////////////////////////////////////////////////////////////////////////////////////////////////////////////////////////////////////////////////////////////////////////////////////////////////////////////////////////////////////////////////////////////////////////////////////////////////////////////////////////////////////////////////////////////////////////////////////////////////////////////////////////////////////////////////////////////////////////////8BACAA////////////////AAAO////////AwAAAAQA////////////////////////////////////////////////////////////////////////////////////////////////////////////////////////////////////////////////////////////////////////////////////////////////////////////////////////////////////////////////////////////////////////////////////////////////////////////////////////////////////////////////////////////////////////////////////////////////////////////////////////////////////////////////////////////////////////////////////////////////////////////////////////AgACAP///////wUAAAACABAAC/RApSXigcNBmUpRxuMu+2oEAAAAAAADAAAAAAADAAAAAwADAAAAAAADAAAABAADAAEA////////BQAAAAMAEAALv99fsRXBV0GPZLG+c9/tYQQAAAABAAMAAAACAAMAAAAEAAQAAwD///////8FAAAABAAQAAvJW0H7DbUcR5d8DW5yb9EWBAAAAAIAAwAAAAMAAwAAAAE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EClJeKBw0GZSlHG4y77agREYXRhAAUAAAAAAk5hbWUADQAAAExpbmtEYXRhTGlzdAAQVmVyc2lvbgABAAAACUxhc3RXcml0ZQBCrf8rlgEAAAABAP////9hAGEAAAAFX2lkABAAAAAEv99fsRXBV0GPZLG+c9/tYQREYXRhAAUAAAAAAk5hbWUADQAAAExpbmtEYXRhTGlzdAAQVmVyc2lvbgAAAAAACUxhc3RXcml0ZQBBrf8rlgEAAAACAP////9wAHAAAAAFX2lkABAAAAAEyVtB+w21HEeXfA1ucm/RFgNEYXRhABYAAAACUGVyc29uYWxJZAABAAAAAAACTmFtZQALAAAAUGVyc29uYWxJZAAQVmVyc2lvbgAAAAAACUxhc3RXcml0ZQB8rf8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6986075512"/>
  <p:tag name="EMPOWERCHARTSPROPERTIES_B_LENGTH" val="24576"/>
  <p:tag name="DOWN_MIGRATION_INITIAL_LAYOUT_REQUIRED" val="9.2.99"/>
  <p:tag name="RUNTIME_ID" val="856f14e4-911e-45bb-a5df-7f56286d991f"/>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0iOgB1OdU9Dnb6nsQ+ax4sEAAAAAAADAAAAAAADAAAABAADAAMA////////BQAAAAMAEAALTYVqhahqv0SPJQlAj9ScnwQAAAABAAMAAAAEAAMAAAABAAMAAAAEAP///////wMAAAAAAP///////wQAAgD///////8FAAAABAAQAAvSpzxWmkHzTaRxVNcOV4IU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I6AHU51T0OdvqexD5rHiwREYXRhAAUAAAAAAk5hbWUADQAAAExpbmtEYXRhTGlzdAAQVmVyc2lvbgAAAAAACUxhc3RXcml0ZQBCVuLRmAEAAAABAP////9hAGEAAAAFX2lkABAAAAAETYVqhahqv0SPJQlAj9ScnwREYXRhAAUAAAAAAk5hbWUADQAAAExpbmtEYXRhTGlzdAAQVmVyc2lvbgABAAAACUxhc3RXcml0ZQBCVuLRmAEAAAACAP////9wAHAAAAAFX2lkABAAAAAE0qc8VppB802kcVTXDleCFANEYXRhABYAAAACUGVyc29uYWxJZAABAAAAAAACTmFtZQALAAAAUGVyc29uYWxJZAAQVmVyc2lvbgAAAAAACUxhc3RXcml0ZQBSVu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0e0f9986-182a-4715-8247-d9f97a3c6f01"/>
  <p:tag name="DOWN_MIGRATION_INITIAL_LAYOUT_REQUIRED" val="9.2.99"/>
  <p:tag name="EMPOWERCHARTSPROPERTIES_LASTWRITEDATE" val="638914647281556994"/>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zgsAAAAAAAAAAAAAIAD///////////////8AAAD///////////////8DAAAAAgD///////8DAAAAAgD///////8DAAAAAgD///////8DAAAAAwD///////8DAAAAAwD///////////////////////////////////////////////////////////////////////////////////////////////////////////////////////////////////////////////////////////////////////////////////////////////////////////////////////////////////////////////////////////////////////////////////////////////////////////////////////////////////////////////////////////////////////////////////////////////////////////////////////////////////////////////8BACAA////////////////AAAO////////AwAAAAQA////////////////////////////////////////////////////////////////////////////////////////////////////////////////////////////////////////////////////////////////////////////////////////////////////////////////////////////////////////////////////////////////////////////////////////////////////////////////////////////////////////////////////////////////////////////////////////////////////////////////////////////////////////////////////////////////////////////////////////////////////////////////////////AgADAP///////wUAAAACABAAC3/FGzcCuQhKmunNFFXXKbcEAAAAAAADAAAAAAADAAAAAwADAAAAAAADAAAAAwADAAAAAAADAAAAAwADAAUA////////BQAAAAMAEAALXxq/O/Jbf022kdizEXpTFwQAAAABAAMAAAACAAMAAAAEAAMAAAACAP///////wMAAAACAP///////wMAAAAAAP///////wMAAAAAAP///////wQAAQD///////8FAAAABAAQAAvdzFDvzW+aQqlW1BCNE/D4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8UbNwK5CEqa6c0UVdcptwREYXRhAAUAAAAAAk5hbWUADQAAAExpbmtEYXRhTGlzdAAQVmVyc2lvbgAAAAAACUxhc3RXcml0ZQBBNtDRmAEAAAABAP////9hAGEAAAAFX2lkABAAAAAEXxq/O/Jbf022kdizEXpTFwREYXRhAAUAAAAAAk5hbWUADQAAAExpbmtEYXRhTGlzdAAQVmVyc2lvbgABAAAACUxhc3RXcml0ZQBBNtDRmAEAAAACAP////9wAHAAAAAFX2lkABAAAAAE3cxQ781vmkKpVtQQjRPw+ANEYXRhABYAAAACUGVyc29uYWxJZAABAAAAAAACTmFtZQALAAAAUGVyc29uYWxJZAAQVmVyc2lvbgAAAAAACUxhc3RXcml0ZQBMNtD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CAP///////wUAAAACAP///////wUAAAACAP///////wUAAAADAP///////wUAAAADAP///////////////////////////////////////////////////////////////////////////////////////////////////////////////////////////////////////////////////////////////////////////////////////////////////////////////////////////////////////////////////////////////////////////////////////////////////////////////////////////////////////////////////////////////////////////////////////////////////////////////////////////////////////////////wEAIAH///////////////8AAA7///////8FAAAABAD///////////////////////////////////////////////////////////////////////////////////////////////////////////////////////////////////////////////////////////////////////////////////////////////////////////////////////////////////////////////////////////////////////////////////////////////////////////////////////////////////////////////////////////////////////////////////////////////////////////////////////////////////////////////////////////////////////////////////////////////////////////////////////8CAAMBAwAAAAIA////////DgAGTGlua0RhdGFMaXN0XzAEAAAAAAAFAAAAAAAFAAAAAwAFAAAAAAAFAAAAAwAFAAAAAAAFAAAAAwADAAUBAwAAAAMA////////DgAGTGlua0RhdGFMaXN0XzEEAAAAAQAFAAAAAgAFAAAABAAFAAAAAgAFAAAABAAFAAAAAgD///////8FAAAAAAD///////8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64b174ca-ad78-45c7-ba59-2487ea568582"/>
  <p:tag name="DOWN_MIGRATION_INITIAL_LAYOUT_REQUIRED" val="9.2.99"/>
  <p:tag name="EMPOWERCHARTSPROPERTIES_LASTWRITEDATE" val="638914635403094441"/>
</p:tagLst>
</file>

<file path=ppt/tags/tag151.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wD///////////////////////////////////////////////////////////////////////////////////////////////////////////////////////////////////////////////////////////////////////////////////////////////////////////////////////////////////////////////////////////////////////////////////////////////////////////////////////////////////////////////////////////////////////////////////////////////////////////////////////////////////////////////////////////////////////////////8BACAA////////////////AAAO////////AwAAAAMA////////////////////////////////////////////////////////////////////////////////////////////////////////////////////////////////////////////////////////////////////////////////////////////////////////////////////////////////////////////////////////////////////////////////////////////////////////////////////////////////////////////////////////////////////////////////////////////////////////////////////////////////////////////////////////////////////////////////////////////////////////////////////////AgACAP///////wUAAAACABAACywYEwMlzM9OmzK1yXuZKXwEAAAAAAADAAAAAAADAAAABAADAAAAAAADAAAAAwADAAMA////////BQAAAAMAEAALMJKO9tGCJECBEjt50h5RfgQAAAABAAMAAAAEAAMAAAABAAMAAAACAP///////wMAAAAAAP///////wQAAQD///////8FAAAABAAQAAuCbdTc3L6NRKedpJFi24gC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BgTAyXMz06bMrXJe5kpfAREYXRhAAUAAAAAAk5hbWUADQAAAExpbmtEYXRhTGlzdAAQVmVyc2lvbgABAAAACUxhc3RXcml0ZQCQVuLRmAEAAAABAP////9hAGEAAAAFX2lkABAAAAAEMJKO9tGCJECBEjt50h5RfgREYXRhAAUAAAAAAk5hbWUADQAAAExpbmtEYXRhTGlzdAAQVmVyc2lvbgAAAAAACUxhc3RXcml0ZQCPVuLRmAEAAAACAP////9wAHAAAAAFX2lkABAAAAAEgm3U3Ny+jUSnnaSRYtuIAgNEYXRhABYAAAACUGVyc29uYWxJZAABAAAAAAACTmFtZQALAAAAUGVyc29uYWxJZAAQVmVyc2lvbgAAAAAACUxhc3RXcml0ZQCbVu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eed58355-88fa-41b8-99ae-b958a2b06f5f"/>
  <p:tag name="DOWN_MIGRATION_INITIAL_LAYOUT_REQUIRED" val="9.2.99"/>
  <p:tag name="EMPOWERCHARTSPROPERTIES_LASTWRITEDATE" val="638914647282298827"/>
</p:tagLst>
</file>

<file path=ppt/tags/tag152.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2gsAAAAAAAAAAAAAIAD///////////////8AAAD///////////////8DAAAAAgD///////8DAAAAAgD///////8DAAAAAwD///////8DAAAAAwD///////8DAAAAAwD///////////////////////////////////////////////////////////////////////////////////////////////////////////////////////////////////////////////////////////////////////////////////////////////////////////////////////////////////////////////////////////////////////////////////////////////////////////////////////////////////////////////////////////////////////////////////////////////////////////////////////////////////////////////8BACAA////////////////AAAO////////AwAAAAMA////////////////////////////////////////////////////////////////////////////////////////////////////////////////////////////////////////////////////////////////////////////////////////////////////////////////////////////////////////////////////////////////////////////////////////////////////////////////////////////////////////////////////////////////////////////////////////////////////////////////////////////////////////////////////////////////////////////////////////////////////////////////////////AgACAP///////wUAAAACABAAC7+F9TK587lBgD0gITn3qa0EAAAAAAADAAAAAAADAAAABAADAAAAAAADAAAAAwADAAUA////////BQAAAAMAEAALbunHZJB8/0+795SpoVQ8LwQAAAABAAMAAAAEAAMAAAABAAMAAAACAP///////wMAAAAAAP///////wMAAAAAAP///////wMAAAAAAP///////wQAAQD///////8FAAAABAAQAAuQkplFnkChSoHDo78Vwahy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4X1MrnzuUGAPSAhOfeprQREYXRhAAUAAAAAAk5hbWUADQAAAExpbmtEYXRhTGlzdAAQVmVyc2lvbgABAAAACUxhc3RXcml0ZQAVV+LRmAEAAAABAP////9hAGEAAAAFX2lkABAAAAAEbunHZJB8/0+795SpoVQ8LwREYXRhAAUAAAAAAk5hbWUADQAAAExpbmtEYXRhTGlzdAAQVmVyc2lvbgAAAAAACUxhc3RXcml0ZQATV+LRmAEAAAACAP////9wAHAAAAAFX2lkABAAAAAEkJKZRZ5AoUqBw6O/FcGocgNEYXRhABYAAAACUGVyc29uYWxJZAABAAAAAAACTmFtZQALAAAAUGVyc29uYWxJZAAQVmVyc2lvbgAAAAAACUxhc3RXcml0ZQAgV+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UAAAADAP///////////////////////////////////////////////////////////////////////////////////////////////////////////////////////////////////////////////////////////////////////////////////////////////////////////////////////////////////////////////////////////////////////////////////////////////////////////////////////////////////////////////////////////////////////////////////////////////////////////////////////////////////////////////wEAIAH///////////////8AAA7///////8FAAAABAD///////////////////////////////////////////////////////////////////////////////////////////////////////////////////////////////////////////////////////////////////////////////////////////////////////////////////////////////////////////////////////////////////////////////////////////////////////////////////////////////////////////////////////////////////////////////////////////////////////////////////////////////////////////////////////////////////////////////////////////////////////////////////////8CAAIBAwAAAAIA////////DgAGTGlua0RhdGFMaXN0XzEEAAAAAAAFAAAAAwAFAAAABAAFAAAAAwD///////8DAAUBAwAAAAMA////////DgAGTGlua0RhdGFMaXN0XzAEAAAAAQAFAAAAAAAFAAAAAg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6a0f1bfb-816b-431e-9c08-f259aace4163"/>
  <p:tag name="DOWN_MIGRATION_INITIAL_LAYOUT_REQUIRED" val="9.2.99"/>
  <p:tag name="EMPOWERCHARTSPROPERTIES_LASTWRITEDATE" val="638914647283613869"/>
</p:tagLst>
</file>

<file path=ppt/tags/tag153.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BAD///////////////////////////////////////////////////////////////////////////////////////////////////////////////////////////////////////////////////////////////////////////////////////////////////////////////////////////////////////////////////////////////////////////////////////////////////////////////////////////////////////////////////////////////////////////////////////////////////////////////////////////////////////////////////////////////////////////////////////////////////////////////8BACAA////////////////AAAO////////AwAAAAMA////////////////////////////////////////////////////////////////////////////////////////////////////////////////////////////////////////////////////////////////////////////////////////////////////////////////////////////////////////////////////////////////////////////////////////////////////////////////////////////////////////////////////////////////////////////////////////////////////////////////////////////////////////////////////////////////////////////////////////////////////////////////////////AgABAP///////wUAAAACABAACyUc3UQJUG1Dvysngp3aRrkEAAAAAAADAAAABAADAAAAAwADAAEA////////BQAAAAMAEAALfjuN6UeZS0aN3g0pXO8OPQQAAAABAAMAAAACAAMAAAABAAQAAQD///////8FAAAABAAQAAtqbNAaCqY+Tq9hOgG3susi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RzdRAlQbUO/KyeCndpGuQREYXRhAAUAAAAAAk5hbWUADQAAAExpbmtEYXRhTGlzdAAQVmVyc2lvbgAAAAAACUxhc3RXcml0ZQAxV+LRmAEAAAABAP////9hAGEAAAAFX2lkABAAAAAEfjuN6UeZS0aN3g0pXO8OPQREYXRhAAUAAAAAAk5hbWUADQAAAExpbmtEYXRhTGlzdAAQVmVyc2lvbgABAAAACUxhc3RXcml0ZQAxV+LRmAEAAAACAP////9wAHAAAAAFX2lkABAAAAAEamzQGgqmPk6vYToBt7LrIgNEYXRhABYAAAACUGVyc29uYWxJZAABAAAAAAACTmFtZQALAAAAUGVyc29uYWxJZAAQVmVyc2lvbgAAAAAACUxhc3RXcml0ZQA8V+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15183495-b4a7-4dc3-a48c-ce54f9832fe7"/>
  <p:tag name="DOWN_MIGRATION_INITIAL_LAYOUT_REQUIRED" val="9.2.99"/>
  <p:tag name="EMPOWERCHARTSPROPERTIES_LASTWRITEDATE" val="638914647283898998"/>
</p:tagLst>
</file>

<file path=ppt/tags/tag154.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8gsAAAAAAAAAAAAAIAD///////////////8AAAD///////////////8DAAAABAD///////8DAAAABAD///////////////////////////////////////////////////////////////////////////////////////////////////////////////////////////////////////////////////////////////////////////////////////////////////////////////////////////////////////////////////////////////////////////////////////////////////////////////////////////////////////////////////////////////////////////////////////////////////////////////////////////////////////////////////////////////////////////////////////////////8BACAA////////////////AAAO////////AwAAAAMA////////////////////////////////////////////////////////////////////////////////////////////////////////////////////////////////////////////////////////////////////////////////////////////////////////////////////////////////////////////////////////////////////////////////////////////////////////////////////////////////////////////////////////////////////////////////////////////////////////////////////////////////////////////////////////////////////////////////////////////////////////////////////////AgACAP///////wUAAAACABAAC521zb/Qv5tHpdPnieX6z3wEAAAAAAADAAAABAADAAAAAwADAAAABAADAAAAAwADAAIA////////BQAAAAMAEAALbf4U7lGQ/0uJQUN5sckoCgQAAAABAAMAAAACAAMAAAABAAMAAAACAP///////wQAAgD///////8FAAAABAAQAAv55hEMkrsAT5zINjcGbxDw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bXNv9C/m0el0+eJ5frPfAREYXRhAAUAAAAAAk5hbWUADQAAAExpbmtEYXRhTGlzdAAQVmVyc2lvbgAAAAAACUxhc3RXcml0ZQB/V+LRmAEAAAABAP////9hAGEAAAAFX2lkABAAAAAEbf4U7lGQ/0uJQUN5sckoCgREYXRhAAUAAAAAAk5hbWUADQAAAExpbmtEYXRhTGlzdAAQVmVyc2lvbgABAAAACUxhc3RXcml0ZQB/V+LRmAEAAAACAP////9wAHAAAAAFX2lkABAAAAAE+eYRDJK7AE+cyDY3Bm8Q8ANEYXRhABYAAAACUGVyc29uYWxJZAABAAAAAAACTmFtZQALAAAAUGVyc29uYWxJZAAQVmVyc2lvbgAAAAAACUxhc3RXcml0ZQCLV+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EAP///////////////////////////////////////////////////////////////////////////////////////////////////////////////////////////////////////////////////////////////////////////////////////////////////////////////////////////////////////////////////////////////////////////////////////////////////////////////////////////////////////////////////////////////////////////////////////////////////////////////////////////////////////////////////////////////////////////////wEAIAH///////////////8AAA7///////8FAAAABAD///////////////////////////////////////////////////////////////////////////////////////////////////////////////////////////////////////////////////////////////////////////////////////////////////////////////////////////////////////////////////////////////////////////////////////////////////////////////////////////////////////////////////////////////////////////////////////////////////////////////////////////////////////////////////////////////////////////////////////////////////////////////////////8CAAIBAwAAAAIA////////DgAGTGlua0RhdGFMaXN0XzAEAAAAAAAFAAAAAAAFAAAAAwAFAAAAAAAFAAAAAwADAAIBAwAAAAMA////////DgAGTGlua0RhdGFMaXN0XzEEAAAAAQAFAAAAAgAFAAAABAAFAAAAAgAFAAAABAAEAAMBAwAAAAQA////////DAAGUGVyc29uYWxJZF8wBAAAAAIABQAAAAM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8148e754-1250-4ff9-9613-ea1c0db09f4b"/>
  <p:tag name="DOWN_MIGRATION_INITIAL_LAYOUT_REQUIRED" val="9.2.99"/>
  <p:tag name="EMPOWERCHARTSPROPERTIES_LASTWRITEDATE" val="638914647284710820"/>
</p:tagLst>
</file>

<file path=ppt/tags/tag155.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gBAQEBAQEBAQEBAQEBAQMAAAAAAAAAAwAAAAMAAAAA/////wUAtgsAAAAAAAAAAAAAIAD///////////////8AAAD///////////////8DAAAAAgD///////8DAAAABAD///////8DAAAAAwD///////8DAAAAAwD///////8DAAAAAwD///////8DAAAAAwD///////8DAAAAAwD///////8DAAAAAwD///////////////////////////////////////////////////////////////////////////////////////////////////////////////////////////////////////////////////////////////////////////////////////////////////////////////////////////////////////////////////////////////////////////////////////////////////////////////////////////////////////////////////////////////////////////////////////////////8BACAA////////////////AAAO////////AwAAAAMA////////////////////////////////////////////////////////////////////////////////////////////////////////////////////////////////////////////////////////////////////////////////////////////////////////////////////////////////////////////////////////////////////////////////////////////////////////////////////////////////////////////////////////////////////////////////////////////////////////////////////////////////////////////////////////////////////////////////////////////////////////////////////////AgABAP///////wUAAAACABAACz/SaRKh0RNAhuzkUpqgt7MEAAAAAAADAAAAAAADAAAABAADAAgA////////BQAAAAMAEAALCC269YmWqk66IpnyNIwhXgQAAAABAAMAAAAEAAMAAAABAAMAAAAEAP///////wMAAAAAAP///////wMAAAAAAP///////wMAAAAAAP///////wMAAAAAAP///////wMAAAAAAP///////wMAAAAAAP///////wQAAgD///////8FAAAABAAQAAv3b/JEf/rrSohnx58u0h6N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9JpEqHRE0CG7ORSmqC3swREYXRhAAUAAAAAAk5hbWUADQAAAExpbmtEYXRhTGlzdAAQVmVyc2lvbgAAAAAACUxhc3RXcml0ZQCgV+LRmAEAAAABAP////9hAGEAAAAFX2lkABAAAAAECC269YmWqk66IpnyNIwhXgREYXRhAAUAAAAAAk5hbWUADQAAAExpbmtEYXRhTGlzdAAQVmVyc2lvbgABAAAACUxhc3RXcml0ZQChV+LRmAEAAAACAP////9wAHAAAAAFX2lkABAAAAAE92/yRH/660qIZ8efLtIejQNEYXRhABYAAAACUGVyc29uYWxJZAABAAAAAAACTmFtZQALAAAAUGVyc29uYWxJZAAQVmVyc2lvbgAAAAAACUxhc3RXcml0ZQCrV+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OCwAAAAAAAAAAAAAgAf///////////////wAAAP///////////////wUAAAACAP///////wUAAAADAP///////wUAAAADAP///////wUAAAADAP///////wUAAAADAP///////wUAAAADAP///////wUAAAADAP///////wUAAAADAP///////////////////////////////////////////////////////////////////////////////////////////////////////////////////////////////////////////////////////////////////////////////////////////////////////////////////////////////////////////////////////////////////////////////////////////////////////////////////////////////////////////////////////////////////////////////////////////////wEAIAH///////////////8AAA7///////8FAAAABAD///////////////////////////////////////////////////////////////////////////////////////////////////////////////////////////////////////////////////////////////////////////////////////////////////////////////////////////////////////////////////////////////////////////////////////////////////////////////////////////////////////////////////////////////////////////////////////////////////////////////////////////////////////////////////////////////////////////////////////////////////////////////////////8CAAEBAwAAAAIA////////DgAGTGlua0RhdGFMaXN0XzAEAAAAAAAFAAAAAAAFAAAAAwADAAgBAwAAAAMA////////DgAGTGlua0RhdGFMaXN0XzEEAAAAAQAFAAAAAgAFAAAABAAFAAAAAAAFAAAABAAFAAAAAAAFAAAABAAFAAAAAAAFAAAABAAFAAAAAAAFAAAABAAFAAAAAAAFAAAABAAFAAAAAAD///////8FAAAAAAD///////8EAAYBAwAAAAQA////////DAAGUGVyc29uYWxJZF8wBAAAAAIABQAAAAMABQAAAAEABQAAAAMA////////BQAAAAMA////////BQAAAAM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2384ae67-6d5b-4c5c-9593-322a919b893a"/>
  <p:tag name="DOWN_MIGRATION_INITIAL_LAYOUT_REQUIRED" val="9.2.99"/>
  <p:tag name="EMPOWERCHARTSPROPERTIES_LASTWRITEDATE" val="638914647285010836"/>
</p:tagLst>
</file>

<file path=ppt/tags/tag156.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33G2GdT/gRDnmlS6qcR96kEAAAAAAADAAAAAAADAAAAAwADAAAAAAD///////8DAAEA////////BQAAAAMAEAALJ5UoitkSUEOVPqKeFayMawQAAAABAAMAAAACAAMAAAAEAAQAAQD///////8FAAAABAAQAAs3odqRDspsQqJqe35LwPO9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cbYZ1P+BEOeaVLqpxH3qQREYXRhAAUAAAAAAk5hbWUADQAAAExpbmtEYXRhTGlzdAAQVmVyc2lvbgABAAAACUxhc3RXcml0ZQDkV+LRmAEAAAABAP////9hAGEAAAAFX2lkABAAAAAEJ5UoitkSUEOVPqKeFayMawREYXRhAAUAAAAAAk5hbWUADQAAAExpbmtEYXRhTGlzdAAQVmVyc2lvbgAAAAAACUxhc3RXcml0ZQDjV+LRmAEAAAACAP////9wAHAAAAAFX2lkABAAAAAEN6HakQ7KbEKiant+S8DzvQNEYXRhABYAAAACUGVyc29uYWxJZAABAAAAAAACTmFtZQALAAAAUGVyc29uYWxJZAAQVmVyc2lvbgAAAAAACUxhc3RXcml0ZQDuV+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412866bb-66be-46f7-9e83-5fd83e7e969e"/>
  <p:tag name="DOWN_MIGRATION_INITIAL_LAYOUT_REQUIRED" val="9.2.99"/>
  <p:tag name="EMPOWERCHARTSPROPERTIES_LASTWRITEDATE" val="638914647285669401"/>
</p:tagLst>
</file>

<file path=ppt/tags/tag157.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BAD///////8DAAAABAD///////////////////////////////////////////////////////////////////////////////////////////////////////////////////////////////////////////////////////////////////////////////////////////////////////////////////////////////////////////////////////////////////////////////////////////////////////////////////////////////////////////////////////////////////////////////////////////////////////////////////////////////////////////////////////////////////////////////////////////////8BACAA////////////////AAAO////////AwAAAAMA////////////////////////////////////////////////////////////////////////////////////////////////////////////////////////////////////////////////////////////////////////////////////////////////////////////////////////////////////////////////////////////////////////////////////////////////////////////////////////////////////////////////////////////////////////////////////////////////////////////////////////////////////////////////////////////////////////////////////////////////////////////////////////AgACAP///////wUAAAACABAACzcht83eyrRPi2BV3WoF84UEAAAAAAADAAAABAADAAAAAwADAAAABAADAAAAAwADAAIA////////BQAAAAMAEAALtEuR8dzwWEmZi9vrzZf9fwQAAAABAAMAAAACAAMAAAABAAMAAAACAP///////wQAAgD///////8FAAAABAAQAAvJ4XKLVfU6TK2uhnVyo1Uh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yG3zd7KtE+LYFXdagXzhQREYXRhAAUAAAAAAk5hbWUADQAAAExpbmtEYXRhTGlzdAAQVmVyc2lvbgAAAAAACUxhc3RXcml0ZQD+V+LRmAEAAAABAP////9hAGEAAAAFX2lkABAAAAAEtEuR8dzwWEmZi9vrzZf9fwREYXRhAAUAAAAAAk5hbWUADQAAAExpbmtEYXRhTGlzdAAQVmVyc2lvbgABAAAACUxhc3RXcml0ZQD+V+LRmAEAAAACAP////9wAHAAAAAFX2lkABAAAAAEyeFyi1X1OkytroZ1cqNVIQNEYXRhABYAAAACUGVyc29uYWxJZAABAAAAAAACTmFtZQALAAAAUGVyc29uYWxJZAAQVmVyc2lvbgAAAAAACUxhc3RXcml0ZQAJWO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EAIAH///////////////8AAA7///////8FAAAABAD///////////////////////////////////////////////////////////////////////////////////////////////////////////////////////////////////////////////////////////////////////////////////////////////////////////////////////////////////////////////////////////////////////////////////////////////////////////////////////////////////////////////////////////////////////////////////////////////////////////////////////////////////////////////////////////////////////////////////////////////////////////////////////8CAAIBAwAAAAIA////////DgAGTGlua0RhdGFMaXN0XzAEAAAAAAAFAAAAAAAFAAAAAwAFAAAAAAAFAAAAAwADAAIBAwAAAAMA////////DgAGTGlua0RhdGFMaXN0XzEEAAAAAQAFAAAAAgAFAAAABAAFAAAAAg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75d133d3-46a9-4f8b-9564-9b4718f695e8"/>
  <p:tag name="DOWN_MIGRATION_INITIAL_LAYOUT_REQUIRED" val="9.2.99"/>
  <p:tag name="EMPOWERCHARTSPROPERTIES_LASTWRITEDATE" val="638914647285959454"/>
</p:tagLst>
</file>

<file path=ppt/tags/tag158.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wD///////////////////////////////////////////////////////////////////////////////////////////////////////////////////////////////////////////////////////////////////////////////////////////////////////////////////////////////////////////////////////////////////////////////////////////////////////////////////////////////////////////////////////////////////////////////////////////////////////////////////////////////////////////////////////////////////////////////////////////////8BACAA////////////////AAAO////////AwAAAAQA////////////////////////////////////////////////////////////////////////////////////////////////////////////////////////////////////////////////////////////////////////////////////////////////////////////////////////////////////////////////////////////////////////////////////////////////////////////////////////////////////////////////////////////////////////////////////////////////////////////////////////////////////////////////////////////////////////////////////////////////////////////////////////AgABAP///////wUAAAACABAAC7ZyJRkQ9/xBpx6yQF/9eSUEAAAAAAADAAAAAAADAAAAAwADAAIA////////BQAAAAMAEAALHHr7RiokqkuiZI/fFVIkfwQAAAABAAMAAAACAAMAAAAEAAMAAAAAAAMAAAAEAAQAAgD///////8FAAAABAAQAAsYdde562gLT4DH6ZUlacwW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nIlGRD3/EGnHrJAX/15JQREYXRhAAUAAAAAAk5hbWUADQAAAExpbmtEYXRhTGlzdAAQVmVyc2lvbgABAAAACUxhc3RXcml0ZQA8WOLRmAEAAAABAP////9hAGEAAAAFX2lkABAAAAAEHHr7RiokqkuiZI/fFVIkfwREYXRhAAUAAAAAAk5hbWUADQAAAExpbmtEYXRhTGlzdAAQVmVyc2lvbgAAAAAACUxhc3RXcml0ZQA3WOLRmAEAAAACAP////9wAHAAAAAFX2lkABAAAAAEGHXXuetoC0+Ax+mVJWnMFgNEYXRhABYAAAACUGVyc29uYWxJZAABAAAAAAACTmFtZQALAAAAUGVyc29uYWxJZAAQVmVyc2lvbgAAAAAACUxhc3RXcml0ZQBIWO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abe5eed9-edd1-4ffd-9f55-eb72cb6231be"/>
  <p:tag name="DOWN_MIGRATION_INITIAL_LAYOUT_REQUIRED" val="9.2.99"/>
  <p:tag name="EMPOWERCHARTSPROPERTIES_LASTWRITEDATE" val="638914647286589451"/>
</p:tagLst>
</file>

<file path=ppt/tags/tag159.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2gsAAAAAAAAAAAAAIAD///////////////8AAAD///////////////8DAAAABAD///////8DAAAABAD///////8DAAAAAwD///////8DAAAAAwD///////////////////////////////////////////////////////////////////////////////////////////////////////////////////////////////////////////////////////////////////////////////////////////////////////////////////////////////////////////////////////////////////////////////////////////////////////////////////////////////////////////////////////////////////////////////////////////////////////////////////////////////////////////////////////////////8BACAA////////////////AAAO////////AwAAAAMA////////////////////////////////////////////////////////////////////////////////////////////////////////////////////////////////////////////////////////////////////////////////////////////////////////////////////////////////////////////////////////////////////////////////////////////////////////////////////////////////////////////////////////////////////////////////////////////////////////////////////////////////////////////////////////////////////////////////////////////////////////////////////////AgACAP///////wUAAAACABAAC8uwULyLqwhMk/UB1eFrsTAEAAAAAAADAAAABAADAAAAAwADAAAABAADAAAAAwADAAQA////////BQAAAAMAEAALICtexOVPNkinNDAfqhtbEAQAAAABAAMAAAACAAMAAAABAAMAAAACAP///////wMAAAAAAP///////wMAAAAAAP///////wQAAgD///////8FAAAABAAQAAs4g8UUIh6yRK7/BHysBw+9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7BQvIurCEyT9QHV4WuxMAREYXRhAAUAAAAAAk5hbWUADQAAAExpbmtEYXRhTGlzdAAQVmVyc2lvbgABAAAACUxhc3RXcml0ZQBdWOLRmAEAAAABAP////9hAGEAAAAFX2lkABAAAAAEICtexOVPNkinNDAfqhtbEAREYXRhAAUAAAAAAk5hbWUADQAAAExpbmtEYXRhTGlzdAAQVmVyc2lvbgAAAAAACUxhc3RXcml0ZQBdWOLRmAEAAAACAP////9wAHAAAAAFX2lkABAAAAAEOIPFFCIeskSu/wR8rAcPvQNEYXRhABYAAAACUGVyc29uYWxJZAABAAAAAAACTmFtZQALAAAAUGVyc29uYWxJZAAQVmVyc2lvbgAAAAAACUxhc3RXcml0ZQBnWO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1b1545a7-2d6f-4ec7-bfb6-3f7506e5626c"/>
  <p:tag name="DOWN_MIGRATION_INITIAL_LAYOUT_REQUIRED" val="9.2.99"/>
  <p:tag name="EMPOWERCHARTSPROPERTIES_LASTWRITEDATE" val="638914647286880260"/>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wD///////////////////////////////////////////////////////////////////////////////////////////////////////////////////////////////////////////////////////////////////////////////////////////////////////////////////////////////////////////////////////////////////////////////////////////////////////////////////////////////////////////////////////////////////////////////////////////////////////////////////////////////////////////////////////////////////////////////8BACAA////////////////AAAO////////AwAAAAQA////////////////////////////////////////////////////////////////////////////////////////////////////////////////////////////////////////////////////////////////////////////////////////////////////////////////////////////////////////////////////////////////////////////////////////////////////////////////////////////////////////////////////////////////////////////////////////////////////////////////////////////////////////////////////////////////////////////////////////////////////////////////////////AgACAP///////wUAAAACABAACyyZ3TA0d+RDubH+gsbOacQEAAAAAAADAAAAAAADAAAAAwADAAAAAAADAAAAAwADAAMA////////BQAAAAMAEAALNRU2rhyHUk+Zd5j2FpkRzwQAAAABAAMAAAACAAMAAAAEAAMAAAACAP///////wMAAAAAAP///////wQAAQD///////8FAAAABAAQAAtfXcTvaNWFRa35+gUUBze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JndMDR35EO5sf6Cxs5pxAREYXRhAAUAAAAAAk5hbWUADQAAAExpbmtEYXRhTGlzdAAQVmVyc2lvbgAAAAAACUxhc3RXcml0ZQDUWOLRmAEAAAABAP////9hAGEAAAAFX2lkABAAAAAENRU2rhyHUk+Zd5j2FpkRzwREYXRhAAUAAAAAAk5hbWUADQAAAExpbmtEYXRhTGlzdAAQVmVyc2lvbgABAAAACUxhc3RXcml0ZQDUWOLRmAEAAAACAP////9wAHAAAAAFX2lkABAAAAAEX13E72jVhUWt+foFFAc3oANEYXRhABYAAAACUGVyc29uYWxJZAABAAAAAAACTmFtZQALAAAAUGVyc29uYWxJZAAQVmVyc2lvbgAAAAAACUxhc3RXcml0ZQDfWO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DAP///////////////////////////////////////////////////////////////////////////////////////////////////////////////////////////////////////////////////////////////////////////////////////////////////////////////////////////////////////////////////////////////////////////////////////////////////////////////////////////////////////////////////////////////////////////////////////////////////////////////////////////////////////////////////////////////////////////////wEAIAH///////////////8AAA7///////8FAAAABAD///////////////////////////////////////////////////////////////////////////////////////////////////////////////////////////////////////////////////////////////////////////////////////////////////////////////////////////////////////////////////////////////////////////////////////////////////////////////////////////////////////////////////////////////////////////////////////////////////////////////////////////////////////////////////////////////////////////////////////////////////////////////////////8CAAIBAwAAAAIA////////DgAGTGlua0RhdGFMaXN0XzAEAAAAAAAFAAAAAAAFAAAAAwAFAAAAAAAFAAAAAwADAAMBAwAAAAMA////////DgAGTGlua0RhdGFMaXN0XzEEAAAAAQAFAAAAAgAFAAAABAAFAAAAAg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40a8eb92-32fb-4293-bbea-1357c59c1b43"/>
  <p:tag name="DOWN_MIGRATION_INITIAL_LAYOUT_REQUIRED" val="9.2.99"/>
  <p:tag name="EMPOWERCHARTSPROPERTIES_LASTWRITEDATE" val="638914647288070894"/>
</p:tagLst>
</file>

<file path=ppt/tags/tag161.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QA////////////////////////////////////////////////////////////////////////////////////////////////////////////////////////////////////////////////////////////////////////////////////////////////////////////////////////////////////////////////////////////////////////////////////////////////////////////////////////////////////////////////////////////////////////////////////////////////////////////////////////////////////////////////////////////////////////////////////////////////////////////////////////AgABAP///////wUAAAACABAAC5FWEJYjtWBBof4mlLEipRIEAAAAAAADAAAAAAADAAAAAwADAAEA////////BQAAAAMAEAAL6QY+3Qeahka9lH5gSBdTuQQAAAABAAMAAAACAAMAAAAEAAQAAQD///////8FAAAABAAQAAsCszHx/K/xRbAf8sCbDXhE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VYQliO1YEGh/iaUsSKlEgREYXRhAAUAAAAAAk5hbWUADQAAAExpbmtEYXRhTGlzdAAQVmVyc2lvbgAAAAAACUxhc3RXcml0ZQDzWOLRmAEAAAABAP////9hAGEAAAAFX2lkABAAAAAE6QY+3Qeahka9lH5gSBdTuQREYXRhAAUAAAAAAk5hbWUADQAAAExpbmtEYXRhTGlzdAAQVmVyc2lvbgABAAAACUxhc3RXcml0ZQDzWOLRmAEAAAACAP////9wAHAAAAAFX2lkABAAAAAEArMx8fyv8UWwH/LAmw14RANEYXRhABYAAAACUGVyc29uYWxJZAABAAAAAAACTmFtZQALAAAAUGVyc29uYWxJZAAQVmVyc2lvbgAAAAAACUxhc3RXcml0ZQD+WO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4666572c-87ae-43c7-8646-44e583f425d0"/>
  <p:tag name="DOWN_MIGRATION_INITIAL_LAYOUT_REQUIRED" val="9.2.99"/>
  <p:tag name="EMPOWERCHARTSPROPERTIES_LASTWRITEDATE" val="638914647288396450"/>
</p:tagLst>
</file>

<file path=ppt/tags/tag162.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2gsAAAAAAAAAAAAAIAD///////////////8AAAD///////////////8DAAAABAD///////8DAAAABAD///////8DAAAAAgD///////////////////////////////////////////////////////////////////////////////////////////////////////////////////////////////////////////////////////////////////////////////////////////////////////////////////////////////////////////////////////////////////////////////////////////////////////////////////////////////////////////////////////////////////////////////////////////////////////////////////////////////////////////////////////////////////////////////8BACAA////////////////AAAO////////AwAAAAMA////////////////////////////////////////////////////////////////////////////////////////////////////////////////////////////////////////////////////////////////////////////////////////////////////////////////////////////////////////////////////////////////////////////////////////////////////////////////////////////////////////////////////////////////////////////////////////////////////////////////////////////////////////////////////////////////////////////////////////////////////////////////////////AgADAP///////wUAAAACABAACxIBsZ5ihI5LjIg4rJTOu/4EAAAAAAADAAAABAADAAAAAwADAAAABAADAAAAAwADAAAAAAADAAAAAwADAAMA////////BQAAAAMAEAAL6gzh1qmbs0+BbGGtCzWa7QQAAAABAAMAAAACAAMAAAABAAMAAAACAP///////wMAAAACAP///////wQAAgD///////8FAAAABAAQAAvds01UB+FcRI/N2DJtHITD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gGxnmKEjkuMiDislM67/gREYXRhAAUAAAAAAk5hbWUADQAAAExpbmtEYXRhTGlzdAAQVmVyc2lvbgAAAAAACUxhc3RXcml0ZQATWeLRmAEAAAABAP////9hAGEAAAAFX2lkABAAAAAE6gzh1qmbs0+BbGGtCzWa7QREYXRhAAUAAAAAAk5hbWUADQAAAExpbmtEYXRhTGlzdAAQVmVyc2lvbgABAAAACUxhc3RXcml0ZQATWeLRmAEAAAACAP////9wAHAAAAAFX2lkABAAAAAE3bNNVAfhXESPzdgybRyEwwNEYXRhABYAAAACUGVyc29uYWxJZAABAAAAAAACTmFtZQALAAAAUGVyc29uYWxJZAAQVmVyc2lvbgAAAAAACUxhc3RXcml0ZQAdWe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EAIAH///////////////8AAA7///////8FAAAABAD///////////////////////////////////////////////////////////////////////////////////////////////////////////////////////////////////////////////////////////////////////////////////////////////////////////////////////////////////////////////////////////////////////////////////////////////////////////////////////////////////////////////////////////////////////////////////////////////////////////////////////////////////////////////////////////////////////////////////////////////////////////////////////8CAAMBAwAAAAIA////////DgAGTGlua0RhdGFMaXN0XzAEAAAAAAAFAAAAAAAFAAAAAwAFAAAAAAAFAAAAAwAFAAAAAAAFAAAAAwADAAMBAwAAAAMA////////DgAGTGlua0RhdGFMaXN0XzEEAAAAAQAFAAAAAgAFAAAABAAFAAAAAgD///////8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f70b918a-928e-45f9-8fa6-cbf00e82fc5c"/>
  <p:tag name="DOWN_MIGRATION_INITIAL_LAYOUT_REQUIRED" val="9.2.99"/>
  <p:tag name="EMPOWERCHARTSPROPERTIES_LASTWRITEDATE" val="638914647288721586"/>
</p:tagLst>
</file>

<file path=ppt/tags/tag163.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wD///////////////////////////////////////////////////////////////////////////////////////////////////////////////////////////////////////////////////////////////////////////////////////////////////////////////////////////////////////////////////////////////////////////////////////////////////////////////////////////////////////////////////////////////////////////////////////////////////////////////////////////////////////////////////////////////////////////////////////////////8BACAA////////////////AAAO////////AwAAAAQA////////////////////////////////////////////////////////////////////////////////////////////////////////////////////////////////////////////////////////////////////////////////////////////////////////////////////////////////////////////////////////////////////////////////////////////////////////////////////////////////////////////////////////////////////////////////////////////////////////////////////////////////////////////////////////////////////////////////////////////////////////////////////////AgABAP///////wUAAAACABAACwheh2zQqChMlKldeydvA/MEAAAAAAADAAAAAAADAAAAAwADAAIA////////BQAAAAMAEAALHH1DsAx1akOG/EO2Yd9KkAQAAAABAAMAAAACAAMAAAAEAAMAAAAAAAMAAAAEAAQAAgD///////8FAAAABAAQAAvjrVv+H/XFR6FgWQNCqmNB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F6HbNCoKEyUqV17J28D8wREYXRhAAUAAAAAAk5hbWUADQAAAExpbmtEYXRhTGlzdAAQVmVyc2lvbgAAAAAACUxhc3RXcml0ZQA0WeLRmAEAAAABAP////9hAGEAAAAFX2lkABAAAAAEHH1DsAx1akOG/EO2Yd9KkAREYXRhAAUAAAAAAk5hbWUADQAAAExpbmtEYXRhTGlzdAAQVmVyc2lvbgABAAAACUxhc3RXcml0ZQA0WeLRmAEAAAACAP////9wAHAAAAAFX2lkABAAAAAE461b/h/1xUehYFkDQqpjQQNEYXRhABYAAAACUGVyc29uYWxJZAABAAAAAAACTmFtZQALAAAAUGVyc29uYWxJZAAQVmVyc2lvbgAAAAAACUxhc3RXcml0ZQBCWe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ff872c37-0eac-4ec2-8801-46ff85253325"/>
  <p:tag name="DOWN_MIGRATION_INITIAL_LAYOUT_REQUIRED" val="9.2.99"/>
  <p:tag name="EMPOWERCHARTSPROPERTIES_LASTWRITEDATE" val="638914647289081545"/>
</p:tagLst>
</file>

<file path=ppt/tags/tag164.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zgsAAAAAAAAAAAAAIAD///////////////8AAAD///////////////8DAAAAAgD///////8DAAAAAgD///////8DAAAAAwD///////8DAAAAAwD///////8DAAAAAwD///////8DAAAAAwD///////////////////////////////////////////////////////////////////////////////////////////////////////////////////////////////////////////////////////////////////////////////////////////////////////////////////////////////////////////////////////////////////////////////////////////////////////////////////////////////////////////////////////////////////////////////////////////////////////////////////////////////8BACAA////////////////AAAO////////AwAAAAQA////////////////////////////////////////////////////////////////////////////////////////////////////////////////////////////////////////////////////////////////////////////////////////////////////////////////////////////////////////////////////////////////////////////////////////////////////////////////////////////////////////////////////////////////////////////////////////////////////////////////////////////////////////////////////////////////////////////////////////////////////////////////////////AgACAP///////wUAAAACABAAC1tFpgc0mc1PsWOjp/6GdagEAAAAAAADAAAAAAADAAAAAwADAAAAAAADAAAAAwADAAYA////////BQAAAAMAEAALxcJEQgCqrky12ImgQKfwYwQAAAABAAMAAAACAAMAAAAEAAMAAAACAP///////wMAAAAAAP///////wMAAAAAAP///////wMAAAAAAP///////wMAAAAAAP///////wQAAQD///////8FAAAABAAQAAu51yTfvuo9TIUU0t4KlKj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0WmBzSZzU+xY6On/oZ1qAREYXRhAAUAAAAAAk5hbWUADQAAAExpbmtEYXRhTGlzdAAQVmVyc2lvbgAAAAAACUxhc3RXcml0ZQBYWeLRmAEAAAABAP////9hAGEAAAAFX2lkABAAAAAExcJEQgCqrky12ImgQKfwYwREYXRhAAUAAAAAAk5hbWUADQAAAExpbmtEYXRhTGlzdAAQVmVyc2lvbgABAAAACUxhc3RXcml0ZQBYWeLRmAEAAAACAP////9wAHAAAAAFX2lkABAAAAAEudck377qPUyFFNLeCpSoyANEYXRhABYAAAACUGVyc29uYWxJZAABAAAAAAACTmFtZQALAAAAUGVyc29uYWxJZAAQVmVyc2lvbgAAAAAACUxhc3RXcml0ZQBkWe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CAP///////wUAAAACAP///////wUAAAADAP///////wUAAAADAP///////wUAAAADAP///////wUAAAADAP///////////////////////////////////////////////////////////////////////////////////////////////////////////////////////////////////////////////////////////////////////////////////////////////////////////////////////////////////////////////////////////////////////////////////////////////////////////////////////////////////////////////////////////////////////////////////////////////////////////////////////////////wEAIAH///////////////8AAA7///////8FAAAABAD///////////////////////////////////////////////////////////////////////////////////////////////////////////////////////////////////////////////////////////////////////////////////////////////////////////////////////////////////////////////////////////////////////////////////////////////////////////////////////////////////////////////////////////////////////////////////////////////////////////////////////////////////////////////////////////////////////////////////////////////////////////////////////8CAAIBAwAAAAIA////////DgAGTGlua0RhdGFMaXN0XzAEAAAAAAAFAAAAAAAFAAAAAwAFAAAAAAAFAAAAAwADAAYBAwAAAAMA////////DgAGTGlua0RhdGFMaXN0XzEEAAAAAQAFAAAAAgAFAAAABAAFAAAAAgAFAAAABAAFAAAAAAAFAAAABAAFAAAAAAD///////8FAAAAAAD///////8FAAAAAAD///////8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bb89fe75-65b3-4983-88c6-a32e6626ad2a"/>
  <p:tag name="DOWN_MIGRATION_INITIAL_LAYOUT_REQUIRED" val="9.2.99"/>
  <p:tag name="EMPOWERCHARTSPROPERTIES_LASTWRITEDATE" val="638914647289411574"/>
</p:tagLst>
</file>

<file path=ppt/tags/tag165.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0iOgB1OdU9Dnb6nsQ+ax4sEAAAAAAADAAAAAAADAAAABAADAAMA////////BQAAAAMAEAALTYVqhahqv0SPJQlAj9ScnwQAAAABAAMAAAAEAAMAAAABAAMAAAAEAP///////wMAAAAAAP///////wQAAgD///////8FAAAABAAQAAvSpzxWmkHzTaRxVNcOV4IU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I6AHU51T0OdvqexD5rHiwREYXRhAAUAAAAAAk5hbWUADQAAAExpbmtEYXRhTGlzdAAQVmVyc2lvbgAAAAAACUxhc3RXcml0ZQBCVuLRmAEAAAABAP////9hAGEAAAAFX2lkABAAAAAETYVqhahqv0SPJQlAj9ScnwREYXRhAAUAAAAAAk5hbWUADQAAAExpbmtEYXRhTGlzdAAQVmVyc2lvbgABAAAACUxhc3RXcml0ZQBCVuLRmAEAAAACAP////9wAHAAAAAFX2lkABAAAAAE0qc8VppB802kcVTXDleCFANEYXRhABYAAAACUGVyc29uYWxJZAABAAAAAAACTmFtZQALAAAAUGVyc29uYWxJZAAQVmVyc2lvbgAAAAAACUxhc3RXcml0ZQBSVu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0e0f9986-182a-4715-8247-d9f97a3c6f01"/>
  <p:tag name="DOWN_MIGRATION_INITIAL_LAYOUT_REQUIRED" val="9.2.99"/>
  <p:tag name="EMPOWERCHARTSPROPERTIES_LASTWRITEDATE" val="638914647281556994"/>
</p:tagLst>
</file>

<file path=ppt/tags/tag166.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0iOgB1OdU9Dnb6nsQ+ax4sEAAAAAAADAAAAAAADAAAABAADAAMA////////BQAAAAMAEAALTYVqhahqv0SPJQlAj9ScnwQAAAABAAMAAAAEAAMAAAABAAMAAAAEAP///////wMAAAAAAP///////wQAAgD///////8FAAAABAAQAAvSpzxWmkHzTaRxVNcOV4IU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I6AHU51T0OdvqexD5rHiwREYXRhAAUAAAAAAk5hbWUADQAAAExpbmtEYXRhTGlzdAAQVmVyc2lvbgAAAAAACUxhc3RXcml0ZQBCVuLRmAEAAAABAP////9hAGEAAAAFX2lkABAAAAAETYVqhahqv0SPJQlAj9ScnwREYXRhAAUAAAAAAk5hbWUADQAAAExpbmtEYXRhTGlzdAAQVmVyc2lvbgABAAAACUxhc3RXcml0ZQBCVuLRmAEAAAACAP////9wAHAAAAAFX2lkABAAAAAE0qc8VppB802kcVTXDleCFANEYXRhABYAAAACUGVyc29uYWxJZAABAAAAAAACTmFtZQALAAAAUGVyc29uYWxJZAAQVmVyc2lvbgAAAAAACUxhc3RXcml0ZQBSVu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0e0f9986-182a-4715-8247-d9f97a3c6f01"/>
  <p:tag name="DOWN_MIGRATION_INITIAL_LAYOUT_REQUIRED" val="9.2.99"/>
  <p:tag name="EMPOWERCHARTSPROPERTIES_LASTWRITEDATE" val="638914647281556994"/>
</p:tagLst>
</file>

<file path=ppt/tags/tag167.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0iOgB1OdU9Dnb6nsQ+ax4sEAAAAAAADAAAAAAADAAAABAADAAMA////////BQAAAAMAEAALTYVqhahqv0SPJQlAj9ScnwQAAAABAAMAAAAEAAMAAAABAAMAAAAEAP///////wMAAAAAAP///////wQAAgD///////8FAAAABAAQAAvSpzxWmkHzTaRxVNcOV4IU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I6AHU51T0OdvqexD5rHiwREYXRhAAUAAAAAAk5hbWUADQAAAExpbmtEYXRhTGlzdAAQVmVyc2lvbgAAAAAACUxhc3RXcml0ZQBCVuLRmAEAAAABAP////9hAGEAAAAFX2lkABAAAAAETYVqhahqv0SPJQlAj9ScnwREYXRhAAUAAAAAAk5hbWUADQAAAExpbmtEYXRhTGlzdAAQVmVyc2lvbgABAAAACUxhc3RXcml0ZQBCVuLRmAEAAAACAP////9wAHAAAAAFX2lkABAAAAAE0qc8VppB802kcVTXDleCFANEYXRhABYAAAACUGVyc29uYWxJZAABAAAAAAACTmFtZQALAAAAUGVyc29uYWxJZAAQVmVyc2lvbgAAAAAACUxhc3RXcml0ZQBSVu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0e0f9986-182a-4715-8247-d9f97a3c6f01"/>
  <p:tag name="DOWN_MIGRATION_INITIAL_LAYOUT_REQUIRED" val="9.2.99"/>
  <p:tag name="EMPOWERCHARTSPROPERTIES_LASTWRITEDATE" val="638914647281556994"/>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x2VP1QfR5dEooZ4TW741dMEAAAAAAADAAAAAAADAAAABAADAAMA////////BQAAAAMAEAALcpFM/Xy+v0+Q8MB+JfdtLgQAAAABAAMAAAAEAAMAAAABAAMAAAAEAP///////wMAAAAEAP///////wQAAwD///////8FAAAABAAQAAt+9Xnded7HTL2WrFsO4Te9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U/VB9Hl0SihnhNbvjV0wREYXRhAAUAAAAAAk5hbWUADQAAAExpbmtEYXRhTGlzdAAQVmVyc2lvbgABAAAACUxhc3RXcml0ZQDgbNsnlwEAAAABAP////9hAGEAAAAFX2lkABAAAAAEcpFM/Xy+v0+Q8MB+JfdtLgREYXRhAAUAAAAAAk5hbWUADQAAAExpbmtEYXRhTGlzdAAQVmVyc2lvbgAAAAAACUxhc3RXcml0ZQC6bNsnlwEAAAACAP////9wAHAAAAAFX2lkABAAAAAEfvV53Xnex0y9lqxbDuE3vQNEYXRhABYAAAACUGVyc29uYWxJZAABAAAAAAACTmFtZQALAAAAUGVyc29uYWxJZAAQVmVyc2lvbgAAAAAACUxhc3RXcml0ZQBqbdsn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3171813308206"/>
  <p:tag name="EMPOWERCHARTSPROPERTIES_B_LENGTH" val="24576"/>
  <p:tag name="DOWN_MIGRATION_INITIAL_LAYOUT_REQUIRED" val="9.2.99"/>
  <p:tag name="RUNTIME_ID" val="5e8e35d2-549c-418f-8e1e-54fee2248cf2"/>
</p:tagLst>
</file>

<file path=ppt/tags/tag18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18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d160ad11-3536-4997-a0a2-b3ef4b82b883"/>
</p:tagLst>
</file>

<file path=ppt/tags/tag18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289d8bc6-b101-4c29-b30f-cd40e37c366e"/>
</p:tagLst>
</file>

<file path=ppt/tags/tag18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92f8de57-06af-4e55-bc69-9ca1fb8082f0"/>
</p:tagLst>
</file>

<file path=ppt/tags/tag18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0506f9a2-69db-4c66-b0da-5e8c8fd614ff"/>
</p:tagLst>
</file>

<file path=ppt/tags/tag18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9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9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9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bd7ee907-4c3d-44dc-a540-034aff206d0b"/>
</p:tagLst>
</file>

<file path=ppt/tags/tag19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f97acecf-21dc-45e4-9374-600105b7ce3e"/>
</p:tagLst>
</file>

<file path=ppt/tags/tag19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b0f3684a-ef51-4c8a-8348-8427f5a28789"/>
</p:tagLst>
</file>

<file path=ppt/tags/tag19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9d2c9028-6318-4382-90f5-f394ccf9b9f0"/>
</p:tagLst>
</file>

<file path=ppt/tags/tag19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x2VP1QfR5dEooZ4TW741dMEAAAAAAADAAAAAAADAAAABAADAAMA////////BQAAAAMAEAALcpFM/Xy+v0+Q8MB+JfdtLgQAAAABAAMAAAAEAAMAAAABAAMAAAAEAP///////wMAAAAEAP///////wQAAwD///////8FAAAABAAQAAt+9Xnded7HTL2WrFsO4Te9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U/VB9Hl0SihnhNbvjV0wREYXRhAAUAAAAAAk5hbWUADQAAAExpbmtEYXRhTGlzdAAQVmVyc2lvbgABAAAACUxhc3RXcml0ZQDgbNsnlwEAAAABAP////9hAGEAAAAFX2lkABAAAAAEcpFM/Xy+v0+Q8MB+JfdtLgREYXRhAAUAAAAAAk5hbWUADQAAAExpbmtEYXRhTGlzdAAQVmVyc2lvbgAAAAAACUxhc3RXcml0ZQC6bNsnlwEAAAACAP////9wAHAAAAAFX2lkABAAAAAEfvV53Xnex0y9lqxbDuE3vQNEYXRhABYAAAACUGVyc29uYWxJZAABAAAAAAACTmFtZQALAAAAUGVyc29uYWxJZAAQVmVyc2lvbgAAAAAACUxhc3RXcml0ZQBqbdsn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3171813308206"/>
  <p:tag name="EMPOWERCHARTSPROPERTIES_B_LENGTH" val="24576"/>
  <p:tag name="DOWN_MIGRATION_INITIAL_LAYOUT_REQUIRED" val="9.2.99"/>
  <p:tag name="RUNTIME_ID" val="b7418064-9bb6-4dc1-9c64-ea612aa93c70"/>
</p:tagLst>
</file>

<file path=ppt/tags/tag19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9807c288-6161-4051-94c0-da56c358c419"/>
</p:tagLst>
</file>

<file path=ppt/tags/tag19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0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0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0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bd7ee907-4c3d-44dc-a540-034aff206d0b"/>
</p:tagLst>
</file>

<file path=ppt/tags/tag20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f97acecf-21dc-45e4-9374-600105b7ce3e"/>
</p:tagLst>
</file>

<file path=ppt/tags/tag20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b0f3684a-ef51-4c8a-8348-8427f5a28789"/>
</p:tagLst>
</file>

<file path=ppt/tags/tag20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9d2c9028-6318-4382-90f5-f394ccf9b9f0"/>
</p:tagLst>
</file>

<file path=ppt/tags/tag20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0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0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2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bd7ee907-4c3d-44dc-a540-034aff206d0b"/>
</p:tagLst>
</file>

<file path=ppt/tags/tag2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f97acecf-21dc-45e4-9374-600105b7ce3e"/>
</p:tagLst>
</file>

<file path=ppt/tags/tag2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12fcd988-e2db-4124-8aa5-0e23d98332f7"/>
</p:tagLst>
</file>

<file path=ppt/tags/tag21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9d2c9028-6318-4382-90f5-f394ccf9b9f0"/>
</p:tagLst>
</file>

<file path=ppt/tags/tag2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2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ab1694a0-358f-493d-9e6a-321e61787211"/>
</p:tagLst>
</file>

<file path=ppt/tags/tag2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77e54842-afb6-447c-816c-e84a2e013bd7"/>
</p:tagLst>
</file>

<file path=ppt/tags/tag2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7d5dfca4-0717-4d56-a019-b094a901fa68"/>
</p:tagLst>
</file>

<file path=ppt/tags/tag2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23f03866-fd0e-41f9-ae6e-e68900b0e9dd"/>
</p:tagLst>
</file>

<file path=ppt/tags/tag2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2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2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2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bd7ee907-4c3d-44dc-a540-034aff206d0b"/>
</p:tagLst>
</file>

<file path=ppt/tags/tag23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af3ed769-1934-496e-af5b-6a072b29ba53"/>
</p:tagLst>
</file>

<file path=ppt/tags/tag23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6e94853b-9fe1-4a9f-b8c1-af4640715351"/>
</p:tagLst>
</file>

<file path=ppt/tags/tag23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fd7fbd03-8fae-441b-b1f7-84245e3d3b85"/>
</p:tagLst>
</file>

<file path=ppt/tags/tag23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3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3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3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3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0928610c-2082-4dfe-8302-987d718c5c80"/>
</p:tagLst>
</file>

<file path=ppt/tags/tag23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c15d8be5-1059-4810-9904-ebbe83bc76e7"/>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e9ee2593-f861-475a-887d-820251c8717f"/>
</p:tagLst>
</file>

<file path=ppt/tags/tag24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6d556002-f579-4c34-8024-50032ce7ad34"/>
</p:tagLst>
</file>

<file path=ppt/tags/tag2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4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4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81ee0e9e-e010-4a93-8e30-ff97eaff95f7"/>
</p:tagLst>
</file>

<file path=ppt/tags/tag2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374eed7d-c12a-4f59-964e-2ec812c1bd6f"/>
</p:tagLst>
</file>

<file path=ppt/tags/tag24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20c8ed32-0812-446f-96d7-34a4f1fc81bb"/>
</p:tagLst>
</file>

<file path=ppt/tags/tag24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ec62bb3c-798d-4b10-9560-df95ce0595c3"/>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5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5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c119f03b-a76f-45b7-b8e0-c0f4b311c301"/>
</p:tagLst>
</file>

<file path=ppt/tags/tag2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6ad65f35-f405-41bf-a809-3f84d76d0575"/>
</p:tagLst>
</file>

<file path=ppt/tags/tag2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101650b8-b3ff-4b58-a5a4-bcdca9cd233c"/>
</p:tagLst>
</file>

<file path=ppt/tags/tag25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80051668-8780-4e3e-b268-7da97a0167dd"/>
</p:tagLst>
</file>

<file path=ppt/tags/tag2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5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6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6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26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bd7ee907-4c3d-44dc-a540-034aff206d0b"/>
</p:tagLst>
</file>

<file path=ppt/tags/tag26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f97acecf-21dc-45e4-9374-600105b7ce3e"/>
</p:tagLst>
</file>

<file path=ppt/tags/tag26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b0f3684a-ef51-4c8a-8348-8427f5a28789"/>
</p:tagLst>
</file>

<file path=ppt/tags/tag26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9d2c9028-6318-4382-90f5-f394ccf9b9f0"/>
</p:tagLst>
</file>

<file path=ppt/tags/tag26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6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6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7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x2VP1QfR5dEooZ4TW741dMEAAAAAAADAAAAAAADAAAABAADAAMA////////BQAAAAMAEAALcpFM/Xy+v0+Q8MB+JfdtLgQAAAABAAMAAAAEAAMAAAABAAMAAAAEAP///////wMAAAAEAP///////wQAAwD///////8FAAAABAAQAAt+9Xnded7HTL2WrFsO4Te9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U/VB9Hl0SihnhNbvjV0wREYXRhAAUAAAAAAk5hbWUADQAAAExpbmtEYXRhTGlzdAAQVmVyc2lvbgABAAAACUxhc3RXcml0ZQDgbNsnlwEAAAABAP////9hAGEAAAAFX2lkABAAAAAEcpFM/Xy+v0+Q8MB+JfdtLgREYXRhAAUAAAAAAk5hbWUADQAAAExpbmtEYXRhTGlzdAAQVmVyc2lvbgAAAAAACUxhc3RXcml0ZQC6bNsnlwEAAAACAP////9wAHAAAAAFX2lkABAAAAAEfvV53Xnex0y9lqxbDuE3vQNEYXRhABYAAAACUGVyc29uYWxJZAABAAAAAAACTmFtZQALAAAAUGVyc29uYWxJZAAQVmVyc2lvbgAAAAAACUxhc3RXcml0ZQBqbdsn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3171813308206"/>
  <p:tag name="EMPOWERCHARTSPROPERTIES_B_LENGTH" val="24576"/>
  <p:tag name="DOWN_MIGRATION_INITIAL_LAYOUT_REQUIRED" val="9.2.99"/>
  <p:tag name="RUNTIME_ID" val="5e8e35d2-549c-418f-8e1e-54fee2248cf2"/>
</p:tagLst>
</file>

<file path=ppt/tags/tag27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27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a781e3c2-8ee5-4321-893a-fea59b54a0e9"/>
</p:tagLst>
</file>

<file path=ppt/tags/tag27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a830beee-b453-444a-97f9-c291705d2c5f"/>
</p:tagLst>
</file>

<file path=ppt/tags/tag27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9b4d6e95-20cb-478f-bb0b-9cf2de2600e5"/>
</p:tagLst>
</file>

<file path=ppt/tags/tag27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c08727fb-5450-4e5c-a7d5-5e908c5e6650"/>
</p:tagLst>
</file>

<file path=ppt/tags/tag27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7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7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8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x2VP1QfR5dEooZ4TW741dMEAAAAAAADAAAAAAADAAAABAADAAMA////////BQAAAAMAEAALcpFM/Xy+v0+Q8MB+JfdtLgQAAAABAAMAAAAEAAMAAAABAAMAAAAEAP///////wMAAAAEAP///////wQAAwD///////8FAAAABAAQAAt+9Xnded7HTL2WrFsO4Te9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U/VB9Hl0SihnhNbvjV0wREYXRhAAUAAAAAAk5hbWUADQAAAExpbmtEYXRhTGlzdAAQVmVyc2lvbgABAAAACUxhc3RXcml0ZQDgbNsnlwEAAAABAP////9hAGEAAAAFX2lkABAAAAAEcpFM/Xy+v0+Q8MB+JfdtLgREYXRhAAUAAAAAAk5hbWUADQAAAExpbmtEYXRhTGlzdAAQVmVyc2lvbgAAAAAACUxhc3RXcml0ZQC6bNsnlwEAAAACAP////9wAHAAAAAFX2lkABAAAAAEfvV53Xnex0y9lqxbDuE3vQNEYXRhABYAAAACUGVyc29uYWxJZAABAAAAAAACTmFtZQALAAAAUGVyc29uYWxJZAAQVmVyc2lvbgAAAAAACUxhc3RXcml0ZQBqbdsn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3171813308206"/>
  <p:tag name="EMPOWERCHARTSPROPERTIES_B_LENGTH" val="24576"/>
  <p:tag name="DOWN_MIGRATION_INITIAL_LAYOUT_REQUIRED" val="9.2.99"/>
  <p:tag name="RUNTIME_ID" val="5e8e35d2-549c-418f-8e1e-54fee2248cf2"/>
</p:tagLst>
</file>

<file path=ppt/tags/tag28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28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d160ad11-3536-4997-a0a2-b3ef4b82b883"/>
</p:tagLst>
</file>

<file path=ppt/tags/tag28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289d8bc6-b101-4c29-b30f-cd40e37c366e"/>
</p:tagLst>
</file>

<file path=ppt/tags/tag28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92f8de57-06af-4e55-bc69-9ca1fb8082f0"/>
</p:tagLst>
</file>

<file path=ppt/tags/tag28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0506f9a2-69db-4c66-b0da-5e8c8fd614ff"/>
</p:tagLst>
</file>

<file path=ppt/tags/tag28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8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8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9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x2VP1QfR5dEooZ4TW741dMEAAAAAAADAAAAAAADAAAABAADAAMA////////BQAAAAMAEAALcpFM/Xy+v0+Q8MB+JfdtLgQAAAABAAMAAAAEAAMAAAABAAMAAAAEAP///////wMAAAAEAP///////wQAAwD///////8FAAAABAAQAAt+9Xnded7HTL2WrFsO4Te9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U/VB9Hl0SihnhNbvjV0wREYXRhAAUAAAAAAk5hbWUADQAAAExpbmtEYXRhTGlzdAAQVmVyc2lvbgABAAAACUxhc3RXcml0ZQDgbNsnlwEAAAABAP////9hAGEAAAAFX2lkABAAAAAEcpFM/Xy+v0+Q8MB+JfdtLgREYXRhAAUAAAAAAk5hbWUADQAAAExpbmtEYXRhTGlzdAAQVmVyc2lvbgAAAAAACUxhc3RXcml0ZQC6bNsnlwEAAAACAP////9wAHAAAAAFX2lkABAAAAAEfvV53Xnex0y9lqxbDuE3vQNEYXRhABYAAAACUGVyc29uYWxJZAABAAAAAAACTmFtZQALAAAAUGVyc29uYWxJZAAQVmVyc2lvbgAAAAAACUxhc3RXcml0ZQBqbdsn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3171813308206"/>
  <p:tag name="EMPOWERCHARTSPROPERTIES_B_LENGTH" val="24576"/>
  <p:tag name="DOWN_MIGRATION_INITIAL_LAYOUT_REQUIRED" val="9.2.99"/>
  <p:tag name="RUNTIME_ID" val="5e8e35d2-549c-418f-8e1e-54fee2248cf2"/>
</p:tagLst>
</file>

<file path=ppt/tags/tag29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29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af892453-6942-4ce3-951b-c619393f5438"/>
</p:tagLst>
</file>

<file path=ppt/tags/tag29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bace8b7b-e507-4c62-95b8-c3a3b1bcdd6d"/>
</p:tagLst>
</file>

<file path=ppt/tags/tag29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bedc390d-6934-48e6-aef8-df095578824b"/>
</p:tagLst>
</file>

<file path=ppt/tags/tag29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f4647b2d-54e8-4e43-8803-bb668eca4f44"/>
</p:tagLst>
</file>

<file path=ppt/tags/tag29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9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9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QBAQEBAQEBAQEBAQEBAQMAAAAAAAAAAwAAAAMAAAAA/////wUAtgsAAAAAAAAAAAAAIAD///////////////8AAAD///////////////8DAAAABAD///////8DAAAABAD///////8DAAAABAD///////8DAAAABAD///////8DAAAABAD///////8DAAAABAD///////////////////////////////////////////////////////////////////////////////////////////////////////////////////////////////////////////////////////////////////////////////////////////////////////////////////////////////////////////////////////////////////////////////////////////////////////////////////////////////////////////////////////////////////////////////////////////////////////////////////////////////8BACAA////////////////AAAO////////AwAAAAMA////////////////////////////////////////////////////////////////////////////////////////////////////////////////////////////////////////////////////////////////////////////////////////////////////////////////////////////////////////////////////////////////////////////////////////////////////////////////////////////////////////////////////////////////////////////////////////////////////////////////////////////////////////////////////////////////////////////////////////////////////////////////////////AgAEAP///////wUAAAACABAAC+9jBI8wQc5Cs96g5+J0nBYEAAAAAAADAAAABAADAAAAAwADAAAABAD///////8DAAAABAD///////8DAAAABAD///////8DAAEA////////BQAAAAMAEAAL4NjR73ym1kmzlY9M3eN3nQQAAAABAAMAAAACAAMAAAABAAQABgD///////8FAAAABAAQAAu/k2hrs1v1S7+CJjgL3r6qBAAAAAIAAwAAAAAAAwAAAAIAAwAAAAAAAwAAAAIAAwAAAAAAAw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72MEjzBBzkKz3qDn4nScFgREYXRhAAUAAAAAAk5hbWUADQAAAExpbmtEYXRhTGlzdAAQVmVyc2lvbgABAAAACUxhc3RXcml0ZQCNMvcrlgEAAAABAP////9hAGEAAAAFX2lkABAAAAAE4NjR73ym1kmzlY9M3eN3nQREYXRhAAUAAAAAAk5hbWUADQAAAExpbmtEYXRhTGlzdAAQVmVyc2lvbgAAAAAACUxhc3RXcml0ZQCGMvcrlgEAAAACAP////9wAHAAAAAFX2lkABAAAAAEv5Noa7Nb9Uu/giY4C96+qgNEYXRhABYAAAACUGVyc29uYWxJZAABAAAAAAACTmFtZQALAAAAUGVyc29uYWxJZAAQVmVyc2lvbgAAAAAACUxhc3RXcml0ZQADM/c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1429890399"/>
  <p:tag name="EMPOWERCHARTSPROPERTIES_B_LENGTH" val="24576"/>
  <p:tag name="DOWN_MIGRATION_INITIAL_LAYOUT_REQUIRED" val="9.2.99"/>
  <p:tag name="RUNTIME_ID" val="5c2461fa-c5bb-48de-8755-9cccbacfcd84"/>
</p:tagLst>
</file>

<file path=ppt/tags/tag4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AgD///////8DAAAAAwD///////////////////////////////////////////////////////////////////////////////////////////////////////////////////////////////////////////////////////////////////////////////////////////////////////////////////////////////////////////////////////////////////////////////////////////////////////////////////////////////////////////////////////////////////////////////////////////////////////////////////////////////////////////////////////////////////////////////8BACAA////////////////AAAO////////AwAAAAMA////////////////////////////////////////////////////////////////////////////////////////////////////////////////////////////////////////////////////////////////////////////////////////////////////////////////////////////////////////////////////////////////////////////////////////////////////////////////////////////////////////////////////////////////////////////////////////////////////////////////////////////////////////////////////////////////////////////////////////////////////////////////////////AgACAP///////wUAAAACABAAC/pMa8C+p+pKuRyYWpKjRpcEAAAAAAADAAAABAADAAAAAwADAAAAAAADAAAAAwADAAMA////////BQAAAAMAEAAL/xWr4nK5e0+Na7XOLxlAGQQAAAABAAMAAAACAAMAAAABAAMAAAACAP///////wMAAAAAAP///////wQAAQD///////8FAAAABAAQAAvhBj2hw7JdQJYoaCcMlk2K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xrwL6n6kq5HJhakqNGlwREYXRhAAUAAAAAAk5hbWUADQAAAExpbmtEYXRhTGlzdAAQVmVyc2lvbgABAAAACUxhc3RXcml0ZQDMM/crlgEAAAABAP////9hAGEAAAAFX2lkABAAAAAE/xWr4nK5e0+Na7XOLxlAGQREYXRhAAUAAAAAAk5hbWUADQAAAExpbmtEYXRhTGlzdAAQVmVyc2lvbgAAAAAACUxhc3RXcml0ZQDIM/crlgEAAAACAP////9wAHAAAAAFX2lkABAAAAAE4QY9ocOyXUCWKGgnDJZNigNEYXRhABYAAAACUGVyc29uYWxJZAABAAAAAAACTmFtZQALAAAAUGVyc29uYWxJZAAQVmVyc2lvbgAAAAAACUxhc3RXcml0ZQAUNPc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1432954117"/>
  <p:tag name="EMPOWERCHARTSPROPERTIES_B_LENGTH" val="24576"/>
  <p:tag name="DOWN_MIGRATION_INITIAL_LAYOUT_REQUIRED" val="9.2.99"/>
  <p:tag name="RUNTIME_ID" val="962da2d8-6d0c-4e38-980e-2bdbfcec0c32"/>
</p:tagLst>
</file>

<file path=ppt/tags/tag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AgD///////8DAAAABAD///////8DAAAABAD///////8DAAAABAD///////8DAAAABAD///////////////////////////////////////////////////////////////////////////////////////////////////////////////////////////////////////////////////////////////////////////////////////////////////////////////////////////////////////////////////////////////////////////////////////////////////////////////////////////////////////////////////////////////////////////////////////////////////////////////////////////////8BACAA////////////////AAAO////////AwAAAAQA////////////////////////////////////////////////////////////////////////////////////////////////////////////////////////////////////////////////////////////////////////////////////////////////////////////////////////////////////////////////////////////////////////////////////////////////////////////////////////////////////////////////////////////////////////////////////////////////////////////////////////////////////////////////////////////////////////////////////////////////////////////////////////AgACAP///////wUAAAACABAAC9JftRcEDDRElKY427EdaKYEAAAAAAADAAAAAAADAAAAAwADAAAAAAADAAAABAADAAEA////////BQAAAAMAEAALwHWcNJH0JUm3hrFJoXgaWQQAAAABAAMAAAACAAMAAAAEAAQABgD///////8FAAAABAAQAAtFtMxn1s1KQp2N2RDZA9L+BAAAAAIAAwAAAAMAAwAAAAEAAwAAAAI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l+1FwQMNESUpjjbsR1opgREYXRhAAUAAAAAAk5hbWUADQAAAExpbmtEYXRhTGlzdAAQVmVyc2lvbgAAAAAACUxhc3RXcml0ZQD4NPcrlgEAAAABAP////9hAGEAAAAFX2lkABAAAAAEwHWcNJH0JUm3hrFJoXgaWQREYXRhAAUAAAAAAk5hbWUADQAAAExpbmtEYXRhTGlzdAAQVmVyc2lvbgABAAAACUxhc3RXcml0ZQAVNfcrlgEAAAACAP////9wAHAAAAAFX2lkABAAAAAERbTMZ9bNSkKdjdkQ2QPS/gNEYXRhABYAAAACUGVyc29uYWxJZAABAAAAAAACTmFtZQALAAAAUGVyc29uYWxJZAAQVmVyc2lvbgAAAAAACUxhc3RXcml0ZQBfNfc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1435827539"/>
  <p:tag name="EMPOWERCHARTSPROPERTIES_B_LENGTH" val="24576"/>
  <p:tag name="DOWN_MIGRATION_INITIAL_LAYOUT_REQUIRED" val="9.2.99"/>
  <p:tag name="RUNTIME_ID" val="210c3790-2a15-4fc6-ba38-3fe8bc664995"/>
</p:tagLst>
</file>

<file path=ppt/tags/tag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wUAtgsAAAAAAAAAAAAAIAD///////////////8AAAD///////////////8DAAAAAgD///////8DAAAAAgD///////8DAAAAAgD///////8DAAAAAwD///////8DAAAAAwD///////8DAAAAAwD///////8DAAAAAwD///////////////////////////////////////////////////////////////////////////////////////////////////////////////////////////////////////////////////////////////////////////////////////////////////////////////////////////////////////////////////////////////////////////////////////////////////////////////////////////////////////////////////////////////////////////////////////////////////////////////8BACAA////////////////AAAO////////AwAAAAMA////////////////////////////////////////////////////////////////////////////////////////////////////////////////////////////////////////////////////////////////////////////////////////////////////////////////////////////////////////////////////////////////////////////////////////////////////////////////////////////////////////////////////////////////////////////////////////////////////////////////////////////////////////////////////////////////////////////////////////////////////////////////////////AgADAP///////wUAAAACABAAC95ScTr6wYJBreZL3CeiuZIEAAAAAAADAAAAAAADAAAABAADAAAAAAADAAAAAwADAAAAAAADAAAAAwADAAcA////////BQAAAAMAEAALi6Yv045NXE+pGJ4si8AdkQQAAAABAAMAAAAEAAMAAAABAAMAAAACAP///////wMAAAACAP///////wMAAAAAAP///////wMAAAAAAP///////wMAAAAAAP///////wMAAAAAAP///////wQAAQD///////8FAAAABAAQAAvdjN16NgHsQIii9aIWN4vj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lJxOvrBgkGt5kvcJ6K5kgREYXRhAAUAAAAAAk5hbWUADQAAAExpbmtEYXRhTGlzdAAQVmVyc2lvbgABAAAACUxhc3RXcml0ZQDYNfcrlgEAAAABAP////9hAGEAAAAFX2lkABAAAAAEi6Yv045NXE+pGJ4si8AdkQREYXRhAAUAAAAAAk5hbWUADQAAAExpbmtEYXRhTGlzdAAQVmVyc2lvbgAAAAAACUxhc3RXcml0ZQDYNfcrlgEAAAACAP////9wAHAAAAAFX2lkABAAAAAE3YzdejYB7ECIovWiFjeL4wNEYXRhABYAAAACUGVyc29uYWxJZAABAAAAAAACTmFtZQALAAAAUGVyc29uYWxJZAAQVmVyc2lvbgAAAAAACUxhc3RXcml0ZQAtNvc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DAP///////wUAAAADAP///////wUAAAADAP///////wUAAAADAP///////wUAAAADAP///////wUAAAADAP///////wUAAAADAP///////////////////////////////////////////////////////////////////////////////////////////////////////////////////////////////////////////////////////////////////////////////////////////////////////////////////////////////////////////////////////////////////////////////////////////////////////////////////////////////////////////////////////////////////////////////////////////////////////////////wEAIAH///////////////8AAA7///////8FAAAABAD///////////////////////////////////////////////////////////////////////////////////////////////////////////////////////////////////////////////////////////////////////////////////////////////////////////////////////////////////////////////////////////////////////////////////////////////////////////////////////////////////////////////////////////////////////////////////////////////////////////////////////////////////////////////////////////////////////////////////////////////////////////////////////8CAAMBAwAAAAIA////////DgAGTGlua0RhdGFMaXN0XzEEAAAAAAAFAAAAAwAFAAAABAAFAAAAAwD///////8FAAAAAwD///////8DAAcBAwAAAAMA////////DgAGTGlua0RhdGFMaXN0XzAEAAAAAQAFAAAAAAAFAAAAAgAFAAAAAAAFAAAAAgAFAAAAAAAFAAAAAgAFAAAAAAD///////8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1438145461"/>
  <p:tag name="EMPOWERCHARTSPROPERTIES_B_LENGTH" val="24576"/>
  <p:tag name="DOWN_MIGRATION_INITIAL_LAYOUT_REQUIRED" val="9.2.99"/>
  <p:tag name="RUNTIME_ID" val="d902aeed-a04a-4bf0-b9cf-6c98f60da89e"/>
</p:tagLst>
</file>

<file path=ppt/tags/tag4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zgsAAAAAAAAAAAAAIAD///////////////8AAAD///////////////8DAAAAAgD///////8DAAAAAgD///////8DAAAAAgD///////8DAAAAAgD///////8DAAAAAgD///////////////////////////////////////////////////////////////////////////////////////////////////////////////////////////////////////////////////////////////////////////////////////////////////////////////////////////////////////////////////////////////////////////////////////////////////////////////////////////////////////////////////////////////////////////////////////////////////////////////////////////////////////////////8BACAA////////////////AAAO////////AwAAAAMA////////////////////////////////////////////////////////////////////////////////////////////////////////////////////////////////////////////////////////////////////////////////////////////////////////////////////////////////////////////////////////////////////////////////////////////////////////////////////////////////////////////////////////////////////////////////////////////////////////////////////////////////////////////////////////////////////////////////////////////////////////////////////////AgAFAP///////wUAAAACABAAC/KMeaRkMPtGhGVtRDghycgEAAAAAAADAAAAAAADAAAABAADAAAAAAADAAAABAADAAAAAAADAAAABAADAAAAAAD///////8DAAAAAAD///////8DAAEA////////BQAAAAMAEAAL1v298/dMn0GSouZdptucoQQAAAABAAMAAAAEAAMAAAABAAQAAwD///////8FAAAABAAQAAs2f/3Fnf/0SJqgl3Vtp55lBAAAAAIAAwAAAAIAAwAAAAM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ox5pGQw+0aEZW1EOCHJyAREYXRhAAUAAAAAAk5hbWUADQAAAExpbmtEYXRhTGlzdAAQVmVyc2lvbgABAAAACUxhc3RXcml0ZQAdN/crlgEAAAABAP////9hAGEAAAAFX2lkABAAAAAE1v298/dMn0GSouZdptucoQREYXRhAAUAAAAAAk5hbWUADQAAAExpbmtEYXRhTGlzdAAQVmVyc2lvbgAAAAAACUxhc3RXcml0ZQAZN/crlgEAAAACAP////9wAHAAAAAFX2lkABAAAAAENn/9xZ3/9EiaoJd1baeeZQNEYXRhABYAAAACUGVyc29uYWxJZAABAAAAAAACTmFtZQALAAAAUGVyc29uYWxJZAAQVmVyc2lvbgAAAAAACUxhc3RXcml0ZQCTN/c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CAP///////wUAAAACAP///////wUAAAACAP///////wUAAAACAP///////////////////////////////////////////////////////////////////////////////////////////////////////////////////////////////////////////////////////////////////////////////////////////////////////////////////////////////////////////////////////////////////////////////////////////////////////////////////////////////////////////////////////////////////////////////////////////////////////////////////////////////////////////////wEAIAH///////////////8AAA7///////8FAAAABAD///////////////////////////////////////////////////////////////////////////////////////////////////////////////////////////////////////////////////////////////////////////////////////////////////////////////////////////////////////////////////////////////////////////////////////////////////////////////////////////////////////////////////////////////////////////////////////////////////////////////////////////////////////////////////////////////////////////////////////////////////////////////////////8CAAUBAwAAAAIA////////DgAGTGlua0RhdGFMaXN0XzEEAAAAAAAFAAAAAwAFAAAABAAFAAAAAAD///////8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1442900172"/>
  <p:tag name="EMPOWERCHARTSPROPERTIES_B_LENGTH" val="24576"/>
  <p:tag name="DOWN_MIGRATION_INITIAL_LAYOUT_REQUIRED" val="9.2.99"/>
  <p:tag name="RUNTIME_ID" val="99af3e08-e577-4fdc-9211-914bd1bc3f96"/>
</p:tagLst>
</file>

<file path=ppt/tags/tag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AgD///////8DAAAAAgD///////8DAAAAAgD///////8DAAAAAgD///////////////////////////////////////////////////////////////////////////////////////////////////////////////////////////////////////////////////////////////////////////////////////////////////////////////////////////////////////////////////////////////////////////////////////////////////////////////////////////////////////////////////////////////////////////////////////////////////////////////////////////////////////////////////////////////8BACAA////////////////AAAO////////AwAAAAQA////////////////////////////////////////////////////////////////////////////////////////////////////////////////////////////////////////////////////////////////////////////////////////////////////////////////////////////////////////////////////////////////////////////////////////////////////////////////////////////////////////////////////////////////////////////////////////////////////////////////////////////////////////////////////////////////////////////////////////////////////////////////////////AgAEAP///////wUAAAACABAACyYa86SZIJNFiNaq/+5pwtsEAAAAAAADAAAAAAADAAAAAwADAAAAAAADAAAABAADAAAAAAADAAAABAADAAAAAAADAAAABAADAAEA////////BQAAAAMAEAALGXRBpeaoiEC6844UHxN3jgQAAAABAAMAAAACAAMAAAAEAAQABAD///////8FAAAABAAQAAtyGpnRE2N0TYZ6GzR+Ot/1BAAAAAIAAwAAAAMAAwAAAAEAAwAAAAI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hrzpJkgk0WI1qr/7mnC2wREYXRhAAUAAAAAAk5hbWUADQAAAExpbmtEYXRhTGlzdAAQVmVyc2lvbgAAAAAACUxhc3RXcml0ZQCTOPcrlgEAAAABAP////9hAGEAAAAFX2lkABAAAAAEGXRBpeaoiEC6844UHxN3jgREYXRhAAUAAAAAAk5hbWUADQAAAExpbmtEYXRhTGlzdAAQVmVyc2lvbgABAAAACUxhc3RXcml0ZQCUOPcrlgEAAAACAP////9wAHAAAAAFX2lkABAAAAAEchqZ0RNjdE2Gehs0fjrf9QNEYXRhABYAAAACUGVyc29uYWxJZAABAAAAAAACTmFtZQALAAAAUGVyc29uYWxJZAAQVmVyc2lvbgAAAAAACUxhc3RXcml0ZQDfOPc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1444828736"/>
  <p:tag name="EMPOWERCHARTSPROPERTIES_B_LENGTH" val="24576"/>
  <p:tag name="DOWN_MIGRATION_INITIAL_LAYOUT_REQUIRED" val="9.2.99"/>
  <p:tag name="RUNTIME_ID" val="7cec9728-29ec-4447-a6dc-77160d9db30f"/>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CAP///////wUAAAACABAACzO0KFUs4m5Ou6l9hWAZPWIEAAAAAAADAAAABAADAAAAAwADAAAABAD///////8DAAEA////////BQAAAAMAEAALiw6/nZsG80ipjwJd+ABR7gQAAAABAAMAAAACAAMAAAABAAQAAgD///////8FAAAABAAQAAuEWycJCvihSqArNHUtC7k3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7QoVSzibk67qX2FYBk9YgREYXRhAAUAAAAAAk5hbWUADQAAAExpbmtEYXRhTGlzdAAQVmVyc2lvbgAAAAAACUxhc3RXcml0ZQCDTMDVmAEAAAABAP////9hAGEAAAAFX2lkABAAAAAEiw6/nZsG80ipjwJd+ABR7gREYXRhAAUAAAAAAk5hbWUADQAAAExpbmtEYXRhTGlzdAAQVmVyc2lvbgABAAAACUxhc3RXcml0ZQCGTMDVmAEAAAACAP////9wAHAAAAAFX2lkABAAAAAEhFsnCQr4oUqgKzR1LQu5NwNEYXRhABYAAAACUGVyc29uYWxJZAABAAAAAAACTmFtZQALAAAAUGVyc29uYWxJZAAQVmVyc2lvbgAAAAAACUxhc3RXcml0ZQCZTMDV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15296063070809"/>
  <p:tag name="EMPOWERCHARTSPROPERTIES_B_LENGTH" val="24576"/>
  <p:tag name="DOWN_MIGRATION_INITIAL_LAYOUT_REQUIRED" val="9.2.99"/>
  <p:tag name="RUNTIME_ID" val="23962b45-f7b0-43b9-9ad9-3a9a7cd95a2f"/>
</p:tagLst>
</file>

<file path=ppt/tags/tag4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wUA2gsAAAAAAAAAAAAAIAD///////////////8AAAD///////////////8DAAAABAD///////8DAAAABAD///////8DAAAABAD///////8DAAAABAD///////////////////////////////////////////////////////////////////////////////////////////////////////////////////////////////////////////////////////////////////////////////////////////////////////////////////////////////////////////////////////////////////////////////////////////////////////////////////////////////////////////////////////////////////////////////////////////////////////////////////////////////////////////////////////////////8BACAA////////////////AAAO////////AwAAAAMA////////////////////////////////////////////////////////////////////////////////////////////////////////////////////////////////////////////////////////////////////////////////////////////////////////////////////////////////////////////////////////////////////////////////////////////////////////////////////////////////////////////////////////////////////////////////////////////////////////////////////////////////////////////////////////////////////////////////////////////////////////////////////////AgABAP///////wUAAAACABAAC5lIzokMzyNCpbxbjWTo8GcEAAAAAAADAAAABAADAAAAAwADAAMA////////BQAAAAMAEAALAxuAwKfnXUCvlSxzY1tADwQAAAABAAMAAAACAAMAAAABAAMAAAAEAP///////wMAAAAEAP///////wQABAD///////8FAAAABAAQAAt7T+AJOxvGSomB5o7x9Ci6BAAAAAIAAwAAAAAAAwAAAAIAAwAAAAAAAwAAAAMAAwAAAAA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UjOiQzPI0KlvFuNZOjwZwREYXRhAAUAAAAAAk5hbWUADQAAAExpbmtEYXRhTGlzdAAQVmVyc2lvbgABAAAACUxhc3RXcml0ZQCwTMDVmAEAAAABAP////9hAGEAAAAFX2lkABAAAAAEAxuAwKfnXUCvlSxzY1tADwREYXRhAAUAAAAAAk5hbWUADQAAAExpbmtEYXRhTGlzdAAQVmVyc2lvbgAAAAAACUxhc3RXcml0ZQCuTMDVmAEAAAACAP////9wAHAAAAAFX2lkABAAAAAEe0/gCTsbxkqJgeaO8fQougNEYXRhABYAAAACUGVyc29uYWxJZAABAAAAAAACTmFtZQALAAAAUGVyc29uYWxJZAAQVmVyc2lvbgAAAAAACUxhc3RXcml0ZQDDTMDV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UAAAADAP///////////////////////////////////////////////////////////////////////////////////////////////////////////////////////////////////////////////////////////////////////////////////////////////////////////////////////////////////////////////////////////////////////////////////////////////////////////////////////////////////////////////////////////////////////////////////////////////////////////////////////////////////////////////////////////////////////////////wEAIAH///////////////8AAA7///////8FAAAABAD///////////////////////////////////////////////////////////////////////////////////////////////////////////////////////////////////////////////////////////////////////////////////////////////////////////////////////////////////////////////////////////////////////////////////////////////////////////////////////////////////////////////////////////////////////////////////////////////////////////////////////////////////////////////////////////////////////////////////////////////////////////////////////8CAAEBAwAAAAIA////////DgAGTGlua0RhdGFMaXN0XzEEAAAAAAAFAAAAAwAFAAAABAADAAMBAwAAAAMA////////DgAGTGlua0RhdGFMaXN0XzAEAAAAAQ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15296063490829"/>
  <p:tag name="EMPOWERCHARTSPROPERTIES_B_LENGTH" val="24576"/>
  <p:tag name="DOWN_MIGRATION_INITIAL_LAYOUT_REQUIRED" val="9.2.99"/>
  <p:tag name="RUNTIME_ID" val="829eb9e8-9869-4edb-b4e1-ea220955766f"/>
</p:tagLst>
</file>

<file path=ppt/tags/tag4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wgsAAAAAAAAAAAAAIAD///////////////8AAAD///////////////8DAAAAAgD///////8DAAAAAgD///////8DAAAAAgD///////8DAAAAAgD///////8DAAAAAgD///////////////////////////////////////////////////////////////////////////////////////////////////////////////////////////////////////////////////////////////////////////////////////////////////////////////////////////////////////////////////////////////////////////////////////////////////////////////////////////////////////////////////////////////////////////////////////////////////////////////////////////////////////////////8BACAA////////////////AAAO////////AwAAAAQA////////////////////////////////////////////////////////////////////////////////////////////////////////////////////////////////////////////////////////////////////////////////////////////////////////////////////////////////////////////////////////////////////////////////////////////////////////////////////////////////////////////////////////////////////////////////////////////////////////////////////////////////////////////////////////////////////////////////////////////////////////////////////////AgAFAP///////wUAAAACABAAC/0dZCMMxUhCqQVkN4QQ3TgEAAAAAAADAAAAAAADAAAAAwADAAAAAAADAAAAAwADAAAAAAADAAAAAwADAAAAAAADAAAAAwADAAAAAAD///////8DAAQA////////BQAAAAMAEAAL16Wfudg8e0Sxm3z4pae1WAQAAAABAAMAAAACAAMAAAAEAAMAAAACAP///////wMAAAACAP///////wMAAAACAP///////wQAAQD///////8FAAAABAAQAAvmTbzMlF9kQJAo5qh99+Us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1kIwzFSEKpBWQ3hBDdOAREYXRhAAUAAAAAAk5hbWUADQAAAExpbmtEYXRhTGlzdAAQVmVyc2lvbgABAAAACUxhc3RXcml0ZQBHEvgrlgEAAAABAP////9hAGEAAAAFX2lkABAAAAAE16Wfudg8e0Sxm3z4pae1WAREYXRhAAUAAAAAAk5hbWUADQAAAExpbmtEYXRhTGlzdAAQVmVyc2lvbgAAAAAACUxhc3RXcml0ZQBCEvgrlgEAAAACAP////9wAHAAAAAFX2lkABAAAAAE5k28zJRfZECQKOaoffflLANEYXRhABYAAAACUGVyc29uYWxJZAABAAAAAAACTmFtZQALAAAAUGVyc29uYWxJZAAQVmVyc2lvbgAAAAAACUxhc3RXcml0ZQCwE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DAP///////wUAAAADAP///////wUAAAADAP///////wUAAAADAP///////wUAAAACAP///////////////////////////////////////////////////////////////////////////////////////////////////////////////////////////////////////////////////////////////////////////////////////////////////////////////////////////////////////////////////////////////////////////////////////////////////////////////////////////////////////////////////////////////////////////////////////////////////////////////////////////////////////////////wEAIAH///////////////8AAA7///////8FAAAABAD///////////////////////////////////////////////////////////////////////////////////////////////////////////////////////////////////////////////////////////////////////////////////////////////////////////////////////////////////////////////////////////////////////////////////////////////////////////////////////////////////////////////////////////////////////////////////////////////////////////////////////////////////////////////////////////////////////////////////////////////////////////////////////8CAAUBAwAAAAIA////////DgAGTGlua0RhdGFMaXN0XzEEAAAAAAAFAAAAAwAFAAAABAAFAAAAAwD///////8FAAAAAwD///////8FAAAAAwD///////8FAAAAAAD///////8DAAQBAwAAAAMA////////DgAGTGlua0RhdGFMaXN0XzAEAAAAAQAFAAAAAAAFAAAAAg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02390789"/>
  <p:tag name="EMPOWERCHARTSPROPERTIES_B_LENGTH" val="24576"/>
  <p:tag name="DOWN_MIGRATION_INITIAL_LAYOUT_REQUIRED" val="9.2.99"/>
  <p:tag name="RUNTIME_ID" val="33056bc4-86e9-483a-8f06-40978de9b80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7TxwzZb6XpMpkUTuaRPthoEAAAAAAADAAAAAAADAAAAAwADAAAAAAADAAAAAwADAAIA////////BQAAAAMAEAALezjEmagcKESWbUcZMtwIlgQAAAABAAMAAAACAAMAAAAEAAMAAAACAP///////wQAAQD///////8FAAAABAAQAAvwr9vvEKF7SI7kTPrHBgbz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PHDNlvpekymRRO5pE+2GgREYXRhAAUAAAAAAk5hbWUADQAAAExpbmtEYXRhTGlzdAAQVmVyc2lvbgABAAAACUxhc3RXcml0ZQB3E/grlgEAAAABAP////9hAGEAAAAFX2lkABAAAAAEezjEmagcKESWbUcZMtwIlgREYXRhAAUAAAAAAk5hbWUADQAAAExpbmtEYXRhTGlzdAAQVmVyc2lvbgAAAAAACUxhc3RXcml0ZQAwE/grlgEAAAACAP////9wAHAAAAAFX2lkABAAAAAE8K/b7xChe0iO5Ez6xwYG8wNEYXRhABYAAAACUGVyc29uYWxJZAABAAAAAAACTmFtZQALAAAAUGVyc29uYWxJZAAQVmVyc2lvbgAAAAAACUxhc3RXcml0ZQDUE/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EAIAH///////////////8AAA7///////8FAAAABAD///////////////////////////////////////////////////////////////////////////////////////////////////////////////////////////////////////////////////////////////////////////////////////////////////////////////////////////////////////////////////////////////////////////////////////////////////////////////////////////////////////////////////////////////////////////////////////////////////////////////////////////////////////////////////////////////////////////////////////////////////////////////////////8CAAIBAwAAAAIA////////DgAGTGlua0RhdGFMaXN0XzEEAAAAAAAFAAAAAwAFAAAABAAFAAAAAwAFAAAABAA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05556840"/>
  <p:tag name="EMPOWERCHARTSPROPERTIES_B_LENGTH" val="24576"/>
  <p:tag name="DOWN_MIGRATION_INITIAL_LAYOUT_REQUIRED" val="9.2.99"/>
  <p:tag name="RUNTIME_ID" val="9073b931-85e5-4606-8d47-6b13e509212e"/>
</p:tagLst>
</file>

<file path=ppt/tags/tag5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BAD///////////////////////////////////////////////////////////////////////////////////////////////////////////////////////////////////////////////////////////////////////////////////////////////////////////////////////////////////////////////////////////////////////////////////////////////////////////////////////////////////////////////////////////////////////////////////////////////////////////////////////////////////////////////////////////////////////////////////////////////////////////////8BACAA////////////////AAAO////////AwAAAAMA////////////////////////////////////////////////////////////////////////////////////////////////////////////////////////////////////////////////////////////////////////////////////////////////////////////////////////////////////////////////////////////////////////////////////////////////////////////////////////////////////////////////////////////////////////////////////////////////////////////////////////////////////////////////////////////////////////////////////////////////////////////////////////AgABAP///////wUAAAACABAAC0rFxOxYik9Bgn/iLSBBG6IEAAAAAAADAAAABAADAAAAAwADAAEA////////BQAAAAMAEAAL3iO87iUf8E2hhAT2JubNuAQAAAABAAMAAAACAAMAAAABAAQAAQD///////8FAAAABAAQAAsywVeMnjUaQLi2r+SD9Uua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sXE7FiKT0GCf+ItIEEbogREYXRhAAUAAAAAAk5hbWUADQAAAExpbmtEYXRhTGlzdAAQVmVyc2lvbgABAAAACUxhc3RXcml0ZQCPFPgrlgEAAAABAP////9hAGEAAAAFX2lkABAAAAAE3iO87iUf8E2hhAT2JubNuAREYXRhAAUAAAAAAk5hbWUADQAAAExpbmtEYXRhTGlzdAAQVmVyc2lvbgAAAAAACUxhc3RXcml0ZQCHFPgrlgEAAAACAP////9wAHAAAAAFX2lkABAAAAAEMsFXjJ41GkC4tq/kg/VLmgNEYXRhABYAAAACUGVyc29uYWxJZAABAAAAAAACTmFtZQALAAAAUGVyc29uYWxJZAAQVmVyc2lvbgAAAAAACUxhc3RXcml0ZQDOFP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07877487"/>
  <p:tag name="EMPOWERCHARTSPROPERTIES_B_LENGTH" val="24576"/>
  <p:tag name="DOWN_MIGRATION_INITIAL_LAYOUT_REQUIRED" val="9.2.99"/>
  <p:tag name="RUNTIME_ID" val="784df67c-2525-4277-b562-730ea0e3da95"/>
</p:tagLst>
</file>

<file path=ppt/tags/tag5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tgsAAAAAAAAAAAAAIAD///////////////8AAAD///////////////8DAAAAAgD///////8DAAAAAgD///////8DAAAAAgD///////8DAAAAAgD///////8DAAAAAwD///////8DAAAAAwD///////////////////////////////////////////////////////////////////////////////////////////////////////////////////////////////////////////////////////////////////////////////////////////////////////////////////////////////////////////////////////////////////////////////////////////////////////////////////////////////////////////////////////////////////////////////////////////////////////////////////////////////8BACAA////////////////AAAO////////AwAAAAMA////////////////////////////////////////////////////////////////////////////////////////////////////////////////////////////////////////////////////////////////////////////////////////////////////////////////////////////////////////////////////////////////////////////////////////////////////////////////////////////////////////////////////////////////////////////////////////////////////////////////////////////////////////////////////////////////////////////////////////////////////////////////////////AgAEAP///////wUAAAACABAAC7/a2CqLH2JFv9uNGVyfeDQEAAAAAAADAAAAAAADAAAABAADAAAAAAADAAAAAwADAAAAAAADAAAAAwADAAAAAAADAAAAAwADAAYA////////BQAAAAMAEAAL2SoDXa7zKkeOte+vc4EOJAQAAAABAAMAAAAEAAMAAAABAAMAAAACAP///////wMAAAACAP///////wMAAAACAP///////wMAAAAAAP///////wMAAAAAAP///////wQAAQD///////8FAAAABAAQAAu1mscu8xrzTbI3RGzyifMq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9rYKosfYkW/240ZXJ94NAREYXRhAAUAAAAAAk5hbWUADQAAAExpbmtEYXRhTGlzdAAQVmVyc2lvbgAAAAAACUxhc3RXcml0ZQBhFfgrlgEAAAABAP////9hAGEAAAAFX2lkABAAAAAE2SoDXa7zKkeOte+vc4EOJAREYXRhAAUAAAAAAk5hbWUADQAAAExpbmtEYXRhTGlzdAAQVmVyc2lvbgABAAAACUxhc3RXcml0ZQBsFfgrlgEAAAACAP////9wAHAAAAAFX2lkABAAAAAEtZrHLvMa802yN0Rs8onzKgNEYXRhABYAAAACUGVyc29uYWxJZAABAAAAAAACTmFtZQALAAAAUGVyc29uYWxJZAAQVmVyc2lvbgAAAAAACUxhc3RXcml0ZQA+F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CAP///////wUAAAACAP///////wUAAAACAP///////wUAAAACAP///////wUAAAADAP///////wUAAAADAP///////////////////////////////////////////////////////////////////////////////////////////////////////////////////////////////////////////////////////////////////////////////////////////////////////////////////////////////////////////////////////////////////////////////////////////////////////////////////////////////////////////////////////////////////////////////////////////////////////////////////////////////wEAIAH///////////////8AAA7///////8FAAAABAD///////////////////////////////////////////////////////////////////////////////////////////////////////////////////////////////////////////////////////////////////////////////////////////////////////////////////////////////////////////////////////////////////////////////////////////////////////////////////////////////////////////////////////////////////////////////////////////////////////////////////////////////////////////////////////////////////////////////////////////////////////////////////////8CAAQBAwAAAAIA////////DgAGTGlua0RhdGFMaXN0XzAEAAAAAAAFAAAAAAAFAAAAAwAFAAAAAAAFAAAAAwAFAAAAAAAFAAAAAwAFAAAAAAAFAAAAAwADAAYBAwAAAAMA////////DgAGTGlua0RhdGFMaXN0XzEEAAAAAQAFAAAAAgAFAAAABAAFAAAAAgD///////8FAAAAAgD///////8FAAAAAg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13577040"/>
  <p:tag name="EMPOWERCHARTSPROPERTIES_B_LENGTH" val="24576"/>
  <p:tag name="DOWN_MIGRATION_INITIAL_LAYOUT_REQUIRED" val="9.2.99"/>
  <p:tag name="RUNTIME_ID" val="8feb9280-7221-4dae-ac37-623899e8e6de"/>
</p:tagLst>
</file>

<file path=ppt/tags/tag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wD///////8DAAAAAwD///////8DAAAAAwD///////////////////////////////////////////////////////////////////////////////////////////////////////////////////////////////////////////////////////////////////////////////////////////////////////////////////////////////////////////////////////////////////////////////////////////////////////////////////////////////////////////////////////////////////////////////////////////////////////////////////////////////////////////////////////////////8BACAA////////////////AAAO////////AwAAAAMA////////////////////////////////////////////////////////////////////////////////////////////////////////////////////////////////////////////////////////////////////////////////////////////////////////////////////////////////////////////////////////////////////////////////////////////////////////////////////////////////////////////////////////////////////////////////////////////////////////////////////////////////////////////////////////////////////////////////////////////////////////////////////////AgABAP///////wUAAAACABAAC2pIPn06JdVGjv9vUj+YfIIEAAAAAAADAAAAAAADAAAABAADAAQA////////BQAAAAMAEAALUIL+4OITR0uhShp3ekD1wAQAAAABAAMAAAAEAAMAAAABAAMAAAAAAP///////wMAAAAAAP///////wMAAAAAAP///////wQAAQD///////8FAAAABAAQAAuzqLiHavTATb9ntmvVrV43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kg+fTol1UaO/29SP5h8ggREYXRhAAUAAAAAAk5hbWUADQAAAExpbmtEYXRhTGlzdAAQVmVyc2lvbgAAAAAACUxhc3RXcml0ZQB7F/grlgEAAAABAP////9hAGEAAAAFX2lkABAAAAAEUIL+4OITR0uhShp3ekD1wAREYXRhAAUAAAAAAk5hbWUADQAAAExpbmtEYXRhTGlzdAAQVmVyc2lvbgABAAAACUxhc3RXcml0ZQB7F/grlgEAAAACAP////9wAHAAAAAFX2lkABAAAAAEs6i4h2r0wE2/Z7Zr1a1eNwNEYXRhABYAAAACUGVyc29uYWxJZAABAAAAAAACTmFtZQALAAAAUGVyc29uYWxJZAAQVmVyc2lvbgAAAAAACUxhc3RXcml0ZQDCF/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15678854"/>
  <p:tag name="EMPOWERCHARTSPROPERTIES_B_LENGTH" val="24576"/>
  <p:tag name="DOWN_MIGRATION_INITIAL_LAYOUT_REQUIRED" val="9.2.99"/>
  <p:tag name="RUNTIME_ID" val="491d7a47-e817-4655-a04d-234c97d3d510"/>
</p:tagLst>
</file>

<file path=ppt/tags/tag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gD///////////////////////////////////////////////////////////////////////////////////////////////////////////////////////////////////////////////////////////////////////////////////////////////////////////////////////////////////////////////////////////////////////////////////////////////////////////////////////////////////////////////////////////////////////////////////////////////////////////////////////////////////////////////////////////////////////////////8BACAA////////////////AAAO////////AwAAAAMA////////////////////////////////////////////////////////////////////////////////////////////////////////////////////////////////////////////////////////////////////////////////////////////////////////////////////////////////////////////////////////////////////////////////////////////////////////////////////////////////////////////////////////////////////////////////////////////////////////////////////////////////////////////////////////////////////////////////////////////////////////////////////////AgADAP///////wUAAAACABAAC0iLsBPU2mtDl76jtBuCD/AEAAAAAAADAAAAAAADAAAABAADAAAAAAADAAAABAADAAAAAAD///////8DAAEA////////BQAAAAMAEAALO0MryJMFp0+k+Yyl9apooAQAAAABAAMAAAAEAAMAAAABAAQAAgD///////8FAAAABAAQAAvb3Iem/7mASJeFEAiKYAISBAAAAAIAAwAAAAI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IuwE9Taa0OXvqO0G4IP8AREYXRhAAUAAAAAAk5hbWUADQAAAExpbmtEYXRhTGlzdAAQVmVyc2lvbgAAAAAACUxhc3RXcml0ZQBNGPgrlgEAAAABAP////9hAGEAAAAFX2lkABAAAAAEO0MryJMFp0+k+Yyl9apooAREYXRhAAUAAAAAAk5hbWUADQAAAExpbmtEYXRhTGlzdAAQVmVyc2lvbgABAAAACUxhc3RXcml0ZQBOGPgrlgEAAAACAP////9wAHAAAAAFX2lkABAAAAAE29yHpv+5gEiXhRAIimACEgNEYXRhABYAAAACUGVyc29uYWxJZAABAAAAAAACTmFtZQALAAAAUGVyc29uYWxJZAAQVmVyc2lvbgAAAAAACUxhc3RXcml0ZQCLGP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17370426"/>
  <p:tag name="EMPOWERCHARTSPROPERTIES_B_LENGTH" val="24576"/>
  <p:tag name="DOWN_MIGRATION_INITIAL_LAYOUT_REQUIRED" val="9.2.99"/>
  <p:tag name="RUNTIME_ID" val="25f662f5-78de-485a-8f74-d68eec97c762"/>
</p:tagLst>
</file>

<file path=ppt/tags/tag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MA////////////////////////////////////////////////////////////////////////////////////////////////////////////////////////////////////////////////////////////////////////////////////////////////////////////////////////////////////////////////////////////////////////////////////////////////////////////////////////////////////////////////////////////////////////////////////////////////////////////////////////////////////////////////////////////////////////////////////////////////////////////////////////AgABAP///////wUAAAACABAAC91fFiE2C65EtBld4sL4nHoEAAAAAAADAAAAAAADAAAABAADAAEA////////BQAAAAMAEAALCCx5oM+3MUKE9AN5HfYVtAQAAAABAAMAAAAEAAMAAAABAAQAAgD///////8FAAAABAAQAAurWM2T9onqTb2Iie05zUee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V8WITYLrkS0GV3iwvicegREYXRhAAUAAAAAAk5hbWUADQAAAExpbmtEYXRhTGlzdAAQVmVyc2lvbgABAAAACUxhc3RXcml0ZQA6GfgrlgEAAAABAP////9hAGEAAAAFX2lkABAAAAAECCx5oM+3MUKE9AN5HfYVtAREYXRhAAUAAAAAAk5hbWUADQAAAExpbmtEYXRhTGlzdAAQVmVyc2lvbgAAAAAACUxhc3RXcml0ZQA4GfgrlgEAAAACAP////9wAHAAAAAFX2lkABAAAAAEq1jNk/aJ6k29iIntOc1HngNEYXRhABYAAAACUGVyc29uYWxJZAABAAAAAAACTmFtZQALAAAAUGVyc29uYWxJZAAQVmVyc2lvbgAAAAAACUxhc3RXcml0ZQDeGf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21058723"/>
  <p:tag name="EMPOWERCHARTSPROPERTIES_B_LENGTH" val="24576"/>
  <p:tag name="DOWN_MIGRATION_INITIAL_LAYOUT_REQUIRED" val="9.2.99"/>
  <p:tag name="RUNTIME_ID" val="aac87795-1a48-4b29-a887-714b4acf3cec"/>
</p:tagLst>
</file>

<file path=ppt/tags/tag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8WiEAR0BqFHsf2GtSMYgikEAAAAAAADAAAAAAADAAAAAwADAAIA////////BQAAAAMAEAALRV67jl24NE60M0/lv7iPpgQAAAABAAMAAAACAAMAAAAEAAMAAAAAAP///////wQAAQD///////8FAAAABAAQAAuLVtbp4WEdQ7IyCQGmnmx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aIQBHQGoUex/Ya1IxiCKQREYXRhAAUAAAAAAk5hbWUADQAAAExpbmtEYXRhTGlzdAAQVmVyc2lvbgABAAAACUxhc3RXcml0ZQB1GvgrlgEAAAABAP////9hAGEAAAAFX2lkABAAAAAERV67jl24NE60M0/lv7iPpgREYXRhAAUAAAAAAk5hbWUADQAAAExpbmtEYXRhTGlzdAAQVmVyc2lvbgAAAAAACUxhc3RXcml0ZQB0GvgrlgEAAAACAP////9wAHAAAAAFX2lkABAAAAAEi1bW6eFhHUOyMgkBpp5sZQNEYXRhABYAAAACUGVyc29uYWxJZAABAAAAAAACTmFtZQALAAAAUGVyc29uYWxJZAAQVmVyc2lvbgAAAAAACUxhc3RXcml0ZQC8G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23181365"/>
  <p:tag name="EMPOWERCHARTSPROPERTIES_B_LENGTH" val="24576"/>
  <p:tag name="DOWN_MIGRATION_INITIAL_LAYOUT_REQUIRED" val="9.2.99"/>
  <p:tag name="RUNTIME_ID" val="aa0893c9-cc2f-45b3-b182-01ab0a1419f7"/>
</p:tagLst>
</file>

<file path=ppt/tags/tag5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wUAzgsAAAAAAAAAAAAAIAD///////////////8AAAD///////////////8DAAAAAgD///////8DAAAAAgD///////8DAAAAAwD///////8DAAAABAD///////////////////////////////////////////////////////////////////////////////////////////////////////////////////////////////////////////////////////////////////////////////////////////////////////////////////////////////////////////////////////////////////////////////////////////////////////////////////////////////////////////////////////////////////////////////////////////////////////////////////////////////////////////////////////////////8BACAA////////////////AAAO////////AwAAAAQA////////////////////////////////////////////////////////////////////////////////////////////////////////////////////////////////////////////////////////////////////////////////////////////////////////////////////////////////////////////////////////////////////////////////////////////////////////////////////////////////////////////////////////////////////////////////////////////////////////////////////////////////////////////////////////////////////////////////////////////////////////////////////////AgACAP///////wUAAAACABAAC0k3oEO2OBNPoCLo8yspdJAEAAAAAAADAAAAAAADAAAAAwADAAAAAAADAAAAAwADAAMA////////BQAAAAMAEAALqPM3UYEXeUGJzrFdeFo+2wQAAAABAAMAAAACAAMAAAAEAAMAAAACAAMAAAAEAAMAAAAAAAMAAAAEAAQABAD///////8FAAAABAAQAAuXycWcyO48TrPy6C9GYa2GBAAAAAIAAwAAAAMAAwAAAAEAAwAAAAM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TegQ7Y4E0+gIujzKyl0kAREYXRhAAUAAAAAAk5hbWUADQAAAExpbmtEYXRhTGlzdAAQVmVyc2lvbgAAAAAACUxhc3RXcml0ZQBFG/grlgEAAAABAP////9hAGEAAAAFX2lkABAAAAAEqPM3UYEXeUGJzrFdeFo+2wREYXRhAAUAAAAAAk5hbWUADQAAAExpbmtEYXRhTGlzdAAQVmVyc2lvbgABAAAACUxhc3RXcml0ZQBGG/grlgEAAAACAP////9wAHAAAAAFX2lkABAAAAAEl8nFnMjuPE6z8ugvRmGthgNEYXRhABYAAAACUGVyc29uYWxJZAABAAAAAAACTmFtZQALAAAAUGVyc29uYWxJZAAQVmVyc2lvbgAAAAAACUxhc3RXcml0ZQCTG/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DAP///////////////////////////////////////////////////////////////////////////////////////////////////////////////////////////////////////////////////////////////////////////////////////////////////////////////////////////////////////////////////////////////////////////////////////////////////////////////////////////////////////////////////////////////////////////////////////////////////////////////////////////////////////////////////////////////////////////////wEAIAH///////////////8AAA7///////8FAAAABAD///////////////////////////////////////////////////////////////////////////////////////////////////////////////////////////////////////////////////////////////////////////////////////////////////////////////////////////////////////////////////////////////////////////////////////////////////////////////////////////////////////////////////////////////////////////////////////////////////////////////////////////////////////////////////////////////////////////////////////////////////////////////////////8CAAIBAwAAAAIA////////DgAGTGlua0RhdGFMaXN0XzAEAAAAAAAFAAAAAAAFAAAAAwAFAAAAAAAFAAAAAwADAAMBAwAAAAMA////////DgAGTGlua0RhdGFMaXN0XzEEAAAAAQAFAAAAAgAFAAAABAAFAAAAAgAFAAAABAA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25229657"/>
  <p:tag name="EMPOWERCHARTSPROPERTIES_B_LENGTH" val="24576"/>
  <p:tag name="DOWN_MIGRATION_INITIAL_LAYOUT_REQUIRED" val="9.2.99"/>
  <p:tag name="RUNTIME_ID" val="b15e2b38-a338-4862-ac2e-0439a93047ee"/>
</p:tagLst>
</file>

<file path=ppt/tags/tag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QA////////////////////////////////////////////////////////////////////////////////////////////////////////////////////////////////////////////////////////////////////////////////////////////////////////////////////////////////////////////////////////////////////////////////////////////////////////////////////////////////////////////////////////////////////////////////////////////////////////////////////////////////////////////////////////////////////////////////////////////////////////////////////////AgADAP///////wUAAAACABAAC2qsxloOH7FCg4XTobY0SO8EAAAAAAADAAAAAAADAAAAAwADAAAAAAD///////8DAAAAAAD///////8DAAEA////////BQAAAAMAEAALtEZepR4/7ESYLldIKQYujwQAAAABAAMAAAACAAMAAAAEAAQAAQD///////8FAAAABAAQAAv8P37YpEKoRotmZLLnp8Qn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qzGWg4fsUKDhdOhtjRI7wREYXRhAAUAAAAAAk5hbWUADQAAAExpbmtEYXRhTGlzdAAQVmVyc2lvbgABAAAACUxhc3RXcml0ZQBqHPgrlgEAAAABAP////9hAGEAAAAFX2lkABAAAAAEtEZepR4/7ESYLldIKQYujwREYXRhAAUAAAAAAk5hbWUADQAAAExpbmtEYXRhTGlzdAAQVmVyc2lvbgAAAAAACUxhc3RXcml0ZQA/HPgrlgEAAAACAP////9wAHAAAAAFX2lkABAAAAAE/D9+2KRCqEaLZmSy56fEJwNEYXRhABYAAAACUGVyc29uYWxJZAABAAAAAAACTmFtZQALAAAAUGVyc29uYWxJZAAQVmVyc2lvbgAAAAAACUxhc3RXcml0ZQC2HP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CAP///////wUAAAACAP///////////////////////////////////////////////////////////////////////////////////////////////////////////////////////////////////////////////////////////////////////////////////////////////////////////////////////////////////////////////////////////////////////////////////////////////////////////////////////////////////////////////////////////////////////////////////////////////////////////////////////////////////////////////////////////////////////////////wEAIAH///////////////8AAA7///////8FAAAABAD///////////////////////////////////////////////////////////////////////////////////////////////////////////////////////////////////////////////////////////////////////////////////////////////////////////////////////////////////////////////////////////////////////////////////////////////////////////////////////////////////////////////////////////////////////////////////////////////////////////////////////////////////////////////////////////////////////////////////////////////////////////////////////8CAAMBAwAAAAIA////////DgAGTGlua0RhdGFMaXN0XzEEAAAAAAAFAAAAAwAFAAAABAAFAAAAAAAFAAAABAAFAAAAAAAFAAAABAADAAEBAwAAAAMA////////DgAGTGlua0RhdGFMaXN0XzAEAAAAAQAFAAAAAAAFAAAAAgA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28378541"/>
  <p:tag name="EMPOWERCHARTSPROPERTIES_B_LENGTH" val="24576"/>
  <p:tag name="DOWN_MIGRATION_INITIAL_LAYOUT_REQUIRED" val="9.2.99"/>
  <p:tag name="RUNTIME_ID" val="e05a32ec-6451-4fc7-bf9a-19166552618f"/>
</p:tagLst>
</file>

<file path=ppt/tags/tag5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gD///////////////////////////////////////////////////////////////////////////////////////////////////////////////////////////////////////////////////////////////////////////////////////////////////////////////////////////////////////////////////////////////////////////////////////////////////////////////////////////////////////////////////////////////////////////////////////////////////////////////////////////////////////////////////////////////////////////////8BACAA////////////////AAAO////////AwAAAAMA////////////////////////////////////////////////////////////////////////////////////////////////////////////////////////////////////////////////////////////////////////////////////////////////////////////////////////////////////////////////////////////////////////////////////////////////////////////////////////////////////////////////////////////////////////////////////////////////////////////////////////////////////////////////////////////////////////////////////////////////////////////////////////AgADAP///////wUAAAACABAACwg64ix7+bZOsn+JlQmyD6EEAAAAAAADAAAAAAADAAAABAADAAAAAAADAAAABAADAAAAAAADAAAABAADAAEA////////BQAAAAMAEAALROPl9DB4HUO5ZO2OVCE4IgQAAAABAAMAAAAEAAMAAAABAAQAAwD///////8FAAAABAAQAAsqZu6QUruiRb0zLO7tBKkNBAAAAAIAAwAAAAIAAwAAAAM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DriLHv5tk6yf4mVCbIPoQREYXRhAAUAAAAAAk5hbWUADQAAAExpbmtEYXRhTGlzdAAQVmVyc2lvbgAAAAAACUxhc3RXcml0ZQBKHfgrlgEAAAABAP////9hAGEAAAAFX2lkABAAAAAEROPl9DB4HUO5ZO2OVCE4IgREYXRhAAUAAAAAAk5hbWUADQAAAExpbmtEYXRhTGlzdAAQVmVyc2lvbgABAAAACUxhc3RXcml0ZQBQHfgrlgEAAAACAP////9wAHAAAAAFX2lkABAAAAAEKmbukFK7okW9Myzu7QSpDQNEYXRhABYAAAACUGVyc29uYWxJZAABAAAAAAACTmFtZQALAAAAUGVyc29uYWxJZAAQVmVyc2lvbgAAAAAACUxhc3RXcml0ZQCiHf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EAIAH///////////////8AAA7///////8FAAAABAD///////////////////////////////////////////////////////////////////////////////////////////////////////////////////////////////////////////////////////////////////////////////////////////////////////////////////////////////////////////////////////////////////////////////////////////////////////////////////////////////////////////////////////////////////////////////////////////////////////////////////////////////////////////////////////////////////////////////////////////////////////////////////////8CAAMBAwAAAAIA////////DgAGTGlua0RhdGFMaXN0XzAEAAAAAAAFAAAAAAAFAAAAAwAFAAAAAAAFAAAABAAFAAAAAAAFAAAABAADAAEBAwAAAAMA////////DgAGTGlua0RhdGFMaXN0XzEEAAAAAQAFAAAAAgAFAAAABAAEAAMBAwAAAAQA////////DAAGUGVyc29uYWxJZF8wBAAAAAIABQAAAAM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30462158"/>
  <p:tag name="EMPOWERCHARTSPROPERTIES_B_LENGTH" val="24576"/>
  <p:tag name="DOWN_MIGRATION_INITIAL_LAYOUT_REQUIRED" val="9.2.99"/>
  <p:tag name="RUNTIME_ID" val="002dc5c5-df54-405a-adbd-f0c46d34b508"/>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BAD///////////////////////////////////////////////////////////////////////////////////////////////////////////////////////////////////////////////////////////////////////////////////////////////////////////////////////////////////////////////////////////////////////////////////////////////////////////////////////////////////////////////////////////////////////////////////////////////////////////////////////////////////////////////////////////////////////////////////////////////8BACAA////////////////AAAO////////AwAAAAMA////////////////////////////////////////////////////////////////////////////////////////////////////////////////////////////////////////////////////////////////////////////////////////////////////////////////////////////////////////////////////////////////////////////////////////////////////////////////////////////////////////////////////////////////////////////////////////////////////////////////////////////////////////////////////////////////////////////////////////////////////////////////////////AgABAP///////wUAAAACABAAC3r/OnIr4mlEisZCZs41sLcEAAAAAAADAAAABAADAAAAAwADAAEA////////BQAAAAMAEAALUjGP4MOEKkGrf2Q7BP4O2AQAAAABAAMAAAACAAMAAAABAAQAAgD///////8FAAAABAAQAAt12t9wPtjSSL5P4xg1xEQo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v86civiaUSKxkJmzjWwtwREYXRhAAUAAAAAAk5hbWUADQAAAExpbmtEYXRhTGlzdAAQVmVyc2lvbgAAAAAACUxhc3RXcml0ZQATHvgrlgEAAAABAP////9hAGEAAAAFX2lkABAAAAAEUjGP4MOEKkGrf2Q7BP4O2AREYXRhAAUAAAAAAk5hbWUADQAAAExpbmtEYXRhTGlzdAAQVmVyc2lvbgABAAAACUxhc3RXcml0ZQAZHvgrlgEAAAACAP////9wAHAAAAAFX2lkABAAAAAEddrfcD7Y0ki+T+MYNcREKANEYXRhABYAAAACUGVyc29uYWxJZAABAAAAAAACTmFtZQALAAAAUGVyc29uYWxJZAAQVmVyc2lvbgAAAAAACUxhc3RXcml0ZQBqH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32417131"/>
  <p:tag name="EMPOWERCHARTSPROPERTIES_B_LENGTH" val="24576"/>
  <p:tag name="DOWN_MIGRATION_INITIAL_LAYOUT_REQUIRED" val="9.2.99"/>
  <p:tag name="RUNTIME_ID" val="1202384c-2254-4e31-a480-7a9bf4515d40"/>
</p:tagLst>
</file>

<file path=ppt/tags/tag6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AgD///////8DAAAAAgD///////////////////////////////////////////////////////////////////////////////////////////////////////////////////////////////////////////////////////////////////////////////////////////////////////////////////////////////////////////////////////////////////////////////////////////////////////////////////////////////////////////////////////////////////////////////////////////////////////////////////////////////////////////////////////////////////////////////////////////////8BACAA////////////////AAAO////////AwAAAAMA////////////////////////////////////////////////////////////////////////////////////////////////////////////////////////////////////////////////////////////////////////////////////////////////////////////////////////////////////////////////////////////////////////////////////////////////////////////////////////////////////////////////////////////////////////////////////////////////////////////////////////////////////////////////////////////////////////////////////////////////////////////////////////AgACAP///////wUAAAACABAAC0+DA2ftDa1Fsc2VvBd1sEsEAAAAAAADAAAAAAADAAAABAADAAAAAAADAAAABAADAAEA////////BQAAAAMAEAAL7dvJ/IFJR0COqu7Vzi/09gQAAAABAAMAAAAEAAMAAAABAAQAAgD///////8FAAAABAAQAAv1/2+gP8CYRIMyEi29cWfQBAAAAAIAAwAAAAI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4MDZ+0NrUWxzZW8F3WwSwREYXRhAAUAAAAAAk5hbWUADQAAAExpbmtEYXRhTGlzdAAQVmVyc2lvbgABAAAACUxhc3RXcml0ZQDaHvgrlgEAAAABAP////9hAGEAAAAFX2lkABAAAAAE7dvJ/IFJR0COqu7Vzi/09gREYXRhAAUAAAAAAk5hbWUADQAAAExpbmtEYXRhTGlzdAAQVmVyc2lvbgAAAAAACUxhc3RXcml0ZQDYHvgrlgEAAAACAP////9wAHAAAAAFX2lkABAAAAAE9f9voD/AmESDMhItvXFn0ANEYXRhABYAAAACUGVyc29uYWxJZAABAAAAAAACTmFtZQALAAAAUGVyc29uYWxJZAAQVmVyc2lvbgAAAAAACUxhc3RXcml0ZQAgH/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34350402"/>
  <p:tag name="EMPOWERCHARTSPROPERTIES_B_LENGTH" val="24576"/>
  <p:tag name="DOWN_MIGRATION_INITIAL_LAYOUT_REQUIRED" val="9.2.99"/>
  <p:tag name="RUNTIME_ID" val="6e3c9c57-5e97-4fe9-beca-c7ac3ea855b1"/>
</p:tagLst>
</file>

<file path=ppt/tags/tag6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2gsAAAAAAAAAAAAAIAD///////////////8AAAD///////////////8DAAAAAgD///////8DAAAAAgD///////8DAAAAAgD///////8DAAAAAgD///////////////////////////////////////////////////////////////////////////////////////////////////////////////////////////////////////////////////////////////////////////////////////////////////////////////////////////////////////////////////////////////////////////////////////////////////////////////////////////////////////////////////////////////////////////////////////////////////////////////////////////////////////////////////////////////8BACAA////////////////AAAO////////AwAAAAMA////////////////////////////////////////////////////////////////////////////////////////////////////////////////////////////////////////////////////////////////////////////////////////////////////////////////////////////////////////////////////////////////////////////////////////////////////////////////////////////////////////////////////////////////////////////////////////////////////////////////////////////////////////////////////////////////////////////////////////////////////////////////////////AgAEAP///////wUAAAACABAAC+sRqivCHxRGl/2oOmPawVMEAAAAAAADAAAAAAADAAAABAADAAAAAAADAAAAAwADAAAAAAADAAAAAwADAAAAAAD///////8DAAMA////////BQAAAAMAEAALZn/O+h+vGUyTaK6HMYlCcQQAAAABAAMAAAAEAAMAAAABAAMAAAACAP///////wMAAAACAP///////wQAAQD///////8FAAAABAAQAAvUUt1WZfdcSq/q5V8SLtX0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6xGqK8IfFEaX/ag6Y9rBUwREYXRhAAUAAAAAAk5hbWUADQAAAExpbmtEYXRhTGlzdAAQVmVyc2lvbgABAAAACUxhc3RXcml0ZQCiH/grlgEAAAABAP////9hAGEAAAAFX2lkABAAAAAEZn/O+h+vGUyTaK6HMYlCcQREYXRhAAUAAAAAAk5hbWUADQAAAExpbmtEYXRhTGlzdAAQVmVyc2lvbgAAAAAACUxhc3RXcml0ZQCdH/grlgEAAAACAP////9wAHAAAAAFX2lkABAAAAAE1FLdVmX3XEqv6uVfEi7V9ANEYXRhABYAAAACUGVyc29uYWxJZAABAAAAAAACTmFtZQALAAAAUGVyc29uYWxJZAAQVmVyc2lvbgAAAAAACUxhc3RXcml0ZQDbH/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CAP///////////////////////////////////////////////////////////////////////////////////////////////////////////////////////////////////////////////////////////////////////////////////////////////////////////////////////////////////////////////////////////////////////////////////////////////////////////////////////////////////////////////////////////////////////////////////////////////////////////////////////////////////////////////////////////////wEAIAH///////////////8AAA7///////8FAAAABAD///////////////////////////////////////////////////////////////////////////////////////////////////////////////////////////////////////////////////////////////////////////////////////////////////////////////////////////////////////////////////////////////////////////////////////////////////////////////////////////////////////////////////////////////////////////////////////////////////////////////////////////////////////////////////////////////////////////////////////////////////////////////////////8CAAQBAwAAAAIA////////DgAGTGlua0RhdGFMaXN0XzEEAAAAAAAFAAAAAwAFAAAABAAFAAAAAwD///////8FAAAAAwD///////8FAAAAAA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36097256"/>
  <p:tag name="EMPOWERCHARTSPROPERTIES_B_LENGTH" val="24576"/>
  <p:tag name="DOWN_MIGRATION_INITIAL_LAYOUT_REQUIRED" val="9.2.99"/>
  <p:tag name="RUNTIME_ID" val="baf8a20e-df94-47ff-a177-678742e1738c"/>
</p:tagLst>
</file>

<file path=ppt/tags/tag6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2gsAAAAAAAAAAAAAIAD///////////////8AAAD///////////////8DAAAAAgD///////8DAAAAAgD///////8DAAAAAwD///////////////////////////////////////////////////////////////////////////////////////////////////////////////////////////////////////////////////////////////////////////////////////////////////////////////////////////////////////////////////////////////////////////////////////////////////////////////////////////////////////////////////////////////////////////////////////////////////////////////////////////////////////////////////////////////////////////////8BACAA////////////////AAAO////////AwAAAAQA////////////////////////////////////////////////////////////////////////////////////////////////////////////////////////////////////////////////////////////////////////////////////////////////////////////////////////////////////////////////////////////////////////////////////////////////////////////////////////////////////////////////////////////////////////////////////////////////////////////////////////////////////////////////////////////////////////////////////////////////////////////////////////AgACAP///////wUAAAACABAAC3HVrxrZT09ChGHVFJTTgEwEAAAAAAADAAAAAAADAAAAAwADAAAAAAADAAAAAwADAAMA////////BQAAAAMAEAALZHRnoP4AW0SHArF9F73R2gQAAAABAAMAAAACAAMAAAAEAAMAAAACAAMAAAAEAAMAAAAAAAMAAAAEAAQAAwD///////8FAAAABAAQAAthIBD2IrevT7UvlCar8XSGBAAAAAIAAwAAAAMAAwAAAAE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dWvGtlPT0KEYdUUlNOATAREYXRhAAUAAAAAAk5hbWUADQAAAExpbmtEYXRhTGlzdAAQVmVyc2lvbgABAAAACUxhc3RXcml0ZQDiIvgrlgEAAAABAP////9hAGEAAAAFX2lkABAAAAAEZHRnoP4AW0SHArF9F73R2gREYXRhAAUAAAAAAk5hbWUADQAAAExpbmtEYXRhTGlzdAAQVmVyc2lvbgAAAAAACUxhc3RXcml0ZQBAIPgrlgEAAAACAP////9wAHAAAAAFX2lkABAAAAAEYSAQ9iK3r0+1L5Qmq/F0hgNEYXRhABYAAAACUGVyc29uYWxJZAABAAAAAAACTmFtZQALAAAAUGVyc29uYWxJZAAQVmVyc2lvbgAAAAAACUxhc3RXcml0ZQArI/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IBAwAAAAIA////////DgAGTGlua0RhdGFMaXN0XzEEAAAAAAAFAAAAAwAFAAAABAAFAAAAAwAFAAAABAADAAMBAwAAAAMA////////DgAGTGlua0RhdGFMaXN0XzAEAAAAAQAFAAAAAAAFAAAAAgAFAAAAAAAFAAAAAgAFAAAAAAD///////8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44479499"/>
  <p:tag name="EMPOWERCHARTSPROPERTIES_B_LENGTH" val="24576"/>
  <p:tag name="DOWN_MIGRATION_INITIAL_LAYOUT_REQUIRED" val="9.2.99"/>
  <p:tag name="RUNTIME_ID" val="cdadfa5b-e5e1-4693-af6a-5f0b9e3b1ada"/>
</p:tagLst>
</file>

<file path=ppt/tags/tag6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gsAAAAAAAAAAAAAIAD///////////////8AAAD///////////////8DAAAAAgD///////8DAAAABAD///////8DAAAABAD///////////////////////////////////////////////////////////////////////////////////////////////////////////////////////////////////////////////////////////////////////////////////////////////////////////////////////////////////////////////////////////////////////////////////////////////////////////////////////////////////////////////////////////////////////////////////////////////////////////////////////////////////////////////////////////////////////////////8BACAA////////////////AAAO////////AwAAAAMA////////////////////////////////////////////////////////////////////////////////////////////////////////////////////////////////////////////////////////////////////////////////////////////////////////////////////////////////////////////////////////////////////////////////////////////////////////////////////////////////////////////////////////////////////////////////////////////////////////////////////////////////////////////////////////////////////////////////////////////////////////////////////////AgABAP///////wUAAAACABAAC001tYCQEONFsyUsjnoFhgkEAAAAAAADAAAAAAADAAAABAADAAEA////////BQAAAAMAEAALrVklnahY80i4Ao5o7+iwxAQAAAABAAMAAAAEAAMAAAABAAQAAwD///////8FAAAABAAQAAtzl46QSEsrRYszQvCgtSa3BAAAAAIAAwAAAAI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TW1gJAQ40WzJSyOegWGCQREYXRhAAUAAAAAAk5hbWUADQAAAExpbmtEYXRhTGlzdAAQVmVyc2lvbgABAAAACUxhc3RXcml0ZQCPI/grlgEAAAABAP////9hAGEAAAAFX2lkABAAAAAErVklnahY80i4Ao5o7+iwxAREYXRhAAUAAAAAAk5hbWUADQAAAExpbmtEYXRhTGlzdAAQVmVyc2lvbgAAAAAACUxhc3RXcml0ZQCBI/grlgEAAAACAP////9wAHAAAAAFX2lkABAAAAAEc5eOkEhLK0WLM0LwoLUmtwNEYXRhABYAAAACUGVyc29uYWxJZAABAAAAAAACTmFtZQALAAAAUGVyc29uYWxJZAAQVmVyc2lvbgAAAAAACUxhc3RXcml0ZQDGI/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45979821"/>
  <p:tag name="EMPOWERCHARTSPROPERTIES_B_LENGTH" val="24576"/>
  <p:tag name="DOWN_MIGRATION_INITIAL_LAYOUT_REQUIRED" val="9.2.99"/>
  <p:tag name="RUNTIME_ID" val="dabd674d-d414-40c3-b19a-95b375900913"/>
</p:tagLst>
</file>

<file path=ppt/tags/tag6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gD///////8DAAAAAgD///////8DAAAAAgD///////8DAAAAAgD///////8DAAAAAgD///////////////////////////////////////////////////////////////////////////////////////////////////////////////////////////////////////////////////////////////////////////////////////////////////////////////////////////////////////////////////////////////////////////////////////////////////////////////////////////////////////////////////////////////////////////////////////////////////////////////////////////////8BACAA////////////////AAAO////////AwAAAAQA////////////////////////////////////////////////////////////////////////////////////////////////////////////////////////////////////////////////////////////////////////////////////////////////////////////////////////////////////////////////////////////////////////////////////////////////////////////////////////////////////////////////////////////////////////////////////////////////////////////////////////////////////////////////////////////////////////////////////////////////////////////////////////AgAGAP///////wUAAAACABAAC7OgWTGiqlhHnsu/eCZgC4wEAAAAAAADAAAAAAADAAAAAwADAAAAAAD///////8DAAAAAAD///////8DAAAAAAD///////8DAAAAAAD///////8DAAAAAAD///////8DAAEA////////BQAAAAMAEAALDxUzg9x/ukiLMiVORLxSwAQAAAABAAMAAAACAAMAAAAEAAQAAQD///////8FAAAABAAQAAvwRlK2HvcEQbnnY3AiATnA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6BZMaKqWEeey794JmALjAREYXRhAAUAAAAAAk5hbWUADQAAAExpbmtEYXRhTGlzdAAQVmVyc2lvbgAAAAAACUxhc3RXcml0ZQAeJPgrlgEAAAABAP////9hAGEAAAAFX2lkABAAAAAEDxUzg9x/ukiLMiVORLxSwAREYXRhAAUAAAAAAk5hbWUADQAAAExpbmtEYXRhTGlzdAAQVmVyc2lvbgABAAAACUxhc3RXcml0ZQAiJPgrlgEAAAACAP////9wAHAAAAAFX2lkABAAAAAE8EZSth73BEG552NwIgE5wANEYXRhABYAAAACUGVyc29uYWxJZAABAAAAAAACTmFtZQALAAAAUGVyc29uYWxJZAAQVmVyc2lvbgAAAAAACUxhc3RXcml0ZQBgJP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CAP///////wUAAAACAP///////wUAAAACAP///////wUAAAACAP///////////////////////////////////////////////////////////////////////////////////////////////////////////////////////////////////////////////////////////////////////////////////////////////////////////////////////////////////////////////////////////////////////////////////////////////////////////////////////////////////////////////////////////////////////////////////////////////////////////////////////////////wEAIAH///////////////8AAA7///////8FAAAABAD///////////////////////////////////////////////////////////////////////////////////////////////////////////////////////////////////////////////////////////////////////////////////////////////////////////////////////////////////////////////////////////////////////////////////////////////////////////////////////////////////////////////////////////////////////////////////////////////////////////////////////////////////////////////////////////////////////////////////////////////////////////////////////8CAAYBAwAAAAIA////////DgAGTGlua0RhdGFMaXN0XzAEAAAAAAAFAAAAAAAFAAAAAwAFAAAAAAD///////8FAAAAAAD///////8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47565582"/>
  <p:tag name="EMPOWERCHARTSPROPERTIES_B_LENGTH" val="24576"/>
  <p:tag name="DOWN_MIGRATION_INITIAL_LAYOUT_REQUIRED" val="9.2.99"/>
  <p:tag name="RUNTIME_ID" val="c20b7f59-708b-47b8-ab05-0180c1cce200"/>
</p:tagLst>
</file>

<file path=ppt/tags/tag6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wUAFgwAAAAAAAAAAAAAIAD///////////////8AAAD///////////////8DAAAABAD///////////////////////////////////////////////////////////////////////////////////////////////////////////////////////////////////////////////////////////////////////////////////////////////////////////////////////////////////////////////////////////////////////////////////////////////////////////////////////////////////////////////////////////////////////////////////////////////////////////////////////////////////////////////////////////////////////////////////////////////////////////////8BACAA////////////////AAAO////////AwAAAAMA////////////////////////////////////////////////////////////////////////////////////////////////////////////////////////////////////////////////////////////////////////////////////////////////////////////////////////////////////////////////////////////////////////////////////////////////////////////////////////////////////////////////////////////////////////////////////////////////////////////////////////////////////////////////////////////////////////////////////////////////////////////////////////AgABAP///////wUAAAACABAACz7d4FlLxfFIhlECMqtrH8sEAAAAAAADAAAABAADAAAAAwADAAEA////////BQAAAAMAEAALJFjUZeQGN0+fWrSJQMy5MwQAAAABAAMAAAACAAMAAAABAAQAAQD///////8FAAAABAAQAAv2rK1Ju3eHSJ8Yb3zyS3sr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t3gWUvF8UiGUQIyq2sfywREYXRhAAUAAAAAAk5hbWUADQAAAExpbmtEYXRhTGlzdAAQVmVyc2lvbgABAAAACUxhc3RXcml0ZQDeJPgrlgEAAAABAP////9hAGEAAAAFX2lkABAAAAAEJFjUZeQGN0+fWrSJQMy5MwREYXRhAAUAAAAAAk5hbWUADQAAAExpbmtEYXRhTGlzdAAQVmVyc2lvbgAAAAAACUxhc3RXcml0ZQDdJPgrlgEAAAACAP////9wAHAAAAAFX2lkABAAAAAE9qytSbt3h0ifGG988kt7KwNEYXRhABYAAAACUGVyc29uYWxJZAABAAAAAAACTmFtZQALAAAAUGVyc29uYWxJZAAQVmVyc2lvbgAAAAAACUxhc3RXcml0ZQAQJf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49289351"/>
  <p:tag name="EMPOWERCHARTSPROPERTIES_B_LENGTH" val="24576"/>
  <p:tag name="DOWN_MIGRATION_INITIAL_LAYOUT_REQUIRED" val="9.2.99"/>
  <p:tag name="RUNTIME_ID" val="af2177a7-6ea5-44c4-b2b4-2aa4e841a6dc"/>
</p:tagLst>
</file>

<file path=ppt/tags/tag6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wgsAAAAAAAAAAAAAIAD///////////////8AAAD///////////////8DAAAAAgD///////8DAAAAAgD///////8DAAAAAgD///////8DAAAAAwD///////8DAAAAAwD///////////////////////////////////////////////////////////////////////////////////////////////////////////////////////////////////////////////////////////////////////////////////////////////////////////////////////////////////////////////////////////////////////////////////////////////////////////////////////////////////////////////////////////////////////////////////////////////////////////////////////////////////////////////8BACAA////////////////AAAO////////AwAAAAQA////////////////////////////////////////////////////////////////////////////////////////////////////////////////////////////////////////////////////////////////////////////////////////////////////////////////////////////////////////////////////////////////////////////////////////////////////////////////////////////////////////////////////////////////////////////////////////////////////////////////////////////////////////////////////////////////////////////////////////////////////////////////////////AgADAP///////wUAAAACABAAC0dDOgjT/sFAoa/vtzRii20EAAAAAAADAAAAAAADAAAAAwADAAAAAAADAAAAAwADAAAAAAADAAAAAwADAAUA////////BQAAAAMAEAALXBI1HVl+m0eAm7ixLjImzQQAAAABAAMAAAACAAMAAAAEAAMAAAACAAMAAAAEAAMAAAACAP///////wMAAAAAAP///////wMAAAAAAP///////wQAAgD///////8FAAAABAAQAAsBmvg3SmoyTLo2uzq7x6S4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0M6CNP+wUChr++3NGKLbQREYXRhAAUAAAAAAk5hbWUADQAAAExpbmtEYXRhTGlzdAAQVmVyc2lvbgAAAAAACUxhc3RXcml0ZQCBJfgrlgEAAAABAP////9hAGEAAAAFX2lkABAAAAAEXBI1HVl+m0eAm7ixLjImzQREYXRhAAUAAAAAAk5hbWUADQAAAExpbmtEYXRhTGlzdAAQVmVyc2lvbgABAAAACUxhc3RXcml0ZQCBJfgrlgEAAAACAP////9wAHAAAAAFX2lkABAAAAAEAZr4N0pqMky6Nrs6u8ekuANEYXRhABYAAAACUGVyc29uYWxJZAABAAAAAAACTmFtZQALAAAAUGVyc29uYWxJZAAQVmVyc2lvbgAAAAAACUxhc3RXcml0ZQC0Jf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DAP///////wUAAAADAP///////////////////////////////////////////////////////////////////////////////////////////////////////////////////////////////////////////////////////////////////////////////////////////////////////////////////////////////////////////////////////////////////////////////////////////////////////////////////////////////////////////////////////////////////////////////////////////////////////////////////////////////////////////////wEAIAH///////////////8AAA7///////8FAAAABAD///////////////////////////////////////////////////////////////////////////////////////////////////////////////////////////////////////////////////////////////////////////////////////////////////////////////////////////////////////////////////////////////////////////////////////////////////////////////////////////////////////////////////////////////////////////////////////////////////////////////////////////////////////////////////////////////////////////////////////////////////////////////////////8CAAMBAwAAAAIA////////DgAGTGlua0RhdGFMaXN0XzAEAAAAAAAFAAAAAAAFAAAAAwAFAAAAAAAFAAAAAwAFAAAAAAAFAAAAAwADAAUBAwAAAAMA////////DgAGTGlua0RhdGFMaXN0XzEEAAAAAQAFAAAAAgAFAAAABAAFAAAAAgD///////8FAAAAAg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50934685"/>
  <p:tag name="EMPOWERCHARTSPROPERTIES_B_LENGTH" val="24576"/>
  <p:tag name="DOWN_MIGRATION_INITIAL_LAYOUT_REQUIRED" val="9.2.99"/>
  <p:tag name="RUNTIME_ID" val="e201ba4a-97ad-4c5c-8e3b-47a4d4e1c5c8"/>
</p:tagLst>
</file>

<file path=ppt/tags/tag6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MA////////////////////////////////////////////////////////////////////////////////////////////////////////////////////////////////////////////////////////////////////////////////////////////////////////////////////////////////////////////////////////////////////////////////////////////////////////////////////////////////////////////////////////////////////////////////////////////////////////////////////////////////////////////////////////////////////////////////////////////////////////////////////////AgACAP///////wUAAAACABAACwLhBUOQ3aNJg18HpNarPC4EAAAAAAADAAAAAAADAAAABAADAAAAAAADAAAAAwADAAIA////////BQAAAAMAEAALMyNqZcOyCk+XNlGKRkfK9wQAAAABAAMAAAAEAAMAAAABAAMAAAACAP///////wQAAQD///////8FAAAABAAQAAub9q1LJz/jQLcSATFpf+MF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uEFQ5Ddo0mDXwek1qs8LgREYXRhAAUAAAAAAk5hbWUADQAAAExpbmtEYXRhTGlzdAAQVmVyc2lvbgABAAAACUxhc3RXcml0ZQAhJvgrlgEAAAABAP////9hAGEAAAAFX2lkABAAAAAEMyNqZcOyCk+XNlGKRkfK9wREYXRhAAUAAAAAAk5hbWUADQAAAExpbmtEYXRhTGlzdAAQVmVyc2lvbgAAAAAACUxhc3RXcml0ZQAdJvgrlgEAAAACAP////9wAHAAAAAFX2lkABAAAAAEm/atSyc/40C3EgExaX/jBQNEYXRhABYAAAACUGVyc29uYWxJZAABAAAAAAACTmFtZQALAAAAUGVyc29uYWxJZAAQVmVyc2lvbgAAAAAACUxhc3RXcml0ZQBSJ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EAIAH///////////////8AAA7///////8FAAAABAD///////////////////////////////////////////////////////////////////////////////////////////////////////////////////////////////////////////////////////////////////////////////////////////////////////////////////////////////////////////////////////////////////////////////////////////////////////////////////////////////////////////////////////////////////////////////////////////////////////////////////////////////////////////////////////////////////////////////////////////////////////////////////////8CAAIBAwAAAAIA////////DgAGTGlua0RhdGFMaXN0XzEEAAAAAAAFAAAAAwAFAAAABAAFAAAAAwAFAAAABAA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52507531"/>
  <p:tag name="EMPOWERCHARTSPROPERTIES_B_LENGTH" val="24576"/>
  <p:tag name="DOWN_MIGRATION_INITIAL_LAYOUT_REQUIRED" val="9.2.99"/>
  <p:tag name="RUNTIME_ID" val="f91ce7e6-f2fd-43df-9fa1-6f337069f9c0"/>
</p:tagLst>
</file>

<file path=ppt/tags/tag6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MAAAAAAAAAAwAAAAMAAAAA/////wUA8gsAAAAAAAAAAAAAIAD///////////////8AAAD///////////////8DAAAAAgD///////8DAAAABAD///////8DAAAABAD///////8DAAAABAD///////////////////////////////////////////////////////////////////////////////////////////////////////////////////////////////////////////////////////////////////////////////////////////////////////////////////////////////////////////////////////////////////////////////////////////////////////////////////////////////////////////////////////////////////////////////////////////////////////////////////////////////////////////////////////////////8BACAA////////////////AAAO////////AwAAAAQA////////////////////////////////////////////////////////////////////////////////////////////////////////////////////////////////////////////////////////////////////////////////////////////////////////////////////////////////////////////////////////////////////////////////////////////////////////////////////////////////////////////////////////////////////////////////////////////////////////////////////////////////////////////////////////////////////////////////////////////////////////////////////////AgABAP///////wUAAAACABAAC+dsQi1X74pBghaGbNHmvBQEAAAAAAADAAAAAAADAAAAAwADAAEA////////BQAAAAMAEAALZflnjM5MJUiRbZfZ08M3xQQAAAABAAMAAAACAAMAAAAEAAQABAD///////8FAAAABAAQAAvsN5bpPvILQ7MWoSym0zHgBAAAAAIAAwAAAAMAAwAAAAE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52xCLVfvikGCFoZs0ea8FAREYXRhAAUAAAAAAk5hbWUADQAAAExpbmtEYXRhTGlzdAAQVmVyc2lvbgABAAAACUxhc3RXcml0ZQC3JvgrlgEAAAABAP////9hAGEAAAAFX2lkABAAAAAEZflnjM5MJUiRbZfZ08M3xQREYXRhAAUAAAAAAk5hbWUADQAAAExpbmtEYXRhTGlzdAAQVmVyc2lvbgAAAAAACUxhc3RXcml0ZQC0JvgrlgEAAAACAP////9wAHAAAAAFX2lkABAAAAAE7DeW6T7yC0OzFqEsptMx4ANEYXRhABYAAAACUGVyc29uYWxJZAABAAAAAAACTmFtZQALAAAAUGVyc29uYWxJZAAQVmVyc2lvbgAAAAAACUxhc3RXcml0ZQDzJ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54151100"/>
  <p:tag name="EMPOWERCHARTSPROPERTIES_B_LENGTH" val="24576"/>
  <p:tag name="DOWN_MIGRATION_INITIAL_LAYOUT_REQUIRED" val="9.2.99"/>
  <p:tag name="RUNTIME_ID" val="463cc2ab-3915-4299-9e13-ec351d0c490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wUA8gsAAAAAAAAAAAAAIAD///////////////8AAAD///////////////8DAAAAAgD///////8DAAAAAwD///////8DAAAABAD///////////////////////////////////////////////////////////////////////////////////////////////////////////////////////////////////////////////////////////////////////////////////////////////////////////////////////////////////////////////////////////////////////////////////////////////////////////////////////////////////////////////////////////////////////////////////////////////////////////////////////////////////////////////////////////////////////////////8BACAA////////////////AAAO////////AwAAAAQA////////////////////////////////////////////////////////////////////////////////////////////////////////////////////////////////////////////////////////////////////////////////////////////////////////////////////////////////////////////////////////////////////////////////////////////////////////////////////////////////////////////////////////////////////////////////////////////////////////////////////////////////////////////////////////////////////////////////////////////////////////////////////////AgABAP///////wUAAAACABAAC0Llzjb27PZLkxIQKC16HKgEAAAAAAADAAAAAAADAAAAAwADAAIA////////BQAAAAMAEAALcNtntfiCrU6ljiSEtupdAwQAAAABAAMAAAACAAMAAAAEAAMAAAAAAAMAAAAEAAQAAwD///////8FAAAABAAQAAsbLLy8xPRwRIaodTnvLsV3BAAAAAIAAwAAAAMAAwAAAAE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uXONvbs9kuTEhAoLXocqAREYXRhAAUAAAAAAk5hbWUADQAAAExpbmtEYXRhTGlzdAAQVmVyc2lvbgAAAAAACUxhc3RXcml0ZQBhJ/grlgEAAAABAP////9hAGEAAAAFX2lkABAAAAAEcNtntfiCrU6ljiSEtupdAwREYXRhAAUAAAAAAk5hbWUADQAAAExpbmtEYXRhTGlzdAAQVmVyc2lvbgABAAAACUxhc3RXcml0ZQBjJ/grlgEAAAACAP////9wAHAAAAAFX2lkABAAAAAEGyy8vMT0cESGqHU57y7FdwNEYXRhABYAAAACUGVyc29uYWxJZAABAAAAAAACTmFtZQALAAAAUGVyc29uYWxJZAAQVmVyc2lvbgAAAAAACUxhc3RXcml0ZQCdJ/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DAP///////wUAAAAEAP///////wUAAAAEAP///////////////////////////////////////////////////////////////////////////////////////////////////////////////////////////////////////////////////////////////////////////////////////////////////////////////////////////////////////////////////////////////////////////////////////////////////////////////////////////////////////////////////////////////////////////////////////////////////////////////////////////////////////////////////////////////wEAIAH///////////////8AAA7///////8FAAAABAD///////////////////////////////////////////////////////////////////////////////////////////////////////////////////////////////////////////////////////////////////////////////////////////////////////////////////////////////////////////////////////////////////////////////////////////////////////////////////////////////////////////////////////////////////////////////////////////////////////////////////////////////////////////////////////////////////////////////////////////////////////////////////////8CAAEBAwAAAAIA////////DgAGTGlua0RhdGFMaXN0XzAEAAAAAAAFAAAAAAAFAAAAAwADAAIBAwAAAAMA////////DgAGTGlua0RhdGFMaXN0XzEEAAAAAQAFAAAAAgAFAAAABAAFAAAAAAAFAAAABAAEAAQBAwAAAAQA////////DAAGUGVyc29uYWxJZF8wBAAAAAIABQAAAAMABQAAAAE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55862502"/>
  <p:tag name="EMPOWERCHARTSPROPERTIES_B_LENGTH" val="24576"/>
  <p:tag name="DOWN_MIGRATION_INITIAL_LAYOUT_REQUIRED" val="9.2.99"/>
  <p:tag name="RUNTIME_ID" val="47ec395b-29c3-441c-8994-058404ba1d8f"/>
</p:tagLst>
</file>

<file path=ppt/tags/tag7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wD///////////////////////////////////////////////////////////////////////////////////////////////////////////////////////////////////////////////////////////////////////////////////////////////////////////////////////////////////////////////////////////////////////////////////////////////////////////////////////////////////////////////////////////////////////////////////////////////////////////////////////////////////////////////////////////////////////////////8BACAA////////////////AAAO////////AwAAAAMA////////////////////////////////////////////////////////////////////////////////////////////////////////////////////////////////////////////////////////////////////////////////////////////////////////////////////////////////////////////////////////////////////////////////////////////////////////////////////////////////////////////////////////////////////////////////////////////////////////////////////////////////////////////////////////////////////////////////////////////////////////////////////////AgACAP///////wUAAAACABAAC1YRKUTxxxZBrHia6WvfH0wEAAAAAAADAAAAAAADAAAABAADAAAAAAADAAAAAwADAAMA////////BQAAAAMAEAALt7dLlinLDkes80U3y2CgsAQAAAABAAMAAAAEAAMAAAABAAMAAAACAP///////wMAAAAAAP///////wQAAQD///////8FAAAABAAQAAvO7vFquG+oS4a39OZ9sDxL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hEpRPHHFkGseJrpa98fTAREYXRhAAUAAAAAAk5hbWUADQAAAExpbmtEYXRhTGlzdAAQVmVyc2lvbgABAAAACUxhc3RXcml0ZQAHKPgrlgEAAAABAP////9hAGEAAAAFX2lkABAAAAAEt7dLlinLDkes80U3y2CgsAREYXRhAAUAAAAAAk5hbWUADQAAAExpbmtEYXRhTGlzdAAQVmVyc2lvbgAAAAAACUxhc3RXcml0ZQAGKPgrlgEAAAACAP////9wAHAAAAAFX2lkABAAAAAEzu7xarhvqEuGt/TmfbA8SwNEYXRhABYAAAACUGVyc29uYWxJZAABAAAAAAACTmFtZQALAAAAUGVyc29uYWxJZAAQVmVyc2lvbgAAAAAACUxhc3RXcml0ZQA8KP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57510305"/>
  <p:tag name="EMPOWERCHARTSPROPERTIES_B_LENGTH" val="24576"/>
  <p:tag name="DOWN_MIGRATION_INITIAL_LAYOUT_REQUIRED" val="9.2.99"/>
  <p:tag name="RUNTIME_ID" val="0f2a0b26-baa6-4bb5-a21a-be98d186de23"/>
</p:tagLst>
</file>

<file path=ppt/tags/tag7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gD///////8DAAAAAgD///////////////////////////////////////////////////////////////////////////////////////////////////////////////////////////////////////////////////////////////////////////////////////////////////////////////////////////////////////////////////////////////////////////////////////////////////////////////////////////////////////////////////////////////////////////////////////////////////////////////////////////////////////////////////////////////8BACAA////////////////AAAO////////AwAAAAMA////////////////////////////////////////////////////////////////////////////////////////////////////////////////////////////////////////////////////////////////////////////////////////////////////////////////////////////////////////////////////////////////////////////////////////////////////////////////////////////////////////////////////////////////////////////////////////////////////////////////////////////////////////////////////////////////////////////////////////////////////////////////////////AgAEAP///////wUAAAACABAAC0QC4G5NXkhIsIGqsaVmI08EAAAAAAADAAAABAADAAAAAwADAAAAAAADAAAAAwADAAAAAAD///////8DAAAAAAD///////8DAAIA////////BQAAAAMAEAALZV8f7oC5bUmw0gntg4yRoAQAAAABAAMAAAACAAMAAAABAAMAAAACAP///////wQAAQD///////8FAAAABAAQAAtDKwwm0KXgRawP6b6n3xq3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ALgbk1eSEiwgaqxpWYjTwREYXRhAAUAAAAAAk5hbWUADQAAAExpbmtEYXRhTGlzdAAQVmVyc2lvbgABAAAACUxhc3RXcml0ZQCzKPgrlgEAAAABAP////9hAGEAAAAFX2lkABAAAAAEZV8f7oC5bUmw0gntg4yRoAREYXRhAAUAAAAAAk5hbWUADQAAAExpbmtEYXRhTGlzdAAQVmVyc2lvbgAAAAAACUxhc3RXcml0ZQCwKPgrlgEAAAACAP////9wAHAAAAAFX2lkABAAAAAEQysMJtCl4EWsD+m+p98atwNEYXRhABYAAAACUGVyc29uYWxJZAABAAAAAAACTmFtZQALAAAAUGVyc29uYWxJZAAQVmVyc2lvbgAAAAAACUxhc3RXcml0ZQDnKP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CAP///////wUAAAACAP///////////////////////////////////////////////////////////////////////////////////////////////////////////////////////////////////////////////////////////////////////////////////////////////////////////////////////////////////////////////////////////////////////////////////////////////////////////////////////////////////////////////////////////////////////////////////////////////////////////////////////////////////////////////////////////////wEAIAH///////////////8AAA7///////8FAAAABAD///////////////////////////////////////////////////////////////////////////////////////////////////////////////////////////////////////////////////////////////////////////////////////////////////////////////////////////////////////////////////////////////////////////////////////////////////////////////////////////////////////////////////////////////////////////////////////////////////////////////////////////////////////////////////////////////////////////////////////////////////////////////////////8CAAQBAwAAAAIA////////DgAGTGlua0RhdGFMaXN0XzEEAAAAAAAFAAAAAwAFAAAABAAFAAAAAwAFAAAABAAFAAAAAAD///////8FAAAAAAD///////8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59165474"/>
  <p:tag name="EMPOWERCHARTSPROPERTIES_B_LENGTH" val="24576"/>
  <p:tag name="DOWN_MIGRATION_INITIAL_LAYOUT_REQUIRED" val="9.2.99"/>
  <p:tag name="RUNTIME_ID" val="a9ecc1b9-9284-4b5a-9d1d-80b8a3f65226"/>
</p:tagLst>
</file>

<file path=ppt/tags/tag7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CAP///////wUAAAACABAAC+ielU4G4pZMvRgMsreXVQ0EAAAAAAADAAAABAADAAAAAwADAAAABAD///////8DAAEA////////BQAAAAMAEAALvkRE3apd50m38HJovTy3HwQAAAABAAMAAAACAAMAAAABAAQAAgD///////8FAAAABAAQAAv2qdYjrVjcSrn7EAi2G5/D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6J6VTgbilky9GAyyt5dVDQREYXRhAAUAAAAAAk5hbWUADQAAAExpbmtEYXRhTGlzdAAQVmVyc2lvbgABAAAACUxhc3RXcml0ZQBUKfgrlgEAAAABAP////9hAGEAAAAFX2lkABAAAAAEvkRE3apd50m38HJovTy3HwREYXRhAAUAAAAAAk5hbWUADQAAAExpbmtEYXRhTGlzdAAQVmVyc2lvbgAAAAAACUxhc3RXcml0ZQBUKfgrlgEAAAACAP////9wAHAAAAAFX2lkABAAAAAE9qnWI61Y3Eq5+xAIthufwwNEYXRhABYAAAACUGVyc29uYWxJZAABAAAAAAACTmFtZQALAAAAUGVyc29uYWxJZAAQVmVyc2lvbgAAAAAACUxhc3RXcml0ZQCFKf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60679900"/>
  <p:tag name="EMPOWERCHARTSPROPERTIES_B_LENGTH" val="24576"/>
  <p:tag name="DOWN_MIGRATION_INITIAL_LAYOUT_REQUIRED" val="9.2.99"/>
  <p:tag name="RUNTIME_ID" val="df4c96de-4e5e-45d5-8914-a3809a00e511"/>
</p:tagLst>
</file>

<file path=ppt/tags/tag7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wUAFgwAAAAAAAAAAAAAIAD///////////////8AAAD///////////////8DAAAAAgD///////////////////////////////////////////////////////////////////////////////////////////////////////////////////////////////////////////////////////////////////////////////////////////////////////////////////////////////////////////////////////////////////////////////////////////////////////////////////////////////////////////////////////////////////////////////////////////////////////////////////////////////////////////////////////////////////////////////////////////////////////////////8BACAA////////////////AAAO////////AwAAAAMA////////////////////////////////////////////////////////////////////////////////////////////////////////////////////////////////////////////////////////////////////////////////////////////////////////////////////////////////////////////////////////////////////////////////////////////////////////////////////////////////////////////////////////////////////////////////////////////////////////////////////////////////////////////////////////////////////////////////////////////////////////////////////////AgABAP///////wUAAAACABAAC6aMnGqbuthCtAoa3lvJxR0EAAAAAAADAAAAAAADAAAABAADAAEA////////BQAAAAMAEAALwGfL8iAJbUCWZeReXbaXEAQAAAABAAMAAAAEAAMAAAABAAQAAQD///////8FAAAABAAQAAvMUZXb34SCQqkB2+BqqXJ1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oycapu62EK0ChreW8nFHQREYXRhAAUAAAAAAk5hbWUADQAAAExpbmtEYXRhTGlzdAAQVmVyc2lvbgAAAAAACUxhc3RXcml0ZQDnKfgrlgEAAAABAP////9hAGEAAAAFX2lkABAAAAAEwGfL8iAJbUCWZeReXbaXEAREYXRhAAUAAAAAAk5hbWUADQAAAExpbmtEYXRhTGlzdAAQVmVyc2lvbgABAAAACUxhc3RXcml0ZQDnKfgrlgEAAAACAP////9wAHAAAAAFX2lkABAAAAAEzFGV29+EgkKpAdvgaqlydQNEYXRhABYAAAACUGVyc29uYWxJZAABAAAAAAACTmFtZQALAAAAUGVyc29uYWxJZAAQVmVyc2lvbgAAAAAACUxhc3RXcml0ZQAZK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62201712"/>
  <p:tag name="EMPOWERCHARTSPROPERTIES_B_LENGTH" val="24576"/>
  <p:tag name="DOWN_MIGRATION_INITIAL_LAYOUT_REQUIRED" val="9.2.99"/>
  <p:tag name="RUNTIME_ID" val="b593ad84-9d03-4740-aa3d-16d3233ec6e4"/>
</p:tagLst>
</file>

<file path=ppt/tags/tag7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BAD///////8DAAAABAD///////8DAAAABAD///////////////////////////////////////////////////////////////////////////////////////////////////////////////////////////////////////////////////////////////////////////////////////////////////////////////////////////////////////////////////////////////////////////////////////////////////////////////////////////////////////////////////////////////////////////////////////////////////////////////////////////////////////////////////////////////////////////////8BACAA////////////////AAAO////////AwAAAAMA////////////////////////////////////////////////////////////////////////////////////////////////////////////////////////////////////////////////////////////////////////////////////////////////////////////////////////////////////////////////////////////////////////////////////////////////////////////////////////////////////////////////////////////////////////////////////////////////////////////////////////////////////////////////////////////////////////////////////////////////////////////////////////AgADAP///////wUAAAACABAAC7+80OwPhxtDrCgMQHrVQpUEAAAAAAADAAAABAADAAAAAwADAAAABAD///////8DAAAABAD///////8DAAEA////////BQAAAAMAEAALuZgX+asDuEOeB4tLXNOUgwQAAAABAAMAAAACAAMAAAABAAQAAwD///////8FAAAABAAQAAveN/hbjpFnR67yE29Vu8cyBAAAAAIAAwAAAAAAAw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7zQ7A+HG0OsKAxAetVClQREYXRhAAUAAAAAAk5hbWUADQAAAExpbmtEYXRhTGlzdAAQVmVyc2lvbgAAAAAACUxhc3RXcml0ZQCBKvgrlgEAAAABAP////9hAGEAAAAFX2lkABAAAAAEuZgX+asDuEOeB4tLXNOUgwREYXRhAAUAAAAAAk5hbWUADQAAAExpbmtEYXRhTGlzdAAQVmVyc2lvbgABAAAACUxhc3RXcml0ZQCBKvgrlgEAAAACAP////9wAHAAAAAFX2lkABAAAAAE3jf4W46RZ0eu8hNvVbvHMgNEYXRhABYAAAACUGVyc29uYWxJZAABAAAAAAACTmFtZQALAAAAUGVyc29uYWxJZAAQVmVyc2lvbgAAAAAACUxhc3RXcml0ZQC6K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63904761"/>
  <p:tag name="EMPOWERCHARTSPROPERTIES_B_LENGTH" val="24576"/>
  <p:tag name="DOWN_MIGRATION_INITIAL_LAYOUT_REQUIRED" val="9.2.99"/>
  <p:tag name="RUNTIME_ID" val="555b7ea6-637c-42ea-b98c-af4b4cda59c2"/>
</p:tagLst>
</file>

<file path=ppt/tags/tag7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6n+EQhS7ktFlR/I4M5o53gEAAAAAAADAAAAAAADAAAABAADAAAAAAD///////8DAAEA////////BQAAAAMAEAALzZNm8EvQ50eKLHXTQwLIqwQAAAABAAMAAAAEAAMAAAABAAQAAQD///////8FAAAABAAQAAtlaKuI2uoXTqTaOPmplo9h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f4RCFLuS0WVH8jgzmjneAREYXRhAAUAAAAAAk5hbWUADQAAAExpbmtEYXRhTGlzdAAQVmVyc2lvbgABAAAACUxhc3RXcml0ZQAnK/grlgEAAAABAP////9hAGEAAAAFX2lkABAAAAAEzZNm8EvQ50eKLHXTQwLIqwREYXRhAAUAAAAAAk5hbWUADQAAAExpbmtEYXRhTGlzdAAQVmVyc2lvbgAAAAAACUxhc3RXcml0ZQAmK/grlgEAAAACAP////9wAHAAAAAFX2lkABAAAAAEZWiriNrqF06k2jj5qZaPYQNEYXRhABYAAAACUGVyc29uYWxJZAABAAAAAAACTmFtZQALAAAAUGVyc29uYWxJZAAQVmVyc2lvbgAAAAAACUxhc3RXcml0ZQBYK/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EAIAH///////////////8AAA7///////8FAAAABAD///////////////////////////////////////////////////////////////////////////////////////////////////////////////////////////////////////////////////////////////////////////////////////////////////////////////////////////////////////////////////////////////////////////////////////////////////////////////////////////////////////////////////////////////////////////////////////////////////////////////////////////////////////////////////////////////////////////////////////////////////////////////////////8CAAIBAwAAAAIA////////DgAGTGlua0RhdGFMaXN0XzEEAAAAAAAFAAAAAwAFAAAABAAFAAAAAAAFAAAABAA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65368027"/>
  <p:tag name="EMPOWERCHARTSPROPERTIES_B_LENGTH" val="24576"/>
  <p:tag name="DOWN_MIGRATION_INITIAL_LAYOUT_REQUIRED" val="9.2.99"/>
  <p:tag name="RUNTIME_ID" val="62aec37e-164d-4a3f-8c1a-f918c31c4ef4"/>
</p:tagLst>
</file>

<file path=ppt/tags/tag7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AgD///////8DAAAABAD///////////////////////////////////////////////////////////////////////////////////////////////////////////////////////////////////////////////////////////////////////////////////////////////////////////////////////////////////////////////////////////////////////////////////////////////////////////////////////////////////////////////////////////////////////////////////////////////////////////////////////////////////////////////////////////////////////////////////////////////8BACAA////////////////AAAO////////AwAAAAMA////////////////////////////////////////////////////////////////////////////////////////////////////////////////////////////////////////////////////////////////////////////////////////////////////////////////////////////////////////////////////////////////////////////////////////////////////////////////////////////////////////////////////////////////////////////////////////////////////////////////////////////////////////////////////////////////////////////////////////////////////////////////////////AgABAP///////wUAAAACABAACwCsuAnq9IpDmhceAK7tVNUEAAAAAAADAAAAAAADAAAABAADAAIA////////BQAAAAMAEAALu4mwL8XxUU2afSt6BtZedQQAAAABAAMAAAAEAAMAAAABAAMAAAAEAP///////wQAAgD///////8FAAAABAAQAAs7Ny4hRgkzQo1L1gpOkF9m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Ky4Cer0ikOaFx4Aru1U1QREYXRhAAUAAAAAAk5hbWUADQAAAExpbmtEYXRhTGlzdAAQVmVyc2lvbgABAAAACUxhc3RXcml0ZQC5K/grlgEAAAABAP////9hAGEAAAAFX2lkABAAAAAEu4mwL8XxUU2afSt6BtZedQREYXRhAAUAAAAAAk5hbWUADQAAAExpbmtEYXRhTGlzdAAQVmVyc2lvbgAAAAAACUxhc3RXcml0ZQC3K/grlgEAAAACAP////9wAHAAAAAFX2lkABAAAAAEOzcuIUYJM0KNS9YKTpBfZgNEYXRhABYAAAACUGVyc29uYWxJZAABAAAAAAACTmFtZQALAAAAUGVyc29uYWxJZAAQVmVyc2lvbgAAAAAACUxhc3RXcml0ZQDuK/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EAP///////////////////////////////////////////////////////////////////////////////////////////////////////////////////////////////////////////////////////////////////////////////////////////////////////////////////////////////////////////////////////////////////////////////////////////////////////////////////////////////////////////////////////////////////////////////////////////////////////////////////////////////////////////////////////////////////////////////wEAIAH///////////////8AAA7///////8FAAAABAD///////////////////////////////////////////////////////////////////////////////////////////////////////////////////////////////////////////////////////////////////////////////////////////////////////////////////////////////////////////////////////////////////////////////////////////////////////////////////////////////////////////////////////////////////////////////////////////////////////////////////////////////////////////////////////////////////////////////////////////////////////////////////////8CAAEBAwAAAAIA////////DgAGTGlua0RhdGFMaXN0XzEEAAAAAAAFAAAAAwAFAAAABAADAAIBAwAAAAMA////////DgAGTGlua0RhdGFMaXN0XzAEAAAAAQAFAAAAAAAFAAAAAgAFAAAAAAAFAAAABAAEAAMBAwAAAAQA////////DAAGUGVyc29uYWxJZF8wBAAAAAIABQAAAAI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66938654"/>
  <p:tag name="EMPOWERCHARTSPROPERTIES_B_LENGTH" val="24576"/>
  <p:tag name="DOWN_MIGRATION_INITIAL_LAYOUT_REQUIRED" val="9.2.99"/>
  <p:tag name="RUNTIME_ID" val="2e7c4ff6-e748-42a7-82b5-748488bf0d8b"/>
</p:tagLst>
</file>

<file path=ppt/tags/tag7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wUAFgwAAAAAAAAAAAAAIAD///////////////8AAAD///////////////8DAAAABAD///////////////////////////////////////////////////////////////////////////////////////////////////////////////////////////////////////////////////////////////////////////////////////////////////////////////////////////////////////////////////////////////////////////////////////////////////////////////////////////////////////////////////////////////////////////////////////////////////////////////////////////////////////////////////////////////////////////////////////////////////////////////8BACAA////////////////AAAO////////AwAAAAMA////////////////////////////////////////////////////////////////////////////////////////////////////////////////////////////////////////////////////////////////////////////////////////////////////////////////////////////////////////////////////////////////////////////////////////////////////////////////////////////////////////////////////////////////////////////////////////////////////////////////////////////////////////////////////////////////////////////////////////////////////////////////////////AgABAP///////wUAAAACABAAC4rTOJRaGOhMvvA9kak8rdsEAAAAAAADAAAABAADAAAAAwADAAEA////////BQAAAAMAEAAL7V8b4P28SEmSOrHuYE01vwQAAAABAAMAAAACAAMAAAABAAQAAQD///////8FAAAABAAQAAsbULuM9lFPQJD81nBpnl/K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tM4lFoY6Ey+8D2RqTyt2wREYXRhAAUAAAAAAk5hbWUADQAAAExpbmtEYXRhTGlzdAAQVmVyc2lvbgABAAAACUxhc3RXcml0ZQBhLPgrlgEAAAABAP////9hAGEAAAAFX2lkABAAAAAE7V8b4P28SEmSOrHuYE01vwREYXRhAAUAAAAAAk5hbWUADQAAAExpbmtEYXRhTGlzdAAQVmVyc2lvbgAAAAAACUxhc3RXcml0ZQBgLPgrlgEAAAACAP////9wAHAAAAAFX2lkABAAAAAEG1C7jPZRT0CQ/NZwaZ5fygNEYXRhABYAAAACUGVyc29uYWxJZAABAAAAAAACTmFtZQALAAAAUGVyc29uYWxJZAAQVmVyc2lvbgAAAAAACUxhc3RXcml0ZQCYLP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68612959"/>
  <p:tag name="EMPOWERCHARTSPROPERTIES_B_LENGTH" val="24576"/>
  <p:tag name="DOWN_MIGRATION_INITIAL_LAYOUT_REQUIRED" val="9.2.99"/>
  <p:tag name="RUNTIME_ID" val="d68fcf3f-93f1-4688-af3e-b24c2b3ee2ef"/>
</p:tagLst>
</file>

<file path=ppt/tags/tag7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MA////////////////////////////////////////////////////////////////////////////////////////////////////////////////////////////////////////////////////////////////////////////////////////////////////////////////////////////////////////////////////////////////////////////////////////////////////////////////////////////////////////////////////////////////////////////////////////////////////////////////////////////////////////////////////////////////////////////////////////////////////////////////////////AgABAP///////wUAAAACABAAC5Hy+xkUyX5PtJEEXQHkuH0EAAAAAAADAAAAAAADAAAABAADAAEA////////BQAAAAMAEAAL7rBH6rCa/UaFh3shQmxBogQAAAABAAMAAAAEAAMAAAABAAQAAQD///////8FAAAABAAQAAtygpVblcBdQJKulGs/5WwL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fL7GRTJfk+0kQRdAeS4fQREYXRhAAUAAAAAAk5hbWUADQAAAExpbmtEYXRhTGlzdAAQVmVyc2lvbgABAAAACUxhc3RXcml0ZQATLfgrlgEAAAABAP////9hAGEAAAAFX2lkABAAAAAE7rBH6rCa/UaFh3shQmxBogREYXRhAAUAAAAAAk5hbWUADQAAAExpbmtEYXRhTGlzdAAQVmVyc2lvbgAAAAAACUxhc3RXcml0ZQATLfgrlgEAAAACAP////9wAHAAAAAFX2lkABAAAAAEcoKVW5XAXUCSrpRrP+VsCwNEYXRhABYAAAACUGVyc29uYWxJZAABAAAAAAACTmFtZQALAAAAUGVyc29uYWxJZAAQVmVyc2lvbgAAAAAACUxhc3RXcml0ZQBLLf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70402768"/>
  <p:tag name="EMPOWERCHARTSPROPERTIES_B_LENGTH" val="24576"/>
  <p:tag name="DOWN_MIGRATION_INITIAL_LAYOUT_REQUIRED" val="9.2.99"/>
  <p:tag name="RUNTIME_ID" val="756c04ca-5484-41e9-969d-8218dc0f5074"/>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7mOS2ZU8sRAki6GZqq2zh0EAAAAAAADAAAAAAADAAAAAwADAAIA////////BQAAAAMAEAALphU+amJ+/EitKIiwqfCcNAQAAAABAAMAAAACAAMAAAAEAAMAAAAAAP///////wQAAQD///////8FAAAABAAQAAsm7a+43iz+Rq/v4+2XVEGh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Y5LZlTyxECSLoZmqrbOHQREYXRhAAUAAAAAAk5hbWUADQAAAExpbmtEYXRhTGlzdAAQVmVyc2lvbgABAAAACUxhc3RXcml0ZQC8LfgrlgEAAAABAP////9hAGEAAAAFX2lkABAAAAAEphU+amJ+/EitKIiwqfCcNAREYXRhAAUAAAAAAk5hbWUADQAAAExpbmtEYXRhTGlzdAAQVmVyc2lvbgAAAAAACUxhc3RXcml0ZQC7LfgrlgEAAAACAP////9wAHAAAAAFX2lkABAAAAAEJu2vuN4s/kav7+Ptl1RBoQNEYXRhABYAAAACUGVyc29uYWxJZAABAAAAAAACTmFtZQALAAAAUGVyc29uYWxJZAAQVmVyc2lvbgAAAAAACUxhc3RXcml0ZQDyLf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EBAwAAAAIA////////DgAGTGlua0RhdGFMaXN0XzEEAAAAAAAFAAAAAwAFAAAABAADAAIBAwAAAAMA////////DgAGTGlua0RhdGFMaXN0XzAEAAAAAQAFAAAAAAAFAAAAAgAFAAAAAAAFAAAABAA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72016874"/>
  <p:tag name="EMPOWERCHARTSPROPERTIES_B_LENGTH" val="24576"/>
  <p:tag name="DOWN_MIGRATION_INITIAL_LAYOUT_REQUIRED" val="9.2.99"/>
  <p:tag name="RUNTIME_ID" val="83a21e2e-4522-4ca5-9ab1-dd8a2da6a307"/>
</p:tagLst>
</file>

<file path=ppt/tags/tag8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8gsAAAAAAAAAAAAAIAD///////////////8AAAD///////////////8DAAAAAgD///////8DAAAAAgD///////8DAAAABAD///////////////////////////////////////////////////////////////////////////////////////////////////////////////////////////////////////////////////////////////////////////////////////////////////////////////////////////////////////////////////////////////////////////////////////////////////////////////////////////////////////////////////////////////////////////////////////////////////////////////////////////////////////////////////////////////////////////////8BACAA////////////////AAAO////////AwAAAAQA////////////////////////////////////////////////////////////////////////////////////////////////////////////////////////////////////////////////////////////////////////////////////////////////////////////////////////////////////////////////////////////////////////////////////////////////////////////////////////////////////////////////////////////////////////////////////////////////////////////////////////////////////////////////////////////////////////////////////////////////////////////////////////AgACAP///////wUAAAACABAAC6uDtSk0ANFCsjYDeqvDsjoEAAAAAAADAAAAAAADAAAAAwADAAAAAAADAAAABAADAAEA////////BQAAAAMAEAALddZ3LiuJZ0iRUiMnR0LD0QQAAAABAAMAAAACAAMAAAAEAAQAAwD///////8FAAAABAAQAAvknmbXIU2XRp5oYBiHglzABAAAAAIAAwAAAAMAAwAAAAE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4O1KTQA0UKyNgN6q8OyOgREYXRhAAUAAAAAAk5hbWUADQAAAExpbmtEYXRhTGlzdAAQVmVyc2lvbgAAAAAACUxhc3RXcml0ZQBULvgrlgEAAAABAP////9hAGEAAAAFX2lkABAAAAAEddZ3LiuJZ0iRUiMnR0LD0QREYXRhAAUAAAAAAk5hbWUADQAAAExpbmtEYXRhTGlzdAAQVmVyc2lvbgABAAAACUxhc3RXcml0ZQBULvgrlgEAAAACAP////9wAHAAAAAFX2lkABAAAAAE5J5m1yFNl0aeaGAYh4JcwANEYXRhABYAAAACUGVyc29uYWxJZAABAAAAAAACTmFtZQALAAAAUGVyc29uYWxJZAAQVmVyc2lvbgAAAAAACUxhc3RXcml0ZQCGL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73466649"/>
  <p:tag name="EMPOWERCHARTSPROPERTIES_B_LENGTH" val="24576"/>
  <p:tag name="DOWN_MIGRATION_INITIAL_LAYOUT_REQUIRED" val="9.2.99"/>
  <p:tag name="RUNTIME_ID" val="c0a67e7f-ac20-45f8-be52-0c1ebe6de409"/>
</p:tagLst>
</file>

<file path=ppt/tags/tag8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wUA8gsAAAAAAAAAAAAAIAD///////////////8AAAD///////////////8DAAAAAgD///////8DAAAAAwD///////8DAAAAAwD///////////////////////////////////////////////////////////////////////////////////////////////////////////////////////////////////////////////////////////////////////////////////////////////////////////////////////////////////////////////////////////////////////////////////////////////////////////////////////////////////////////////////////////////////////////////////////////////////////////////////////////////////////////////////////////////////////////////8BACAA////////////////AAAO////////AwAAAAQA////////////////////////////////////////////////////////////////////////////////////////////////////////////////////////////////////////////////////////////////////////////////////////////////////////////////////////////////////////////////////////////////////////////////////////////////////////////////////////////////////////////////////////////////////////////////////////////////////////////////////////////////////////////////////////////////////////////////////////////////////////////////////////AgABAP///////wUAAAACABAAC3h1HSCF2KtBhDN0psXw/8cEAAAAAAADAAAAAAADAAAAAwADAAMA////////BQAAAAMAEAAL2Uf3fjXMaEmQ6/fkTizBQwQAAAABAAMAAAACAAMAAAAEAAMAAAAAAAMAAAAEAAMAAAAAAP///////wQAAgD///////8FAAAABAAQAAuKceLO0ql5TJXgYg5XI23+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HUdIIXYq0GEM3SmxfD/xwREYXRhAAUAAAAAAk5hbWUADQAAAExpbmtEYXRhTGlzdAAQVmVyc2lvbgABAAAACUxhc3RXcml0ZQDjLvgrlgEAAAABAP////9hAGEAAAAFX2lkABAAAAAE2Uf3fjXMaEmQ6/fkTizBQwREYXRhAAUAAAAAAk5hbWUADQAAAExpbmtEYXRhTGlzdAAQVmVyc2lvbgAAAAAACUxhc3RXcml0ZQDiLvgrlgEAAAACAP////9wAHAAAAAFX2lkABAAAAAEinHiztKpeUyV4GIOVyNt/gNEYXRhABYAAAACUGVyc29uYWxJZAABAAAAAAACTmFtZQALAAAAUGVyc29uYWxJZAAQVmVyc2lvbgAAAAAACUxhc3RXcml0ZQAPL/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EAP///////////////////////////////////////////////////////////////////////////////////////////////////////////////////////////////////////////////////////////////////////////////////////////////////////////////////////////////////////////////////////////////////////////////////////////////////////////////////////////////////////////////////////////////////////////////////////////////////////////////////////////////////////////////////////////////wEAIAH///////////////8AAA7///////8FAAAABAD///////////////////////////////////////////////////////////////////////////////////////////////////////////////////////////////////////////////////////////////////////////////////////////////////////////////////////////////////////////////////////////////////////////////////////////////////////////////////////////////////////////////////////////////////////////////////////////////////////////////////////////////////////////////////////////////////////////////////////////////////////////////////////8CAAEBAwAAAAIA////////DgAGTGlua0RhdGFMaXN0XzEEAAAAAAAFAAAAAwAFAAAABAADAAMBAwAAAAMA////////DgAGTGlua0RhdGFMaXN0XzAEAAAAAQAFAAAAAAAFAAAAAgAFAAAAAAAFAAAABAAFAAAAAAAFAAAABAAEAAQBAwAAAAQA////////DAAGUGVyc29uYWxJZF8wBAAAAAIABQAAAAIABQAAAAEABQAAAAM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74837219"/>
  <p:tag name="EMPOWERCHARTSPROPERTIES_B_LENGTH" val="24576"/>
  <p:tag name="DOWN_MIGRATION_INITIAL_LAYOUT_REQUIRED" val="9.2.99"/>
  <p:tag name="RUNTIME_ID" val="d0937200-f920-44f8-8571-e5efe97b68c2"/>
</p:tagLst>
</file>

<file path=ppt/tags/tag8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wgsAAAAAAAAAAAAAIAD///////////////8AAAD///////////////8DAAAAAgD///////8DAAAAAgD///////8DAAAAAgD///////8DAAAAAgD///////8DAAAAAgD///////8DAAAAAgD///////////////////////////////////////////////////////////////////////////////////////////////////////////////////////////////////////////////////////////////////////////////////////////////////////////////////////////////////////////////////////////////////////////////////////////////////////////////////////////////////////////////////////////////////////////////////////////////////////////////////////////////8BACAA////////////////AAAO////////AwAAAAQA////////////////////////////////////////////////////////////////////////////////////////////////////////////////////////////////////////////////////////////////////////////////////////////////////////////////////////////////////////////////////////////////////////////////////////////////////////////////////////////////////////////////////////////////////////////////////////////////////////////////////////////////////////////////////////////////////////////////////////////////////////////////////////AgAGAP///////wUAAAACABAACyrCaw2nNCZGmpDwXphF+LMEAAAAAAADAAAAAAADAAAAAwADAAAAAAADAAAAAwADAAAAAAADAAAAAwADAAAAAAD///////8DAAAAAAD///////8DAAAAAAD///////8DAAMA////////BQAAAAMAEAALmoS4sJjWmEmUbRdlKT/n/QQAAAABAAMAAAACAAMAAAAEAAMAAAACAP///////wMAAAACAP///////wQAAQD///////8FAAAABAAQAAupvrC711LET5l+taRaZGL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sJrDac0JkaakPBemEX4swREYXRhAAUAAAAAAk5hbWUADQAAAExpbmtEYXRhTGlzdAAQVmVyc2lvbgABAAAACUxhc3RXcml0ZQBwL/grlgEAAAABAP////9hAGEAAAAFX2lkABAAAAAEmoS4sJjWmEmUbRdlKT/n/QREYXRhAAUAAAAAAk5hbWUADQAAAExpbmtEYXRhTGlzdAAQVmVyc2lvbgAAAAAACUxhc3RXcml0ZQBwL/grlgEAAAACAP////9wAHAAAAAFX2lkABAAAAAEqb6wu9dSxE+ZfrWkWmRi4ANEYXRhABYAAAACUGVyc29uYWxJZAABAAAAAAACTmFtZQALAAAAUGVyc29uYWxJZAAQVmVyc2lvbgAAAAAACUxhc3RXcml0ZQCgL/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DAP///////wUAAAADAP///////wUAAAADAP///////wUAAAACAP///////wUAAAACAP///////wUAAAACAP///////////////////////////////////////////////////////////////////////////////////////////////////////////////////////////////////////////////////////////////////////////////////////////////////////////////////////////////////////////////////////////////////////////////////////////////////////////////////////////////////////////////////////////////////////////////////////////////////////////////////////////////wEAIAH///////////////8AAA7///////8FAAAABAD///////////////////////////////////////////////////////////////////////////////////////////////////////////////////////////////////////////////////////////////////////////////////////////////////////////////////////////////////////////////////////////////////////////////////////////////////////////////////////////////////////////////////////////////////////////////////////////////////////////////////////////////////////////////////////////////////////////////////////////////////////////////////////8CAAYBAwAAAAIA////////DgAGTGlua0RhdGFMaXN0XzEEAAAAAAAFAAAAAwAFAAAABAAFAAAAAwD///////8FAAAAAwD///////8FAAAAAAD///////8FAAAAAAD///////8FAAAAAA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77252672"/>
  <p:tag name="EMPOWERCHARTSPROPERTIES_B_LENGTH" val="24576"/>
  <p:tag name="DOWN_MIGRATION_INITIAL_LAYOUT_REQUIRED" val="9.2.99"/>
  <p:tag name="RUNTIME_ID" val="eff3946d-9122-46bf-ad07-b523bf1f0f1c"/>
</p:tagLst>
</file>

<file path=ppt/tags/tag8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qgsAAAAAAAAAAAAAIAD///////////////8AAAD///////////////8DAAAAAgD///////8DAAAAAgD///////8DAAAAAgD///////8DAAAAAgD///////8DAAAAAgD///////8DAAAAAgD///////////////////////////////////////////////////////////////////////////////////////////////////////////////////////////////////////////////////////////////////////////////////////////////////////////////////////////////////////////////////////////////////////////////////////////////////////////////////////////////////////////////////////////////////////////////////////////////////////////////////////////////8BACAA////////////////AAAO////////AwAAAAMA////////////////////////////////////////////////////////////////////////////////////////////////////////////////////////////////////////////////////////////////////////////////////////////////////////////////////////////////////////////////////////////////////////////////////////////////////////////////////////////////////////////////////////////////////////////////////////////////////////////////////////////////////////////////////////////////////////////////////////////////////////////////////////AgAGAP///////wUAAAACABAAC2pB7Tp4TSZJt01B3pMbTLwEAAAAAAADAAAAAAADAAAABAADAAAAAAADAAAABAADAAAAAAADAAAABAADAAAAAAD///////8DAAAAAAD///////8DAAAAAAD///////8DAAMA////////BQAAAAMAEAALKN//v97fqE+MjFvxOeuq2gQAAAABAAMAAAAEAAMAAAABAAMAAAAEAP///////wMAAAAEAP///////wQAAwD///////8FAAAABAAQAAtLHy2cEfTGSK9sZ7ke1SJoBAAAAAIAAwAAAAIAAwAAAAM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kHtOnhNJkm3TUHekxtMvAREYXRhAAUAAAAAAk5hbWUADQAAAExpbmtEYXRhTGlzdAAQVmVyc2lvbgABAAAACUxhc3RXcml0ZQBnMPgrlgEAAAABAP////9hAGEAAAAFX2lkABAAAAAEKN//v97fqE+MjFvxOeuq2gREYXRhAAUAAAAAAk5hbWUADQAAAExpbmtEYXRhTGlzdAAQVmVyc2lvbgAAAAAACUxhc3RXcml0ZQBlMPgrlgEAAAACAP////9wAHAAAAAFX2lkABAAAAAESx8tnBH0xkivbGe5HtUiaANEYXRhABYAAAACUGVyc29uYWxJZAABAAAAAAACTmFtZQALAAAAUGVyc29uYWxJZAAQVmVyc2lvbgAAAAAACUxhc3RXcml0ZQCaMP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DAP///////wUAAAADAP///////wUAAAADAP///////wUAAAACAP///////wUAAAACAP///////wUAAAACAP///////////////////////////////////////////////////////////////////////////////////////////////////////////////////////////////////////////////////////////////////////////////////////////////////////////////////////////////////////////////////////////////////////////////////////////////////////////////////////////////////////////////////////////////////////////////////////////////////////////////////////////////wEAIAH///////////////8AAA7///////8FAAAABAD///////////////////////////////////////////////////////////////////////////////////////////////////////////////////////////////////////////////////////////////////////////////////////////////////////////////////////////////////////////////////////////////////////////////////////////////////////////////////////////////////////////////////////////////////////////////////////////////////////////////////////////////////////////////////////////////////////////////////////////////////////////////////////8CAAYBAwAAAAIA////////DgAGTGlua0RhdGFMaXN0XzEEAAAAAAAFAAAAAwAFAAAABAAFAAAAAwD///////8FAAAAAwD///////8FAAAAAAD///////8FAAAAAAD///////8FAAAAAA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78823116"/>
  <p:tag name="EMPOWERCHARTSPROPERTIES_B_LENGTH" val="24576"/>
  <p:tag name="DOWN_MIGRATION_INITIAL_LAYOUT_REQUIRED" val="9.2.99"/>
  <p:tag name="RUNTIME_ID" val="aaae993a-d703-4e62-b13e-e42150db6c11"/>
</p:tagLst>
</file>

<file path=ppt/tags/tag8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6uBf1oHdCpKrPJCbNGwsrAEAAAAAAADAAAABAADAAAAAwADAAEA////////BQAAAAMAEAALKoO/5rJCl0OoglOsILnFDgQAAAABAAMAAAACAAMAAAABAAQAAgD///////8FAAAABAAQAAt3MtYapjjyRJEpprNGXBis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4F/Wgd0Kkqs8kJs0bCysAREYXRhAAUAAAAAAk5hbWUADQAAAExpbmtEYXRhTGlzdAAQVmVyc2lvbgABAAAACUxhc3RXcml0ZQD9MPgrlgEAAAABAP////9hAGEAAAAFX2lkABAAAAAEKoO/5rJCl0OoglOsILnFDgREYXRhAAUAAAAAAk5hbWUADQAAAExpbmtEYXRhTGlzdAAQVmVyc2lvbgAAAAAACUxhc3RXcml0ZQD8MPgrlgEAAAACAP////9wAHAAAAAFX2lkABAAAAAEdzLWGqY48kSRKaazRlwYrANEYXRhABYAAAACUGVyc29uYWxJZAABAAAAAAACTmFtZQALAAAAUGVyc29uYWxJZAAQVmVyc2lvbgAAAAAACUxhc3RXcml0ZQAoMf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80212081"/>
  <p:tag name="EMPOWERCHARTSPROPERTIES_B_LENGTH" val="24576"/>
  <p:tag name="DOWN_MIGRATION_INITIAL_LAYOUT_REQUIRED" val="9.2.99"/>
  <p:tag name="RUNTIME_ID" val="eddd5d8c-fb9c-4019-b4a6-228d747e0535"/>
</p:tagLst>
</file>

<file path=ppt/tags/tag8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CgwAAAAAAAAAAAAAIAD///////////////8AAAD///////////////8DAAAABAD///////8DAAAAAwD///////////////////////////////////////////////////////////////////////////////////////////////////////////////////////////////////////////////////////////////////////////////////////////////////////////////////////////////////////////////////////////////////////////////////////////////////////////////////////////////////////////////////////////////////////////////////////////////////////////////////////////////////////////////////////////////////////////////////////////////8BACAA////////////////AAAO////////AwAAAAMA////////////////////////////////////////////////////////////////////////////////////////////////////////////////////////////////////////////////////////////////////////////////////////////////////////////////////////////////////////////////////////////////////////////////////////////////////////////////////////////////////////////////////////////////////////////////////////////////////////////////////////////////////////////////////////////////////////////////////////////////////////////////////////AgABAP///////wUAAAACABAAC60moalxQTlGuw4SIiggeNYEAAAAAAADAAAABAADAAAAAwADAAIA////////BQAAAAMAEAALLedv5Q9zmkK2neaUS7xpewQAAAABAAMAAAACAAMAAAABAAMAAAAAAP///////wQAAQD///////8FAAAABAAQAAsk3SkMYdVwQbULoPr768hi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SahqXFBOUa7DhIiKCB41gREYXRhAAUAAAAAAk5hbWUADQAAAExpbmtEYXRhTGlzdAAQVmVyc2lvbgAAAAAACUxhc3RXcml0ZQCNMfgrlgEAAAABAP////9hAGEAAAAFX2lkABAAAAAELedv5Q9zmkK2neaUS7xpewREYXRhAAUAAAAAAk5hbWUADQAAAExpbmtEYXRhTGlzdAAQVmVyc2lvbgABAAAACUxhc3RXcml0ZQCOMfgrlgEAAAACAP////9wAHAAAAAFX2lkABAAAAAEJN0pDGHVcEG1C6D6++vIYgNEYXRhABYAAAACUGVyc29uYWxJZAABAAAAAAACTmFtZQALAAAAUGVyc29uYWxJZAAQVmVyc2lvbgAAAAAACUxhc3RXcml0ZQC+Mf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DAP///////wUAAAAEAP///////wUAAAAEAP///////////////////////////////////////////////////////////////////////////////////////////////////////////////////////////////////////////////////////////////////////////////////////////////////////////////////////////////////////////////////////////////////////////////////////////////////////////////////////////////////////////////////////////////////////////////////////////////////////////////////////////////////////////////////////////////wEAIAH///////////////8AAA7///////8FAAAABAD///////////////////////////////////////////////////////////////////////////////////////////////////////////////////////////////////////////////////////////////////////////////////////////////////////////////////////////////////////////////////////////////////////////////////////////////////////////////////////////////////////////////////////////////////////////////////////////////////////////////////////////////////////////////////////////////////////////////////////////////////////////////////////8CAAEBAwAAAAIA////////DgAGTGlua0RhdGFMaXN0XzAEAAAAAAAFAAAAAAAFAAAAAwADAAIBAwAAAAMA////////DgAGTGlua0RhdGFMaXN0XzEEAAAAAQAFAAAAAgAFAAAABAAFAAAAAAAFAAAABAAEAAQBAwAAAAQA////////DAAGUGVyc29uYWxJZF8wBAAAAAIABQAAAAMABQAAAAE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81754583"/>
  <p:tag name="EMPOWERCHARTSPROPERTIES_B_LENGTH" val="24576"/>
  <p:tag name="DOWN_MIGRATION_INITIAL_LAYOUT_REQUIRED" val="9.2.99"/>
  <p:tag name="RUNTIME_ID" val="28eda6d2-4371-43d9-a5d1-036ce9e9f35b"/>
</p:tagLst>
</file>

<file path=ppt/tags/tag8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UBAQEBAQEBAQEBAQEBAQMAAAAAAAAAAwAAAAMAAAAA/////wUA5gsAAAAAAAAAAAAAIAD///////////////8AAAD///////////////8DAAAAAgD///////8DAAAAAgD///////8DAAAAAgD///////////////////////////////////////////////////////////////////////////////////////////////////////////////////////////////////////////////////////////////////////////////////////////////////////////////////////////////////////////////////////////////////////////////////////////////////////////////////////////////////////////////////////////////////////////////////////////////////////////////////////////////////////////////////////////////////////////////8BACAA////////////////AAAO////////AwAAAAMA////////////////////////////////////////////////////////////////////////////////////////////////////////////////////////////////////////////////////////////////////////////////////////////////////////////////////////////////////////////////////////////////////////////////////////////////////////////////////////////////////////////////////////////////////////////////////////////////////////////////////////////////////////////////////////////////////////////////////////////////////////////////////////AgADAP///////wUAAAACABAAC4pDBZAIRY5NnljKf6mcdsMEAAAAAAADAAAAAAADAAAABAADAAAAAAADAAAABAADAAAAAAADAAAABAADAAEA////////BQAAAAMAEAALZ1S40UaXG0S6QTgZcFWewgQAAAABAAMAAAAEAAMAAAABAAQAAwD///////8FAAAABAAQAAtewdvA0tIATLeos/71D0ssBAAAAAIAAwAAAAIAAwAAAAM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kMFkAhFjk2eWMp/qZx2wwREYXRhAAUAAAAAAk5hbWUADQAAAExpbmtEYXRhTGlzdAAQVmVyc2lvbgABAAAACUxhc3RXcml0ZQAyMvgrlgEAAAABAP////9hAGEAAAAFX2lkABAAAAAEZ1S40UaXG0S6QTgZcFWewgREYXRhAAUAAAAAAk5hbWUADQAAAExpbmtEYXRhTGlzdAAQVmVyc2lvbgAAAAAACUxhc3RXcml0ZQAxMvgrlgEAAAACAP////9wAHAAAAAFX2lkABAAAAAEXsHbwNLSAEy3qLP+9Q9LLANEYXRhABYAAAACUGVyc29uYWxJZAABAAAAAAACTmFtZQALAAAAUGVyc29uYWxJZAAQVmVyc2lvbgAAAAAACUxhc3RXcml0ZQBgM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CAP///////wUAAAACAP///////wUAAAAEAP///////wUAAAAEAP///////////////////////////////////////////////////////////////////////////////////////////////////////////////////////////////////////////////////////////////////////////////////////////////////////////////////////////////////////////////////////////////////////////////////////////////////////////////////////////////////////////////////////////////////////////////////////////////////////////////////////////////////////////////wEAIAH///////////////8AAA7///////8FAAAABAD///////////////////////////////////////////////////////////////////////////////////////////////////////////////////////////////////////////////////////////////////////////////////////////////////////////////////////////////////////////////////////////////////////////////////////////////////////////////////////////////////////////////////////////////////////////////////////////////////////////////////////////////////////////////////////////////////////////////////////////////////////////////////////8CAAMBAwAAAAIA////////DgAGTGlua0RhdGFMaXN0XzEEAAAAAAAFAAAAAwAFAAAABAAFAAAAAAAFAAAABAAFAAAAAAAFAAAABAADAAEBAwAAAAMA////////DgAGTGlua0RhdGFMaXN0XzAEAAAAAQAFAAAAAAAFAAAAAgAEAAUBAwAAAAQA////////DAAGUGVyc29uYWxJZF8wBAAAAAIABQAAAAIABQAAAAEABQAAAAIA////////BQAAAAI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83356613"/>
  <p:tag name="EMPOWERCHARTSPROPERTIES_B_LENGTH" val="24576"/>
  <p:tag name="DOWN_MIGRATION_INITIAL_LAYOUT_REQUIRED" val="9.2.99"/>
  <p:tag name="RUNTIME_ID" val="cd551b9b-4423-422c-8a1f-c67b837cc091"/>
</p:tagLst>
</file>

<file path=ppt/tags/tag8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BAD///////////////////////////////////////////////////////////////////////////////////////////////////////////////////////////////////////////////////////////////////////////////////////////////////////////////////////////////////////////////////////////////////////////////////////////////////////////////////////////////////////////////////////////////////////////////////////////////////////////////////////////////////////////////////////////////////////////////////////////////////////////////8BACAA////////////////AAAO////////AwAAAAMA////////////////////////////////////////////////////////////////////////////////////////////////////////////////////////////////////////////////////////////////////////////////////////////////////////////////////////////////////////////////////////////////////////////////////////////////////////////////////////////////////////////////////////////////////////////////////////////////////////////////////////////////////////////////////////////////////////////////////////////////////////////////////////AgABAP///////wUAAAACABAAC3VRQ0OcSBVHiAwfm81+PA8EAAAAAAADAAAABAADAAAAAwADAAEA////////BQAAAAMAEAAL65uuyIt/yUmXyM19qkzOngQAAAABAAMAAAACAAMAAAABAAQAAQD///////8FAAAABAAQAAtZ1BkJ8ZQ4TI+3/TtdREuN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VFDQ5xIFUeIDB+bzX48DwREYXRhAAUAAAAAAk5hbWUADQAAAExpbmtEYXRhTGlzdAAQVmVyc2lvbgABAAAACUxhc3RXcml0ZQDGMvgrlgEAAAABAP////9hAGEAAAAFX2lkABAAAAAE65uuyIt/yUmXyM19qkzOngREYXRhAAUAAAAAAk5hbWUADQAAAExpbmtEYXRhTGlzdAAQVmVyc2lvbgAAAAAACUxhc3RXcml0ZQDFMvgrlgEAAAACAP////9wAHAAAAAFX2lkABAAAAAEWdQZCfGUOEyPt/07XURLjQNEYXRhABYAAAACUGVyc29uYWxJZAABAAAAAAACTmFtZQALAAAAUGVyc29uYWxJZAAQVmVyc2lvbgAAAAAACUxhc3RXcml0ZQDyM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84780041"/>
  <p:tag name="EMPOWERCHARTSPROPERTIES_B_LENGTH" val="24576"/>
  <p:tag name="DOWN_MIGRATION_INITIAL_LAYOUT_REQUIRED" val="9.2.99"/>
  <p:tag name="RUNTIME_ID" val="af26ff03-ad4c-48f8-8145-2cc14df551de"/>
</p:tagLst>
</file>

<file path=ppt/tags/tag8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gD///////////////////////////////////////////////////////////////////////////////////////////////////////////////////////////////////////////////////////////////////////////////////////////////////////////////////////////////////////////////////////////////////////////////////////////////////////////////////////////////////////////////////////////////////////////////////////////////////////////////////////////////////////////////////////////////////////////////////////////////8BACAA////////////////AAAO////////AwAAAAMA////////////////////////////////////////////////////////////////////////////////////////////////////////////////////////////////////////////////////////////////////////////////////////////////////////////////////////////////////////////////////////////////////////////////////////////////////////////////////////////////////////////////////////////////////////////////////////////////////////////////////////////////////////////////////////////////////////////////////////////////////////////////////////AgACAP///////wUAAAACABAAC0C4CshN7plAhJZ5EBMAy3QEAAAAAAADAAAABAADAAAAAwADAAAAAAD///////8DAAEA////////BQAAAAMAEAALqIPqzX2ymkSC2ln119A9UgQAAAABAAMAAAACAAMAAAABAAQAAQD///////8FAAAABAAQAAsbxNAvNE0oSrbTqexMB2se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LgKyE3umUCElnkQEwDLdAREYXRhAAUAAAAAAk5hbWUADQAAAExpbmtEYXRhTGlzdAAQVmVyc2lvbgABAAAACUxhc3RXcml0ZQBRM/grlgEAAAABAP////9hAGEAAAAFX2lkABAAAAAEqIPqzX2ymkSC2ln119A9UgREYXRhAAUAAAAAAk5hbWUADQAAAExpbmtEYXRhTGlzdAAQVmVyc2lvbgAAAAAACUxhc3RXcml0ZQBQM/grlgEAAAACAP////9wAHAAAAAFX2lkABAAAAAEG8TQLzRNKEq206nsTAdrHgNEYXRhABYAAAACUGVyc29uYWxJZAABAAAAAAACTmFtZQALAAAAUGVyc29uYWxJZAAQVmVyc2lvbgAAAAAACUxhc3RXcml0ZQB9M/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87037428"/>
  <p:tag name="EMPOWERCHARTSPROPERTIES_B_LENGTH" val="24576"/>
  <p:tag name="DOWN_MIGRATION_INITIAL_LAYOUT_REQUIRED" val="9.2.99"/>
  <p:tag name="RUNTIME_ID" val="2c7303a9-4d36-4946-a8aa-422b80542be5"/>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AgD///////8DAAAAAwD///////8DAAAAAwD///////8DAAAAAwD///////////////////////////////////////////////////////////////////////////////////////////////////////////////////////////////////////////////////////////////////////////////////////////////////////////////////////////////////////////////////////////////////////////////////////////////////////////////////////////////////////////////////////////////////////////////////////////////////////////////////////////////////////////////////////////////8BACAA////////////////AAAO////////AwAAAAQA////////////////////////////////////////////////////////////////////////////////////////////////////////////////////////////////////////////////////////////////////////////////////////////////////////////////////////////////////////////////////////////////////////////////////////////////////////////////////////////////////////////////////////////////////////////////////////////////////////////////////////////////////////////////////////////////////////////////////////////////////////////////////////AgABAP///////wUAAAACABAAC8cgnTqcEVtIoSeyiEcHXHsEAAAAAAADAAAAAAADAAAAAwADAAQA////////BQAAAAMAEAALbi4Q19RmiU6S07PjQ+ivxAQAAAABAAMAAAACAAMAAAAEAAMAAAAAAAMAAAAEAAMAAAAAAAMAAAAEAAMAAAAAAAMAAAAEAAQABAD///////8FAAAABAAQAAsdCvHrvj7ZRIVJQnDLuJzkBAAAAAIAAwAAAAMAAwAAAAEAAwAAAAM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yCdOpwRW0ihJ7KIRwdcewREYXRhAAUAAAAAAk5hbWUADQAAAExpbmtEYXRhTGlzdAAQVmVyc2lvbgABAAAACUxhc3RXcml0ZQBMNfkrlgEAAAABAP////9hAGEAAAAFX2lkABAAAAAEbi4Q19RmiU6S07PjQ+ivxAREYXRhAAUAAAAAAk5hbWUADQAAAExpbmtEYXRhTGlzdAAQVmVyc2lvbgAAAAAACUxhc3RXcml0ZQBKNfkrlgEAAAACAP////9wAHAAAAAFX2lkABAAAAAEHQrx674+2USFSUJwy7ic5ANEYXRhABYAAAACUGVyc29uYWxJZAABAAAAAAACTmFtZQALAAAAUGVyc29uYWxJZAAQVmVyc2lvbgAAAAAACUxhc3RXcml0ZQDZNf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UAAAADAP///////////////////////////////////////////////////////////////////////////////////////////////////////////////////////////////////////////////////////////////////////////////////////////////////////////////////////////////////////////////////////////////////////////////////////////////////////////////////////////////////////////////////////////////////////////////////////////////////////////////////////////////////////////////////////////////wEAIAH///////////////8AAA7///////8FAAAABAD///////////////////////////////////////////////////////////////////////////////////////////////////////////////////////////////////////////////////////////////////////////////////////////////////////////////////////////////////////////////////////////////////////////////////////////////////////////////////////////////////////////////////////////////////////////////////////////////////////////////////////////////////////////////////////////////////////////////////////////////////////////////////////8CAAEBAwAAAAIA////////DgAGTGlua0RhdGFMaXN0XzEEAAAAAAAFAAAAAwAFAAAABAADAAQBAwAAAAMA////////DgAGTGlua0RhdGFMaXN0XzAEAAAAAQ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47700307"/>
  <p:tag name="EMPOWERCHARTSPROPERTIES_B_LENGTH" val="24576"/>
  <p:tag name="DOWN_MIGRATION_INITIAL_LAYOUT_REQUIRED" val="9.2.99"/>
  <p:tag name="RUNTIME_ID" val="c22d15c6-65f8-4f63-aeeb-7fa0e193954f"/>
</p:tagLst>
</file>

<file path=ppt/tags/tag9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3CcVkE0A2dKhni2jyPm6J4EAAAAAAADAAAAAAADAAAAAwADAAIA////////BQAAAAMAEAALIW2URK2LKEu2CJisWlUotQQAAAABAAMAAAACAAMAAAAEAAMAAAAAAP///////wQAAQD///////8FAAAABAAQAAt6uolWuYomQ4j/LBKJ9L0V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JxWQTQDZ0qGeLaPI+bongREYXRhAAUAAAAAAk5hbWUADQAAAExpbmtEYXRhTGlzdAAQVmVyc2lvbgAAAAAACUxhc3RXcml0ZQD+NvkrlgEAAAABAP////9hAGEAAAAFX2lkABAAAAAEIW2URK2LKEu2CJisWlUotQREYXRhAAUAAAAAAk5hbWUADQAAAExpbmtEYXRhTGlzdAAQVmVyc2lvbgABAAAACUxhc3RXcml0ZQAON/krlgEAAAACAP////9wAHAAAAAFX2lkABAAAAAEerqJVrmKJkOI/ywSifS9FQNEYXRhABYAAAACUGVyc29uYWxJZAABAAAAAAACTmFtZQALAAAAUGVyc29uYWxJZAAQVmVyc2lvbgAAAAAACUxhc3RXcml0ZQBSN/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51569571"/>
  <p:tag name="EMPOWERCHARTSPROPERTIES_B_LENGTH" val="24576"/>
  <p:tag name="DOWN_MIGRATION_INITIAL_LAYOUT_REQUIRED" val="9.2.99"/>
  <p:tag name="RUNTIME_ID" val="4b5f92da-e085-41d0-85c8-9956f93fa051"/>
</p:tagLst>
</file>

<file path=ppt/tags/tag9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wD///////8DAAAAAwD///////8DAAAAAwD///////////////////////////////////////////////////////////////////////////////////////////////////////////////////////////////////////////////////////////////////////////////////////////////////////////////////////////////////////////////////////////////////////////////////////////////////////////////////////////////////////////////////////////////////////////////////////////////////////////////////////////////////////////////////////////////8BACAA////////////////AAAO////////AwAAAAQA////////////////////////////////////////////////////////////////////////////////////////////////////////////////////////////////////////////////////////////////////////////////////////////////////////////////////////////////////////////////////////////////////////////////////////////////////////////////////////////////////////////////////////////////////////////////////////////////////////////////////////////////////////////////////////////////////////////////////////////////////////////////////////AgABAP///////wUAAAACABAAC/ZJjhNL/zZMs63n6RzP8ygEAAAAAAADAAAAAAADAAAAAwADAAQA////////BQAAAAMAEAALOrAnlWu04Eu3tcIlB8+wHwQAAAABAAMAAAACAAMAAAAEAAMAAAAAAAMAAAAEAAMAAAAAAP///////wMAAAAAAP///////wQAAgD///////8FAAAABAAQAAszotndSkVwQqunvURRX/QC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kmOE0v/NkyzrefpHM/zKAREYXRhAAUAAAAAAk5hbWUADQAAAExpbmtEYXRhTGlzdAAQVmVyc2lvbgABAAAACUxhc3RXcml0ZQC8N/krlgEAAAABAP////9hAGEAAAAFX2lkABAAAAAEOrAnlWu04Eu3tcIlB8+wHwREYXRhAAUAAAAAAk5hbWUADQAAAExpbmtEYXRhTGlzdAAQVmVyc2lvbgAAAAAACUxhc3RXcml0ZQC7N/krlgEAAAACAP////9wAHAAAAAFX2lkABAAAAAEM6LZ3UpFcEKrp71EUV/0AgNEYXRhABYAAAACUGVyc29uYWxJZAABAAAAAAACTmFtZQALAAAAUGVyc29uYWxJZAAQVmVyc2lvbgAAAAAACUxhc3RXcml0ZQD+N/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EBAwAAAAIA////////DgAGTGlua0RhdGFMaXN0XzEEAAAAAAAFAAAAAwAFAAAABAADAAQBAwAAAAMA////////DgAGTGlua0RhdGFMaXN0XzAEAAAAAQAFAAAAAAAFAAAAAgAFAAAAAAAFAAAABAAFAAAAAAD///////8FAAAAAAD///////8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53318891"/>
  <p:tag name="EMPOWERCHARTSPROPERTIES_B_LENGTH" val="24576"/>
  <p:tag name="DOWN_MIGRATION_INITIAL_LAYOUT_REQUIRED" val="9.2.99"/>
  <p:tag name="RUNTIME_ID" val="fa525a21-0d1e-40e2-bdd4-3fd363f4cffd"/>
</p:tagLst>
</file>

<file path=ppt/tags/tag9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MBAQEBAQEBAQEBAQEBAQMAAAAAAAAAAwAAAAMAAAAA/////wUAqgsAAAAAAAAAAAAAIAD///////////////8AAAD///////////////8DAAAAAgD///////8DAAAAAgD///////8DAAAAAgD///////8DAAAAAwD///////8DAAAAAwD///////8DAAAAAwD///////8DAAAAAwD///////8DAAAAAwD///////////////////////////////////////////////////////////////////////////////////////////////////////////////////////////////////////////////////////////////////////////////////////////////////////////////////////////////////////////////////////////////////////////////////////////////////////////////////////////////////////////////////////////////////////////////////////////////8BACAA////////////////AAAO////////AwAAAAMA////////////////////////////////////////////////////////////////////////////////////////////////////////////////////////////////////////////////////////////////////////////////////////////////////////////////////////////////////////////////////////////////////////////////////////////////////////////////////////////////////////////////////////////////////////////////////////////////////////////////////////////////////////////////////////////////////////////////////////////////////////////////////////AgADAP///////wUAAAACABAAC9MxeBbFKYtHmApaat2IJBoEAAAAAAADAAAAAAADAAAABAADAAAAAAADAAAAAwADAAAAAAADAAAAAwADAAgA////////BQAAAAMAEAALQnqvxfTJCEmeuYWvBXPMVQQAAAABAAMAAAAEAAMAAAABAAMAAAACAP///////wMAAAACAP///////wMAAAAAAP///////wMAAAAAAP///////wMAAAAAAP///////wMAAAAAAP///////wMAAAAAAP///////wQAAQD///////8FAAAABAAQAAu2iJNFdpO/R4Zc4EyTmt+K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zF4FsUpi0eYClpq3YgkGgREYXRhAAUAAAAAAk5hbWUADQAAAExpbmtEYXRhTGlzdAAQVmVyc2lvbgAAAAAACUxhc3RXcml0ZQB3OPkrlgEAAAABAP////9hAGEAAAAFX2lkABAAAAAEQnqvxfTJCEmeuYWvBXPMVQREYXRhAAUAAAAAAk5hbWUADQAAAExpbmtEYXRhTGlzdAAQVmVyc2lvbgABAAAACUxhc3RXcml0ZQB3OPkrlgEAAAACAP////9wAHAAAAAFX2lkABAAAAAEtoiTRXaTv0eGXOBMk5rfigNEYXRhABYAAAACUGVyc29uYWxJZAABAAAAAAACTmFtZQALAAAAUGVyc29uYWxJZAAQVmVyc2lvbgAAAAAACUxhc3RXcml0ZQDGOP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CAP///////////////////////////////////////////////////////////////////////////////////////////////////////////////////////////////////////////////////////////////////////////////////////////////////////////////////////////////////////////////////////////////////////////////////////////////////////////////////////////////////////////////////////////////////////////////////////////////////////////////////////////////////////////////////////////////////////////////wEAIAH///////////////8AAA7///////8FAAAABAD///////////////////////////////////////////////////////////////////////////////////////////////////////////////////////////////////////////////////////////////////////////////////////////////////////////////////////////////////////////////////////////////////////////////////////////////////////////////////////////////////////////////////////////////////////////////////////////////////////////////////////////////////////////////////////////////////////////////////////////////////////////////////////8CAAMBAwAAAAIA////////DgAGTGlua0RhdGFMaXN0XzAEAAAAAAAFAAAAAAAFAAAAAwAFAAAAAAAFAAAAAwAFAAAAAAAFAAAAAwA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55188398"/>
  <p:tag name="EMPOWERCHARTSPROPERTIES_B_LENGTH" val="24576"/>
  <p:tag name="DOWN_MIGRATION_INITIAL_LAYOUT_REQUIRED" val="9.2.99"/>
  <p:tag name="RUNTIME_ID" val="56770303-e49a-4da9-bb52-20d56e2dc706"/>
</p:tagLst>
</file>

<file path=ppt/tags/tag9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7ZBCCsaUutOiMR8Y+IVmrYEAAAAAAADAAAAAAADAAAABAADAAAAAAD///////8DAAEA////////BQAAAAMAEAALM6rArrzLbEGGTk9nEZtTZgQAAAABAAMAAAAEAAMAAAABAAQAAQD///////8FAAAABAAQAAsM8mJvyuqeT5kdrR1q4otc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kEIKxpS606IxHxj4hWatgREYXRhAAUAAAAAAk5hbWUADQAAAExpbmtEYXRhTGlzdAAQVmVyc2lvbgAAAAAACUxhc3RXcml0ZQAtOfkrlgEAAAABAP////9hAGEAAAAFX2lkABAAAAAEM6rArrzLbEGGTk9nEZtTZgREYXRhAAUAAAAAAk5hbWUADQAAAExpbmtEYXRhTGlzdAAQVmVyc2lvbgABAAAACUxhc3RXcml0ZQAuOfkrlgEAAAACAP////9wAHAAAAAFX2lkABAAAAAEDPJib8rqnk+ZHa0dauKLXANEYXRhABYAAAACUGVyc29uYWxJZAABAAAAAAACTmFtZQALAAAAUGVyc29uYWxJZAAQVmVyc2lvbgAAAAAACUxhc3RXcml0ZQCBOf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57081537"/>
  <p:tag name="EMPOWERCHARTSPROPERTIES_B_LENGTH" val="24576"/>
  <p:tag name="DOWN_MIGRATION_INITIAL_LAYOUT_REQUIRED" val="9.2.99"/>
  <p:tag name="RUNTIME_ID" val="b2758629-b959-410a-8a84-85f4fabb67d4"/>
</p:tagLst>
</file>

<file path=ppt/tags/tag9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wUA/gsAAAAAAAAAAAAAIAD///////////////8AAAD///////////////8DAAAAAgD///////8DAAAABAD///////8DAAAABAD///////////////////////////////////////////////////////////////////////////////////////////////////////////////////////////////////////////////////////////////////////////////////////////////////////////////////////////////////////////////////////////////////////////////////////////////////////////////////////////////////////////////////////////////////////////////////////////////////////////////////////////////////////////////////////////////////////////////8BACAA////////////////AAAO////////AwAAAAQA////////////////////////////////////////////////////////////////////////////////////////////////////////////////////////////////////////////////////////////////////////////////////////////////////////////////////////////////////////////////////////////////////////////////////////////////////////////////////////////////////////////////////////////////////////////////////////////////////////////////////////////////////////////////////////////////////////////////////////////////////////////////////////AgABAP///////wUAAAACABAAC3KAMU6Y925FhoqRosUjatMEAAAAAAADAAAAAAADAAAAAwADAAEA////////BQAAAAMAEAALDYTQ69PebUS62iQby4PeugQAAAABAAMAAAACAAMAAAAEAAQAAwD///////8FAAAABAAQAAsBiqjxzV89SZIbFrWs4aDbBAAAAAIAAwAAAAMAAwAAAAE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oAxTpj3bkWGipGixSNq0wREYXRhAAUAAAAAAk5hbWUADQAAAExpbmtEYXRhTGlzdAAQVmVyc2lvbgABAAAACUxhc3RXcml0ZQD1OfkrlgEAAAABAP////9hAGEAAAAFX2lkABAAAAAEDYTQ69PebUS62iQby4PeugREYXRhAAUAAAAAAk5hbWUADQAAAExpbmtEYXRhTGlzdAAQVmVyc2lvbgAAAAAACUxhc3RXcml0ZQDwOfkrlgEAAAACAP////9wAHAAAAAFX2lkABAAAAAEAYqo8c1fPUmSGxa1rOGg2wNEYXRhABYAAAACUGVyc29uYWxJZAABAAAAAAACTmFtZQALAAAAUGVyc29uYWxJZAAQVmVyc2lvbgAAAAAACUxhc3RXcml0ZQBHOv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59277555"/>
  <p:tag name="EMPOWERCHARTSPROPERTIES_B_LENGTH" val="24576"/>
  <p:tag name="DOWN_MIGRATION_INITIAL_LAYOUT_REQUIRED" val="9.2.99"/>
  <p:tag name="RUNTIME_ID" val="407f19ba-c038-41f8-9631-f24a4e22ba1e"/>
</p:tagLst>
</file>

<file path=ppt/tags/tag9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wUA/gsAAAAAAAAAAAAAIAD///////////////8AAAD///////////////8DAAAAAgD///////8DAAAABAD///////8DAAAABAD///////////////////////////////////////////////////////////////////////////////////////////////////////////////////////////////////////////////////////////////////////////////////////////////////////////////////////////////////////////////////////////////////////////////////////////////////////////////////////////////////////////////////////////////////////////////////////////////////////////////////////////////////////////////////////////////////////////////8BACAA////////////////AAAO////////AwAAAAMA////////////////////////////////////////////////////////////////////////////////////////////////////////////////////////////////////////////////////////////////////////////////////////////////////////////////////////////////////////////////////////////////////////////////////////////////////////////////////////////////////////////////////////////////////////////////////////////////////////////////////////////////////////////////////////////////////////////////////////////////////////////////////////AgABAP///////wUAAAACABAACxciWnYdQT1OmAymexSRndEEAAAAAAADAAAAAAADAAAABAADAAEA////////BQAAAAMAEAAL6KsZvpi3zEOGq+C4bIBoZQQAAAABAAMAAAAEAAMAAAABAAQAAwD///////8FAAAABAAQAAtdNS+34hEJSaMeVask24iKBAAAAAIAAwAAAAI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yJadh1BPU6YDKZ7FJGd0QREYXRhAAUAAAAAAk5hbWUADQAAAExpbmtEYXRhTGlzdAAQVmVyc2lvbgABAAAACUxhc3RXcml0ZQC+OvkrlgEAAAABAP////9hAGEAAAAFX2lkABAAAAAE6KsZvpi3zEOGq+C4bIBoZQREYXRhAAUAAAAAAk5hbWUADQAAAExpbmtEYXRhTGlzdAAQVmVyc2lvbgAAAAAACUxhc3RXcml0ZQC9OvkrlgEAAAACAP////9wAHAAAAAFX2lkABAAAAAEXTUvt+IRCUmjHlWrJNuIigNEYXRhABYAAAACUGVyc29uYWxJZAABAAAAAAACTmFtZQALAAAAUGVyc29uYWxJZAAQVmVyc2lvbgAAAAAACUxhc3RXcml0ZQD6Ov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EAP///////wUAAAAEAP///////wUAAAAEAP///////////////////////////////////////////////////////////////////////////////////////////////////////////////////////////////////////////////////////////////////////////////////////////////////////////////////////////////////////////////////////////////////////////////////////////////////////////////////////////////////////////////////////////////////////////////////////////////////////////////////////////////////////////////////////////////wEAIAH///////////////8AAA7///////8FAAAABAD///////////////////////////////////////////////////////////////////////////////////////////////////////////////////////////////////////////////////////////////////////////////////////////////////////////////////////////////////////////////////////////////////////////////////////////////////////////////////////////////////////////////////////////////////////////////////////////////////////////////////////////////////////////////////////////////////////////////////////////////////////////////////////8CAAEBAwAAAAIA////////DgAGTGlua0RhdGFMaXN0XzEEAAAAAAAFAAAAAwAFAAAABAADAAEBAwAAAAMA////////DgAGTGlua0RhdGFMaXN0XzAEAAAAAQAFAAAAAAAFAAAAAgAEAAQBAwAAAAQA////////DAAGUGVyc29uYWxJZF8wBAAAAAIABQAAAAIABQAAAAE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60854185"/>
  <p:tag name="EMPOWERCHARTSPROPERTIES_B_LENGTH" val="24576"/>
  <p:tag name="DOWN_MIGRATION_INITIAL_LAYOUT_REQUIRED" val="9.2.99"/>
  <p:tag name="RUNTIME_ID" val="2f64882a-de83-4a32-bd0e-b97f287b7b5b"/>
</p:tagLst>
</file>

<file path=ppt/tags/tag9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AgD///////////////////////////////////////////////////////////////////////////////////////////////////////////////////////////////////////////////////////////////////////////////////////////////////////////////////////////////////////////////////////////////////////////////////////////////////////////////////////////////////////////////////////////////////////////////////////////////////////////////////////////////////////////////////////////////////////////////////////////////8BACAA////////////////AAAO////////AwAAAAMA////////////////////////////////////////////////////////////////////////////////////////////////////////////////////////////////////////////////////////////////////////////////////////////////////////////////////////////////////////////////////////////////////////////////////////////////////////////////////////////////////////////////////////////////////////////////////////////////////////////////////////////////////////////////////////////////////////////////////////////////////////////////////////AgACAP///////wUAAAACABAAC1EjgKax93hCsAoLwJGmC94EAAAAAAADAAAABAADAAAAAwADAAAAAAADAAAAAwADAAIA////////BQAAAAMAEAAL6va83gqPukWs1x16ybSljwQAAAABAAMAAAACAAMAAAABAAMAAAACAP///////wQAAQD///////8FAAAABAAQAAs2xMyJynCXTIo24kaXp/hW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SOAprH3eEKwCgvAkaYL3gREYXRhAAUAAAAAAk5hbWUADQAAAExpbmtEYXRhTGlzdAAQVmVyc2lvbgAAAAAACUxhc3RXcml0ZQBqO/krlgEAAAABAP////9hAGEAAAAFX2lkABAAAAAE6va83gqPukWs1x16ybSljwREYXRhAAUAAAAAAk5hbWUADQAAAExpbmtEYXRhTGlzdAAQVmVyc2lvbgABAAAACUxhc3RXcml0ZQBuO/krlgEAAAACAP////9wAHAAAAAFX2lkABAAAAAENsTMicpwl0yKNuJGl6f4VgNEYXRhABYAAAACUGVyc29uYWxJZAABAAAAAAACTmFtZQALAAAAUGVyc29uYWxJZAAQVmVyc2lvbgAAAAAACUxhc3RXcml0ZQCvO/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62693799"/>
  <p:tag name="EMPOWERCHARTSPROPERTIES_B_LENGTH" val="24576"/>
  <p:tag name="DOWN_MIGRATION_INITIAL_LAYOUT_REQUIRED" val="9.2.99"/>
  <p:tag name="RUNTIME_ID" val="db9e6510-8251-44d0-beaa-e150eae90c80"/>
</p:tagLst>
</file>

<file path=ppt/tags/tag9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8gsAAAAAAAAAAAAAIAD///////////////8AAAD///////////////8DAAAAAgD///////8DAAAAAgD///////////////////////////////////////////////////////////////////////////////////////////////////////////////////////////////////////////////////////////////////////////////////////////////////////////////////////////////////////////////////////////////////////////////////////////////////////////////////////////////////////////////////////////////////////////////////////////////////////////////////////////////////////////////////////////////////////////////////////////////8BACAA////////////////AAAO////////AwAAAAQA////////////////////////////////////////////////////////////////////////////////////////////////////////////////////////////////////////////////////////////////////////////////////////////////////////////////////////////////////////////////////////////////////////////////////////////////////////////////////////////////////////////////////////////////////////////////////////////////////////////////////////////////////////////////////////////////////////////////////////////////////////////////////////AgACAP///////wUAAAACABAAC+XVFEqgcDtOu12o1WNXwIAEAAAAAAADAAAAAAADAAAAAwADAAAAAAADAAAAAwADAAIA////////BQAAAAMAEAAL5UFFY+7sKUmdGGv7+J7TQAQAAAABAAMAAAACAAMAAAAEAAMAAAACAAMAAAAEAAQAAgD///////8FAAAABAAQAAsrZA5yjTZVRLncueEj++jz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5dUUSqBwO067XajVY1fAgAREYXRhAAUAAAAAAk5hbWUADQAAAExpbmtEYXRhTGlzdAAQVmVyc2lvbgABAAAACUxhc3RXcml0ZQBqPPkrlgEAAAABAP////9hAGEAAAAFX2lkABAAAAAE5UFFY+7sKUmdGGv7+J7TQAREYXRhAAUAAAAAAk5hbWUADQAAAExpbmtEYXRhTGlzdAAQVmVyc2lvbgAAAAAACUxhc3RXcml0ZQBmPPkrlgEAAAACAP////9wAHAAAAAFX2lkABAAAAAEK2QOco02VUS53LnhI/vo8wNEYXRhABYAAAACUGVyc29uYWxJZAABAAAAAAACTmFtZQALAAAAUGVyc29uYWxJZAAQVmVyc2lvbgAAAAAACUxhc3RXcml0ZQClPP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EAP///////wUAAAAEAP///////////////////////////////////////////////////////////////////////////////////////////////////////////////////////////////////////////////////////////////////////////////////////////////////////////////////////////////////////////////////////////////////////////////////////////////////////////////////////////////////////////////////////////////////////////////////////////////////////////////////////////////////////////////////////////////wEAIAH///////////////8AAA7///////8FAAAABAD///////////////////////////////////////////////////////////////////////////////////////////////////////////////////////////////////////////////////////////////////////////////////////////////////////////////////////////////////////////////////////////////////////////////////////////////////////////////////////////////////////////////////////////////////////////////////////////////////////////////////////////////////////////////////////////////////////////////////////////////////////////////////////8CAAIBAwAAAAIA////////DgAGTGlua0RhdGFMaXN0XzEEAAAAAAAFAAAAAwAFAAAABAAFAAAAAwAFAAAABAADAAIBAwAAAAMA////////DgAGTGlua0RhdGFMaXN0XzAEAAAAAQAFAAAAAAAFAAAAAgAFAAAAAAAFAAAAAgAEAAQBAwAAAAQA////////DAAGUGVyc29uYWxJZF8wBAAAAAIABQAAAAIABQAAAAEABQAAAAI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65030635"/>
  <p:tag name="EMPOWERCHARTSPROPERTIES_B_LENGTH" val="24576"/>
  <p:tag name="DOWN_MIGRATION_INITIAL_LAYOUT_REQUIRED" val="9.2.99"/>
  <p:tag name="RUNTIME_ID" val="7a279d1c-2871-4a41-bce2-eed1950f1010"/>
</p:tagLst>
</file>

<file path=ppt/theme/theme1.xml><?xml version="1.0" encoding="utf-8"?>
<a:theme xmlns:a="http://schemas.openxmlformats.org/drawingml/2006/main" name="msg_Master">
  <a:themeElements>
    <a:clrScheme name="msg_Colors">
      <a:dk1>
        <a:sysClr val="windowText" lastClr="000000"/>
      </a:dk1>
      <a:lt1>
        <a:sysClr val="window" lastClr="FFFFFF"/>
      </a:lt1>
      <a:dk2>
        <a:srgbClr val="4A4A4A"/>
      </a:dk2>
      <a:lt2>
        <a:srgbClr val="ACACAC"/>
      </a:lt2>
      <a:accent1>
        <a:srgbClr val="A01441"/>
      </a:accent1>
      <a:accent2>
        <a:srgbClr val="139EAD"/>
      </a:accent2>
      <a:accent3>
        <a:srgbClr val="F5B510"/>
      </a:accent3>
      <a:accent4>
        <a:srgbClr val="70DC51"/>
      </a:accent4>
      <a:accent5>
        <a:srgbClr val="5866E3"/>
      </a:accent5>
      <a:accent6>
        <a:srgbClr val="D74B94"/>
      </a:accent6>
      <a:hlink>
        <a:srgbClr val="A01441"/>
      </a:hlink>
      <a:folHlink>
        <a:srgbClr val="A01441"/>
      </a:folHlink>
    </a:clrScheme>
    <a:fontScheme name="Benutzerdefiniert 16">
      <a:majorFont>
        <a:latin typeface="Aptos"/>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08000" tIns="72000" rIns="108000" bIns="72000" rtlCol="0" anchor="ctr"/>
      <a:lstStyle>
        <a:defPPr algn="ctr">
          <a:defRPr sz="1600" dirty="0" smtClean="0"/>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err="1" smtClean="0"/>
        </a:defPPr>
      </a:lstStyle>
    </a:txDef>
  </a:objectDefaults>
  <a:extraClrSchemeLst/>
  <a:extLst>
    <a:ext uri="{05A4C25C-085E-4340-85A3-A5531E510DB2}">
      <thm15:themeFamily xmlns:thm15="http://schemas.microsoft.com/office/thememl/2012/main" name="msg_PPT_Master.pptx" id="{C83475F5-D6A3-4D41-85F5-B99C775542F2}" vid="{C43F23F9-0055-4EA5-BFC5-2F34A2EEC2B7}"/>
    </a:ext>
  </a:extLst>
</a:theme>
</file>

<file path=ppt/theme/theme2.xml><?xml version="1.0" encoding="utf-8"?>
<a:theme xmlns:a="http://schemas.openxmlformats.org/drawingml/2006/main" name="Office">
  <a:themeElements>
    <a:clrScheme name="msg_Colors">
      <a:dk1>
        <a:sysClr val="windowText" lastClr="000000"/>
      </a:dk1>
      <a:lt1>
        <a:sysClr val="window" lastClr="FFFFFF"/>
      </a:lt1>
      <a:dk2>
        <a:srgbClr val="6F6F6F"/>
      </a:dk2>
      <a:lt2>
        <a:srgbClr val="E9E9E9"/>
      </a:lt2>
      <a:accent1>
        <a:srgbClr val="A01441"/>
      </a:accent1>
      <a:accent2>
        <a:srgbClr val="4A4A4A"/>
      </a:accent2>
      <a:accent3>
        <a:srgbClr val="ACACAC"/>
      </a:accent3>
      <a:accent4>
        <a:srgbClr val="E9E9E9"/>
      </a:accent4>
      <a:accent5>
        <a:srgbClr val="56A3BC"/>
      </a:accent5>
      <a:accent6>
        <a:srgbClr val="6DA000"/>
      </a:accent6>
      <a:hlink>
        <a:srgbClr val="A01441"/>
      </a:hlink>
      <a:folHlink>
        <a:srgbClr val="A01441"/>
      </a:folHlink>
    </a:clrScheme>
    <a:fontScheme name="msg_Fonts_Aptos">
      <a:majorFont>
        <a:latin typeface="Aptos"/>
        <a:ea typeface=""/>
        <a:cs typeface=""/>
      </a:majorFont>
      <a:minorFont>
        <a:latin typeface="Apto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a:themeElements>
    <a:clrScheme name="msg_Colors">
      <a:dk1>
        <a:sysClr val="windowText" lastClr="000000"/>
      </a:dk1>
      <a:lt1>
        <a:sysClr val="window" lastClr="FFFFFF"/>
      </a:lt1>
      <a:dk2>
        <a:srgbClr val="6F6F6F"/>
      </a:dk2>
      <a:lt2>
        <a:srgbClr val="E9E9E9"/>
      </a:lt2>
      <a:accent1>
        <a:srgbClr val="A01441"/>
      </a:accent1>
      <a:accent2>
        <a:srgbClr val="4A4A4A"/>
      </a:accent2>
      <a:accent3>
        <a:srgbClr val="ACACAC"/>
      </a:accent3>
      <a:accent4>
        <a:srgbClr val="E9E9E9"/>
      </a:accent4>
      <a:accent5>
        <a:srgbClr val="56A3BC"/>
      </a:accent5>
      <a:accent6>
        <a:srgbClr val="6DA000"/>
      </a:accent6>
      <a:hlink>
        <a:srgbClr val="A01441"/>
      </a:hlink>
      <a:folHlink>
        <a:srgbClr val="A01441"/>
      </a:folHlink>
    </a:clrScheme>
    <a:fontScheme name="msg_Fonts_Aptos">
      <a:majorFont>
        <a:latin typeface="Aptos"/>
        <a:ea typeface=""/>
        <a:cs typeface=""/>
      </a:majorFont>
      <a:minorFont>
        <a:latin typeface="Apto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a53a62bb-fe8c-40a9-b721-69dc556ec299" ContentTypeId="0x010100CB739A34987DFC4799956597BE84C54F" PreviousValue="fals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msg_compliance_dokument" ma:contentTypeID="0x010100CB739A34987DFC4799956597BE84C54F0008C64B1B8015174EB36A156614839271" ma:contentTypeVersion="121" ma:contentTypeDescription="Ein neues Dokument erstellen" ma:contentTypeScope="" ma:versionID="d148418ce15fa400cc1bd6f9ff878a4e">
  <xsd:schema xmlns:xsd="http://www.w3.org/2001/XMLSchema" xmlns:xs="http://www.w3.org/2001/XMLSchema" xmlns:p="http://schemas.microsoft.com/office/2006/metadata/properties" xmlns:ns2="f719ecbf-a19d-4b01-ba1f-7ffa0d8a5235" xmlns:ns4="92d247c3-14bf-44d0-aeb9-54c722447403" targetNamespace="http://schemas.microsoft.com/office/2006/metadata/properties" ma:root="true" ma:fieldsID="735a0ad24d8a7c7f1f5993343cb3cce0" ns2:_="" ns4:_="">
    <xsd:import namespace="f719ecbf-a19d-4b01-ba1f-7ffa0d8a5235"/>
    <xsd:import namespace="92d247c3-14bf-44d0-aeb9-54c722447403"/>
    <xsd:element name="properties">
      <xsd:complexType>
        <xsd:sequence>
          <xsd:element name="documentManagement">
            <xsd:complexType>
              <xsd:all>
                <xsd:element ref="ns2:f16d888152304445aa5b35ba4716d4a8" minOccurs="0"/>
                <xsd:element ref="ns2:TaxCatchAll" minOccurs="0"/>
                <xsd:element ref="ns2:TaxCatchAllLabel" minOccurs="0"/>
                <xsd:element ref="ns2:h3f1b06ce09f48098d4991f35ddb7359" minOccurs="0"/>
                <xsd:element ref="ns2:AufbewahrungBis" minOccurs="0"/>
                <xsd:element ref="ns4:_dlc_DocId" minOccurs="0"/>
                <xsd:element ref="ns4:_dlc_DocIdUrl" minOccurs="0"/>
                <xsd:element ref="ns4: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19ecbf-a19d-4b01-ba1f-7ffa0d8a5235" elementFormDefault="qualified">
    <xsd:import namespace="http://schemas.microsoft.com/office/2006/documentManagement/types"/>
    <xsd:import namespace="http://schemas.microsoft.com/office/infopath/2007/PartnerControls"/>
    <xsd:element name="f16d888152304445aa5b35ba4716d4a8" ma:index="8" nillable="true" ma:taxonomy="true" ma:internalName="f16d888152304445aa5b35ba4716d4a8" ma:taxonomyFieldName="msg_status" ma:displayName="msg_Status" ma:default="5564;#draft|f1fe2a98-d56b-449d-82ee-cefd9e5def11" ma:fieldId="{f16d8881-5230-4445-aa5b-35ba4716d4a8}" ma:sspId="a53a62bb-fe8c-40a9-b721-69dc556ec299" ma:termSetId="2728d801-4acd-4eb4-aa2c-25cd9914c1e8"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5e418032-ddac-4e64-b4ae-8b5d87400bcb}" ma:internalName="TaxCatchAll" ma:showField="CatchAllData" ma:web="92d247c3-14bf-44d0-aeb9-54c722447403">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e418032-ddac-4e64-b4ae-8b5d87400bcb}" ma:internalName="TaxCatchAllLabel" ma:readOnly="true" ma:showField="CatchAllDataLabel" ma:web="92d247c3-14bf-44d0-aeb9-54c722447403">
      <xsd:complexType>
        <xsd:complexContent>
          <xsd:extension base="dms:MultiChoiceLookup">
            <xsd:sequence>
              <xsd:element name="Value" type="dms:Lookup" maxOccurs="unbounded" minOccurs="0" nillable="true"/>
            </xsd:sequence>
          </xsd:extension>
        </xsd:complexContent>
      </xsd:complexType>
    </xsd:element>
    <xsd:element name="h3f1b06ce09f48098d4991f35ddb7359" ma:index="12" nillable="true" ma:taxonomy="true" ma:internalName="h3f1b06ce09f48098d4991f35ddb7359" ma:taxonomyFieldName="msg_firma" ma:displayName="msg_Firma" ma:fieldId="{13f1b06c-e09f-4809-8d49-91f35ddb7359}" ma:sspId="a53a62bb-fe8c-40a9-b721-69dc556ec299" ma:termSetId="e83dff77-f37a-4aff-95fb-d7ebb9766cd8" ma:anchorId="00000000-0000-0000-0000-000000000000" ma:open="false" ma:isKeyword="false">
      <xsd:complexType>
        <xsd:sequence>
          <xsd:element ref="pc:Terms" minOccurs="0" maxOccurs="1"/>
        </xsd:sequence>
      </xsd:complexType>
    </xsd:element>
    <xsd:element name="AufbewahrungBis" ma:index="14" nillable="true" ma:displayName="Aufbewahrung bis" ma:format="DateOnly" ma:hidden="true" ma:internalName="AufbewahrungBis">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92d247c3-14bf-44d0-aeb9-54c722447403" elementFormDefault="qualified">
    <xsd:import namespace="http://schemas.microsoft.com/office/2006/documentManagement/types"/>
    <xsd:import namespace="http://schemas.microsoft.com/office/infopath/2007/PartnerControls"/>
    <xsd:element name="_dlc_DocId" ma:index="16" nillable="true" ma:displayName="Wert der Dokument-ID" ma:description="Der Wert der diesem Element zugewiesenen Dokument-ID." ma:indexed="true" ma:internalName="_dlc_DocId" ma:readOnly="true">
      <xsd:simpleType>
        <xsd:restriction base="dms:Text"/>
      </xsd:simpleType>
    </xsd:element>
    <xsd:element name="_dlc_DocIdUrl" ma:index="17"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8" nillable="true" ma:displayName="Beständige ID" ma:description="ID beim Hinzufügen beibehalten."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5" ma:displayName="Autor"/>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AufbewahrungBis xmlns="f719ecbf-a19d-4b01-ba1f-7ffa0d8a5235" xsi:nil="true"/>
    <h3f1b06ce09f48098d4991f35ddb7359 xmlns="f719ecbf-a19d-4b01-ba1f-7ffa0d8a5235">
      <Terms xmlns="http://schemas.microsoft.com/office/infopath/2007/PartnerControls"/>
    </h3f1b06ce09f48098d4991f35ddb7359>
    <TaxCatchAll xmlns="f719ecbf-a19d-4b01-ba1f-7ffa0d8a5235">
      <Value>5564</Value>
    </TaxCatchAll>
    <f16d888152304445aa5b35ba4716d4a8 xmlns="f719ecbf-a19d-4b01-ba1f-7ffa0d8a5235">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f1fe2a98-d56b-449d-82ee-cefd9e5def11</TermId>
        </TermInfo>
      </Terms>
    </f16d888152304445aa5b35ba4716d4a8>
    <_dlc_DocId xmlns="92d247c3-14bf-44d0-aeb9-54c722447403">Grafik-369647302-468739</_dlc_DocId>
    <_dlc_DocIdUrl xmlns="92d247c3-14bf-44d0-aeb9-54c722447403">
      <Url>https://msggroup.sharepoint.com/sites/TEA-Grafik/_layouts/15/DocIdRedir.aspx?ID=Grafik-369647302-468739</Url>
      <Description>Grafik-369647302-468739</Description>
    </_dlc_DocIdUrl>
  </documentManagement>
</p:properties>
</file>

<file path=customXml/itemProps1.xml><?xml version="1.0" encoding="utf-8"?>
<ds:datastoreItem xmlns:ds="http://schemas.openxmlformats.org/officeDocument/2006/customXml" ds:itemID="{E6B0D8A1-8DFB-43C5-8198-3A202582CA2A}">
  <ds:schemaRefs>
    <ds:schemaRef ds:uri="Microsoft.SharePoint.Taxonomy.ContentTypeSync"/>
  </ds:schemaRefs>
</ds:datastoreItem>
</file>

<file path=customXml/itemProps2.xml><?xml version="1.0" encoding="utf-8"?>
<ds:datastoreItem xmlns:ds="http://schemas.openxmlformats.org/officeDocument/2006/customXml" ds:itemID="{1783F8A6-26D0-42F7-95B5-2EC67E23F506}">
  <ds:schemaRefs>
    <ds:schemaRef ds:uri="http://schemas.microsoft.com/sharepoint/v3/contenttype/forms"/>
  </ds:schemaRefs>
</ds:datastoreItem>
</file>

<file path=customXml/itemProps3.xml><?xml version="1.0" encoding="utf-8"?>
<ds:datastoreItem xmlns:ds="http://schemas.openxmlformats.org/officeDocument/2006/customXml" ds:itemID="{691E977B-2454-43B0-827B-6B71CA76FCC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19ecbf-a19d-4b01-ba1f-7ffa0d8a5235"/>
    <ds:schemaRef ds:uri="92d247c3-14bf-44d0-aeb9-54c72244740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AEB6B875-C18E-467F-93C4-47BE434A6A0F}">
  <ds:schemaRefs>
    <ds:schemaRef ds:uri="http://schemas.microsoft.com/sharepoint/events"/>
  </ds:schemaRefs>
</ds:datastoreItem>
</file>

<file path=customXml/itemProps5.xml><?xml version="1.0" encoding="utf-8"?>
<ds:datastoreItem xmlns:ds="http://schemas.openxmlformats.org/officeDocument/2006/customXml" ds:itemID="{8996B82D-8779-4ADB-BB8B-4E29798EF3C6}">
  <ds:schemaRefs>
    <ds:schemaRef ds:uri="http://schemas.microsoft.com/office/infopath/2007/PartnerControls"/>
    <ds:schemaRef ds:uri="http://schemas.microsoft.com/office/2006/documentManagement/types"/>
    <ds:schemaRef ds:uri="http://purl.org/dc/terms/"/>
    <ds:schemaRef ds:uri="http://schemas.openxmlformats.org/package/2006/metadata/core-properties"/>
    <ds:schemaRef ds:uri="92d247c3-14bf-44d0-aeb9-54c722447403"/>
    <ds:schemaRef ds:uri="http://www.w3.org/XML/1998/namespace"/>
    <ds:schemaRef ds:uri="http://purl.org/dc/elements/1.1/"/>
    <ds:schemaRef ds:uri="f719ecbf-a19d-4b01-ba1f-7ffa0d8a5235"/>
    <ds:schemaRef ds:uri="http://schemas.microsoft.com/office/2006/metadata/properties"/>
    <ds:schemaRef ds:uri="http://purl.org/dc/dcmitype/"/>
  </ds:schemaRefs>
</ds:datastoreItem>
</file>

<file path=docMetadata/LabelInfo.xml><?xml version="1.0" encoding="utf-8"?>
<clbl:labelList xmlns:clbl="http://schemas.microsoft.com/office/2020/mipLabelMetadata">
  <clbl:label id="{0e821cde-48ad-4065-9a7a-ac3e26dfc9d5}" enabled="1" method="Privileged" siteId="{763b2760-45c5-46d3-883e-29705bba49b7}" removed="0"/>
</clbl:labelList>
</file>

<file path=docProps/app.xml><?xml version="1.0" encoding="utf-8"?>
<Properties xmlns="http://schemas.openxmlformats.org/officeDocument/2006/extended-properties" xmlns:vt="http://schemas.openxmlformats.org/officeDocument/2006/docPropsVTypes">
  <Template>Master_msg_systems</Template>
  <TotalTime>0</TotalTime>
  <Words>5620</Words>
  <Application>Microsoft Macintosh PowerPoint</Application>
  <PresentationFormat>Breitbild</PresentationFormat>
  <Paragraphs>977</Paragraphs>
  <Slides>51</Slides>
  <Notes>37</Notes>
  <HiddenSlides>0</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1</vt:i4>
      </vt:variant>
      <vt:variant>
        <vt:lpstr>Folientitel</vt:lpstr>
      </vt:variant>
      <vt:variant>
        <vt:i4>51</vt:i4>
      </vt:variant>
    </vt:vector>
  </HeadingPairs>
  <TitlesOfParts>
    <vt:vector size="65" baseType="lpstr">
      <vt:lpstr>Aptos</vt:lpstr>
      <vt:lpstr>Aptos Bold</vt:lpstr>
      <vt:lpstr>Aptos Light</vt:lpstr>
      <vt:lpstr>Arial</vt:lpstr>
      <vt:lpstr>Calibri</vt:lpstr>
      <vt:lpstr>Calibri Light</vt:lpstr>
      <vt:lpstr>Carnac</vt:lpstr>
      <vt:lpstr>Carnac ExtraBold</vt:lpstr>
      <vt:lpstr>Carnac Light</vt:lpstr>
      <vt:lpstr>Segoe UI</vt:lpstr>
      <vt:lpstr>Times New Roman</vt:lpstr>
      <vt:lpstr>Wingdings</vt:lpstr>
      <vt:lpstr>msg_Master</vt:lpstr>
      <vt:lpstr>think-cell Folie</vt:lpstr>
      <vt:lpstr>Die Unternehmenspräsentation gibt einen Überblick über uns und unser Leistungsversprechen für Kunden, Bewerbende und Interessenten</vt:lpstr>
      <vt:lpstr>Accelerating Transformation</vt:lpstr>
      <vt:lpstr>Let’s talk digital!</vt:lpstr>
      <vt:lpstr>PowerPoint-Präsentation</vt:lpstr>
      <vt:lpstr>PowerPoint-Präsentation</vt:lpstr>
      <vt:lpstr>Die Menschen in den Mittelpunkt stellen: als Kunden, als Nutzer unserer Lösungen und als Mitarbeitende.  </vt:lpstr>
      <vt:lpstr>Warum msg der richtige Partner ist</vt:lpstr>
      <vt:lpstr>Warum msg der richtige Partner ist</vt:lpstr>
      <vt:lpstr>Warum msg der richtige Partner ist</vt:lpstr>
      <vt:lpstr>Vom Start-up mit drei Gründern zum Milliardenunternehmen ​mit weltweit über 10.000 IT- und Branchenprofis</vt:lpstr>
      <vt:lpstr>Die ganzheitliche Aufstellung der msg-Gruppe trägt seit mehr als  vier Jahrzehnten maßgeblich zum Erfolg bei </vt:lpstr>
      <vt:lpstr>Wir sind eine international agierende Unternehmensgruppe mit tiefem Branchen-Know-how </vt:lpstr>
      <vt:lpstr>Mit innovativen Geschäftsmodellen vom Startup zum größten unabhängigen und eigentümergeführten Beratungs- und IT-Unternehmen in Europa</vt:lpstr>
      <vt:lpstr>Unsere Kunden profitieren von unserer weltweiten Präsenz  </vt:lpstr>
      <vt:lpstr>Lokale Präsenz für unsere deutschen Kunden zeichnet uns aus</vt:lpstr>
      <vt:lpstr>In externen Marktvergleichen und Partnerwettbewerben wird msg regelmäßig ausgezeichnet</vt:lpstr>
      <vt:lpstr>Unser Verständnis für das Geschäft unserer Kunden zeichnet uns  auf allen Ebenen aus – auch im Vorstand der Unternehmensgruppe</vt:lpstr>
      <vt:lpstr>PowerPoint-Präsentation</vt:lpstr>
      <vt:lpstr>Wir begleiten unsere Kunden von der Strategiegestaltung über die technische Umsetzung bis zum Outsourcing von Prozessen  </vt:lpstr>
      <vt:lpstr>Kernkompetenz Digitalisierung Digitale Produkte und Services für Ihr Geschäft </vt:lpstr>
      <vt:lpstr>Kernkompetenz Cloud Skalierung und Geschwindigkeit sichern Ihre Zukunft</vt:lpstr>
      <vt:lpstr>Kernkompetenz SAP Seit über 25 Jahren gestalten wir als SAP-Partner den digitalen Wandel </vt:lpstr>
      <vt:lpstr>PowerPoint-Präsentation</vt:lpstr>
      <vt:lpstr>Aufbau einer zentralen SAP BW/4HANA und SAP-Analytics-Cloud-Lösung zur effizienten Verfolgung strategischer Unternehmensziele bei REFRATECHNIK </vt:lpstr>
      <vt:lpstr>Neuer Migrationsansatz zur Übernahme der bilanziellen Steuerung:  Finanzen stets im Blick dank SAP FI-Migration bei VIRIDIUM </vt:lpstr>
      <vt:lpstr>Intelligentes Heizen mit techem: The Cloud Way to Sustainability </vt:lpstr>
      <vt:lpstr>Innovationen auf Kölns Straßen:  Smart Fleet – ein Pilotprojekt mit Abfallwirtschaftsbetriebe Köln</vt:lpstr>
      <vt:lpstr>PowerPoint-Präsentation</vt:lpstr>
      <vt:lpstr>Nachhaltige Kundenbeziehungen sind Ausdruck unseres Erfolgs </vt:lpstr>
      <vt:lpstr>Exzellente Beratung, ganzheitliche Lösungen und Services für Ihre digitale Business Transformation</vt:lpstr>
      <vt:lpstr>„Stronger Together” mit unseren Partnern </vt:lpstr>
      <vt:lpstr>Der Austausch von Wissen und die Pflege unserer Kooperationen sind Ausdruck unserer nachhaltigen Geschäftsstrategie</vt:lpstr>
      <vt:lpstr>Schluss mit Excel! Transfer Pricing automatisiert und tax compliant! Optravis Transfer Pricing Management Tool</vt:lpstr>
      <vt:lpstr>Schluss mit Excel! Leistungsverrechnung automatisiert und tax compliant! Optravis Service Charge Tool</vt:lpstr>
      <vt:lpstr>Der fortschrittlichste Weg, Anwendungen zu testen msg.ZenTestAI  </vt:lpstr>
      <vt:lpstr>Wir bieten eine neuartige Lösung  für alle Arten von Bestandsherausforderungen  </vt:lpstr>
      <vt:lpstr>Competent Insurance Services Sourcing-Lösungen für versicherungsspezifische Sachbearbeitung</vt:lpstr>
      <vt:lpstr>Digitale Beratungs- und Abschlussstrecken – sicher und compliant Conversational AI: Neohelden Plattform</vt:lpstr>
      <vt:lpstr>Das kann Deutschlands Gesundheitsheld Neohelden: Health-as-a-Service</vt:lpstr>
      <vt:lpstr>Digitale Fördermittelberatungs- und -abschlussstrecken Neohelden: SaaS Förderfinder</vt:lpstr>
      <vt:lpstr>Moderner Spielmacher im Vertrieb Neohelden: Sales Buddy</vt:lpstr>
      <vt:lpstr>Die zentrale Kommunikationsdrehscheibe  in der Kundenkommunikation D7 als modernste Dokumenterstellung </vt:lpstr>
      <vt:lpstr>KI-gestütztes Skill-Management &amp; Kompetenzentwicklung msg.ProfileMap</vt:lpstr>
      <vt:lpstr>Verbindet Systeme, vereint Vokabulare, schafft Verständnis msg.SemanticBridge</vt:lpstr>
      <vt:lpstr>AI-Powered Testing Revolution msg.TestCaseGen.ai</vt:lpstr>
      <vt:lpstr>PowerPoint-Präsentation</vt:lpstr>
      <vt:lpstr>Nachhaltigkeit und ESG im Fokus: Wir bieten unsere Kunden eine E2E-Unterstützung</vt:lpstr>
      <vt:lpstr>Nachhaltigkeit und ESG im Fokus: Wir leben unsere Verantwortung </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e Unternehmenspräsentation gibt einen Überblick über uns und unser Leistungsversprechen für Kunden, Bewerbende und Interessenten</dc:title>
  <dc:creator>Juliane von Geisau ext</dc:creator>
  <cp:lastModifiedBy>Sandra Capuani</cp:lastModifiedBy>
  <cp:revision>13</cp:revision>
  <dcterms:created xsi:type="dcterms:W3CDTF">2024-08-12T17:11:40Z</dcterms:created>
  <dcterms:modified xsi:type="dcterms:W3CDTF">2026-05-11T08:37: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g_status0">
    <vt:lpwstr>1;#draft|f1fe2a98-d56b-449d-82ee-cefd9e5def11</vt:lpwstr>
  </property>
  <property fmtid="{D5CDD505-2E9C-101B-9397-08002B2CF9AE}" pid="3" name="MediaServiceImageTags">
    <vt:lpwstr/>
  </property>
  <property fmtid="{D5CDD505-2E9C-101B-9397-08002B2CF9AE}" pid="4" name="lcf76f155ced4ddcb4097134ff3c332f">
    <vt:lpwstr/>
  </property>
  <property fmtid="{D5CDD505-2E9C-101B-9397-08002B2CF9AE}" pid="5" name="msg_firma0">
    <vt:lpwstr/>
  </property>
  <property fmtid="{D5CDD505-2E9C-101B-9397-08002B2CF9AE}" pid="6" name="msg_firma">
    <vt:lpwstr/>
  </property>
  <property fmtid="{D5CDD505-2E9C-101B-9397-08002B2CF9AE}" pid="7" name="_dlc_DocIdItemGuid">
    <vt:lpwstr>e9cd6f33-8f8e-4290-94c0-9722197294d5</vt:lpwstr>
  </property>
  <property fmtid="{D5CDD505-2E9C-101B-9397-08002B2CF9AE}" pid="8" name="msg_status">
    <vt:lpwstr>5564;#draft|f1fe2a98-d56b-449d-82ee-cefd9e5def11</vt:lpwstr>
  </property>
  <property fmtid="{D5CDD505-2E9C-101B-9397-08002B2CF9AE}" pid="9" name="ContentTypeId">
    <vt:lpwstr>0x010100CB739A34987DFC4799956597BE84C54F0008C64B1B8015174EB36A156614839271</vt:lpwstr>
  </property>
</Properties>
</file>